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5.xml" ContentType="application/vnd.openxmlformats-officedocument.presentationml.slide+xml"/>
  <Override PartName="/ppt/slides/slide24.xml" ContentType="application/vnd.openxmlformats-officedocument.presentationml.slide+xml"/>
  <Override PartName="/ppt/presentation.xml" ContentType="application/vnd.openxmlformats-officedocument.presentationml.presentation.main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Masters/slideMaster1.xml" ContentType="application/vnd.openxmlformats-officedocument.presentationml.slideMaster+xml"/>
  <Override PartName="/ppt/notesSlides/notesSlide1.xml" ContentType="application/vnd.openxmlformats-officedocument.presentationml.notesSlide+xml"/>
  <Override PartName="/ppt/slideMasters/slideMaster2.xml" ContentType="application/vnd.openxmlformats-officedocument.presentationml.slideMaster+xml"/>
  <Override PartName="/ppt/notesSlides/notesSlide2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notesSlides/notesSlide5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3.xml" ContentType="application/vnd.openxmlformats-officedocument.presentationml.notesSlide+xml"/>
  <Override PartName="/ppt/theme/themeOverride1.xml" ContentType="application/vnd.openxmlformats-officedocument.themeOverride+xml"/>
  <Override PartName="/ppt/charts/chart1.xml" ContentType="application/vnd.openxmlformats-officedocument.drawingml.chart+xml"/>
  <Override PartName="/ppt/theme/theme1.xml" ContentType="application/vnd.openxmlformats-officedocument.theme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heme/theme4.xml" ContentType="application/vnd.openxmlformats-officedocument.theme+xml"/>
  <Override PartName="/ppt/theme/theme3.xml" ContentType="application/vnd.openxmlformats-officedocument.theme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ustom.xml" ContentType="application/vnd.openxmlformats-officedocument.custom-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23" r:id="rId1"/>
    <p:sldMasterId id="2147483830" r:id="rId2"/>
  </p:sldMasterIdLst>
  <p:notesMasterIdLst>
    <p:notesMasterId r:id="rId28"/>
  </p:notesMasterIdLst>
  <p:handoutMasterIdLst>
    <p:handoutMasterId r:id="rId29"/>
  </p:handoutMasterIdLst>
  <p:sldIdLst>
    <p:sldId id="477" r:id="rId3"/>
    <p:sldId id="478" r:id="rId4"/>
    <p:sldId id="479" r:id="rId5"/>
    <p:sldId id="481" r:id="rId6"/>
    <p:sldId id="484" r:id="rId7"/>
    <p:sldId id="485" r:id="rId8"/>
    <p:sldId id="486" r:id="rId9"/>
    <p:sldId id="487" r:id="rId10"/>
    <p:sldId id="500" r:id="rId11"/>
    <p:sldId id="501" r:id="rId12"/>
    <p:sldId id="488" r:id="rId13"/>
    <p:sldId id="489" r:id="rId14"/>
    <p:sldId id="490" r:id="rId15"/>
    <p:sldId id="495" r:id="rId16"/>
    <p:sldId id="491" r:id="rId17"/>
    <p:sldId id="492" r:id="rId18"/>
    <p:sldId id="496" r:id="rId19"/>
    <p:sldId id="493" r:id="rId20"/>
    <p:sldId id="494" r:id="rId21"/>
    <p:sldId id="497" r:id="rId22"/>
    <p:sldId id="498" r:id="rId23"/>
    <p:sldId id="499" r:id="rId24"/>
    <p:sldId id="309" r:id="rId25"/>
    <p:sldId id="335" r:id="rId26"/>
    <p:sldId id="288" r:id="rId27"/>
  </p:sldIdLst>
  <p:sldSz cx="12190413" cy="6858000"/>
  <p:notesSz cx="6794500" cy="9906000"/>
  <p:custDataLst>
    <p:tags r:id="rId3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26" userDrawn="1">
          <p15:clr>
            <a:srgbClr val="A4A3A4"/>
          </p15:clr>
        </p15:guide>
        <p15:guide id="6" pos="508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793A"/>
    <a:srgbClr val="4C8417"/>
    <a:srgbClr val="65AC1D"/>
    <a:srgbClr val="62AC86"/>
    <a:srgbClr val="035FA9"/>
    <a:srgbClr val="002542"/>
    <a:srgbClr val="D18001"/>
    <a:srgbClr val="C50022"/>
    <a:srgbClr val="F39500"/>
    <a:srgbClr val="004A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745" autoAdjust="0"/>
    <p:restoredTop sz="95408" autoAdjust="0"/>
  </p:normalViewPr>
  <p:slideViewPr>
    <p:cSldViewPr snapToGrid="0" showGuides="1">
      <p:cViewPr varScale="1">
        <p:scale>
          <a:sx n="104" d="100"/>
          <a:sy n="104" d="100"/>
        </p:scale>
        <p:origin x="232" y="248"/>
      </p:cViewPr>
      <p:guideLst>
        <p:guide orient="horz" pos="1026"/>
        <p:guide pos="508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9" d="100"/>
        <a:sy n="59" d="100"/>
      </p:scale>
      <p:origin x="0" y="0"/>
    </p:cViewPr>
  </p:sorterViewPr>
  <p:notesViewPr>
    <p:cSldViewPr snapToGrid="0" showGuides="1">
      <p:cViewPr>
        <p:scale>
          <a:sx n="66" d="100"/>
          <a:sy n="66" d="100"/>
        </p:scale>
        <p:origin x="3270" y="498"/>
      </p:cViewPr>
      <p:guideLst>
        <p:guide orient="horz" pos="3120"/>
        <p:guide pos="214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viewProps" Target="viewProps.xml"/><Relationship Id="rId37" Type="http://schemas.openxmlformats.org/officeDocument/2006/relationships/customXml" Target="../customXml/item3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notesMaster" Target="notesMasters/notesMaster1.xml"/><Relationship Id="rId36" Type="http://schemas.openxmlformats.org/officeDocument/2006/relationships/customXml" Target="../customXml/item2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tags" Target="tags/tag1.xml"/><Relationship Id="rId35" Type="http://schemas.openxmlformats.org/officeDocument/2006/relationships/customXml" Target="../customXml/item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80358705161855E-2"/>
          <c:y val="0"/>
          <c:w val="0.84697725620752495"/>
          <c:h val="0.7666096805466879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ferencia 1</c:v>
                </c:pt>
              </c:strCache>
            </c:strRef>
          </c:tx>
          <c:spPr>
            <a:solidFill>
              <a:srgbClr val="3B8809"/>
            </a:solidFill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C6A-D043-B66C-2B5EDCD3BB85}"/>
                </c:ext>
              </c:extLst>
            </c:dLbl>
            <c:dLbl>
              <c:idx val="3"/>
              <c:layout>
                <c:manualLayout>
                  <c:x val="7.27504823315504E-17"/>
                  <c:y val="-4.16666569022645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C6A-D043-B66C-2B5EDCD3BB85}"/>
                </c:ext>
              </c:extLst>
            </c:dLbl>
            <c:dLbl>
              <c:idx val="4"/>
              <c:layout>
                <c:manualLayout>
                  <c:x val="0"/>
                  <c:y val="-9.52380729194616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C6A-D043-B66C-2B5EDCD3BB85}"/>
                </c:ext>
              </c:extLst>
            </c:dLbl>
            <c:dLbl>
              <c:idx val="5"/>
              <c:layout>
                <c:manualLayout>
                  <c:x val="-4.7607931325902297E-2"/>
                  <c:y val="-0.12202380153973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C6A-D043-B66C-2B5EDCD3BB85}"/>
                </c:ext>
              </c:extLst>
            </c:dLbl>
            <c:spPr>
              <a:ln>
                <a:noFill/>
              </a:ln>
            </c:spPr>
            <c:txPr>
              <a:bodyPr/>
              <a:lstStyle/>
              <a:p>
                <a:pPr>
                  <a:defRPr lang="en-US" sz="1600" b="1">
                    <a:solidFill>
                      <a:schemeClr val="bg1"/>
                    </a:solidFill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8</c:v>
                </c:pt>
                <c:pt idx="1">
                  <c:v>47</c:v>
                </c:pt>
                <c:pt idx="2">
                  <c:v>95</c:v>
                </c:pt>
                <c:pt idx="3">
                  <c:v>1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C6A-D043-B66C-2B5EDCD3BB8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Referencia 2</c:v>
                </c:pt>
              </c:strCache>
            </c:strRef>
          </c:tx>
          <c:spPr>
            <a:solidFill>
              <a:srgbClr val="7EB74A"/>
            </a:solidFill>
            <a:effectLst/>
          </c:spPr>
          <c:invertIfNegative val="0"/>
          <c:dLbls>
            <c:dLbl>
              <c:idx val="0"/>
              <c:layout>
                <c:manualLayout>
                  <c:x val="-2.6473450776787299E-3"/>
                  <c:y val="-4.8089175562779599E-2"/>
                </c:manualLayout>
              </c:layout>
              <c:spPr/>
              <c:txPr>
                <a:bodyPr/>
                <a:lstStyle/>
                <a:p>
                  <a:pPr>
                    <a:defRPr lang="en-US" sz="1600" b="1">
                      <a:solidFill>
                        <a:schemeClr val="accent6">
                          <a:lumMod val="50000"/>
                        </a:schemeClr>
                      </a:solidFill>
                    </a:defRPr>
                  </a:pPr>
                  <a:endParaRPr lang="es-A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C6A-D043-B66C-2B5EDCD3BB85}"/>
                </c:ext>
              </c:extLst>
            </c:dLbl>
            <c:dLbl>
              <c:idx val="1"/>
              <c:layout>
                <c:manualLayout>
                  <c:x val="0"/>
                  <c:y val="-4.620863823880839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C6A-D043-B66C-2B5EDCD3BB85}"/>
                </c:ext>
              </c:extLst>
            </c:dLbl>
            <c:dLbl>
              <c:idx val="2"/>
              <c:layout>
                <c:manualLayout>
                  <c:x val="0"/>
                  <c:y val="-2.678570800859859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C6A-D043-B66C-2B5EDCD3BB85}"/>
                </c:ext>
              </c:extLst>
            </c:dLbl>
            <c:dLbl>
              <c:idx val="3"/>
              <c:layout>
                <c:manualLayout>
                  <c:x val="7.27504823315504E-17"/>
                  <c:y val="-3.57142773447981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7C6A-D043-B66C-2B5EDCD3BB85}"/>
                </c:ext>
              </c:extLst>
            </c:dLbl>
            <c:dLbl>
              <c:idx val="4"/>
              <c:layout>
                <c:manualLayout>
                  <c:x val="7.9365079365079395E-3"/>
                  <c:y val="-8.63095035832621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7C6A-D043-B66C-2B5EDCD3BB85}"/>
                </c:ext>
              </c:extLst>
            </c:dLbl>
            <c:dLbl>
              <c:idx val="5"/>
              <c:layout>
                <c:manualLayout>
                  <c:x val="-5.3571428571428603E-2"/>
                  <c:y val="-0.10416664225566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7C6A-D043-B66C-2B5EDCD3BB8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1600" b="1">
                    <a:solidFill>
                      <a:srgbClr val="FFFFFF"/>
                    </a:solidFill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</c:numCache>
            </c:numRef>
          </c:cat>
          <c:val>
            <c:numRef>
              <c:f>Sheet1!$C$2:$C$5</c:f>
              <c:numCache>
                <c:formatCode>General</c:formatCode>
                <c:ptCount val="4"/>
                <c:pt idx="0">
                  <c:v>20</c:v>
                </c:pt>
                <c:pt idx="1">
                  <c:v>70</c:v>
                </c:pt>
                <c:pt idx="2">
                  <c:v>143</c:v>
                </c:pt>
                <c:pt idx="3">
                  <c:v>3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7C6A-D043-B66C-2B5EDCD3BB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4"/>
        <c:overlap val="100"/>
        <c:axId val="-1967220376"/>
        <c:axId val="-1967217224"/>
      </c:barChart>
      <c:catAx>
        <c:axId val="-196722037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effectLst/>
        </c:spPr>
        <c:txPr>
          <a:bodyPr anchor="ctr"/>
          <a:lstStyle/>
          <a:p>
            <a:pPr>
              <a:defRPr lang="en-US" sz="1400" b="1">
                <a:solidFill>
                  <a:srgbClr val="404040"/>
                </a:solidFill>
              </a:defRPr>
            </a:pPr>
            <a:endParaRPr lang="es-AR"/>
          </a:p>
        </c:txPr>
        <c:crossAx val="-1967217224"/>
        <c:crosses val="autoZero"/>
        <c:auto val="1"/>
        <c:lblAlgn val="ctr"/>
        <c:lblOffset val="100"/>
        <c:noMultiLvlLbl val="0"/>
      </c:catAx>
      <c:valAx>
        <c:axId val="-196721722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-1967220376"/>
        <c:crosses val="autoZero"/>
        <c:crossBetween val="between"/>
      </c:valAx>
    </c:plotArea>
    <c:legend>
      <c:legendPos val="b"/>
      <c:overlay val="0"/>
      <c:spPr>
        <a:effectLst/>
      </c:spPr>
      <c:txPr>
        <a:bodyPr/>
        <a:lstStyle/>
        <a:p>
          <a:pPr>
            <a:defRPr lang="en-US" sz="1200" b="1">
              <a:solidFill>
                <a:srgbClr val="404040"/>
              </a:solidFill>
            </a:defRPr>
          </a:pPr>
          <a:endParaRPr lang="es-AR"/>
        </a:p>
      </c:txPr>
    </c:legend>
    <c:plotVisOnly val="1"/>
    <c:dispBlanksAs val="zero"/>
    <c:showDLblsOverMax val="0"/>
  </c:chart>
  <c:spPr>
    <a:effectLst/>
  </c:spPr>
  <c:txPr>
    <a:bodyPr/>
    <a:lstStyle/>
    <a:p>
      <a:pPr>
        <a:defRPr sz="1800"/>
      </a:pPr>
      <a:endParaRPr lang="es-AR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8645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8645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186466-5020-480F-98D6-C4C83B2E2945}" type="slidenum">
              <a:rPr lang="de-DE" smtClean="0">
                <a:latin typeface="Arial" pitchFamily="34" charset="0"/>
                <a:cs typeface="Arial" pitchFamily="34" charset="0"/>
              </a:rPr>
              <a:t>‹Nº›</a:t>
            </a:fld>
            <a:endParaRPr lang="de-DE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6287946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6838" y="742950"/>
            <a:ext cx="6600825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05350"/>
            <a:ext cx="5435600" cy="44577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marL="179388" lvl="0" indent="-179388">
              <a:lnSpc>
                <a:spcPct val="95000"/>
              </a:lnSpc>
              <a:spcBef>
                <a:spcPts val="1800"/>
              </a:spcBef>
              <a:buClr>
                <a:schemeClr val="accent1"/>
              </a:buClr>
              <a:buFont typeface="Wingdings" pitchFamily="2" charset="2"/>
              <a:buChar char="n"/>
            </a:pPr>
            <a:r>
              <a:rPr lang="de-DE" dirty="0"/>
              <a:t>Textmasterformat bearbeiten</a:t>
            </a:r>
          </a:p>
          <a:p>
            <a:pPr marL="360363" lvl="1" indent="-180975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Wingdings 3" pitchFamily="18" charset="2"/>
              <a:buChar char="u"/>
            </a:pPr>
            <a:r>
              <a:rPr lang="de-DE" dirty="0"/>
              <a:t>Zweite Ebene</a:t>
            </a:r>
          </a:p>
          <a:p>
            <a:pPr marL="525463" lvl="2" indent="-165100">
              <a:lnSpc>
                <a:spcPct val="95000"/>
              </a:lnSpc>
              <a:spcBef>
                <a:spcPts val="300"/>
              </a:spcBef>
              <a:buClr>
                <a:schemeClr val="accent1"/>
              </a:buClr>
              <a:buSzPct val="90000"/>
              <a:buFont typeface="Wingdings" pitchFamily="2" charset="2"/>
              <a:buChar char="l"/>
            </a:pPr>
            <a:r>
              <a:rPr lang="de-DE" dirty="0"/>
              <a:t>Dritte Ebene</a:t>
            </a:r>
          </a:p>
          <a:p>
            <a:pPr marL="673100" lvl="3" indent="-136525">
              <a:lnSpc>
                <a:spcPct val="95000"/>
              </a:lnSpc>
              <a:buFont typeface="Arial" pitchFamily="34" charset="0"/>
              <a:buChar char="–"/>
            </a:pPr>
            <a:r>
              <a:rPr lang="de-DE" dirty="0"/>
              <a:t>Vier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8FF7B9E9-6F9D-4999-8E35-8BAD09A8460E}" type="slidenum">
              <a:rPr lang="de-DE" smtClean="0"/>
              <a:pPr/>
              <a:t>‹Nº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9412146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lang="de-DE" sz="1200" kern="1200" noProof="0" dirty="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47331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113859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noProof="1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25392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18491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11CDE2E4-6465-43C0-B135-E74B90780C13}" type="slidenum">
              <a:rPr lang="de-DE" smtClean="0"/>
              <a:pPr/>
              <a:t>25</a:t>
            </a:fld>
            <a:endParaRPr lang="de-DE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6" name="Notizenplatzhalt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24738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.png"/><Relationship Id="rId4" Type="http://schemas.openxmlformats.org/officeDocument/2006/relationships/image" Target="../media/image7.pn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2.png"/><Relationship Id="rId4" Type="http://schemas.microsoft.com/office/2007/relationships/hdphoto" Target="../media/hdphoto2.wdp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microsoft.com/office/2007/relationships/hdphoto" Target="../media/hdphoto1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microsoft.com/office/2007/relationships/hdphoto" Target="../media/hdphoto3.wdp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7.png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>
            <a:extLst>
              <a:ext uri="{FF2B5EF4-FFF2-40B4-BE49-F238E27FC236}">
                <a16:creationId xmlns:a16="http://schemas.microsoft.com/office/drawing/2014/main" id="{BD6DD22C-9B3D-F54F-A9E3-E5083E37CA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0412" cy="6858000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1" y="1944000"/>
            <a:ext cx="6194418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1BB3A81-828C-46B6-8B45-0904C3B773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2341404"/>
            <a:ext cx="5443762" cy="2160000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sz="3200" noProof="1"/>
              <a:t>Título de presentación</a:t>
            </a:r>
            <a:endParaRPr lang="en-US" noProof="1"/>
          </a:p>
        </p:txBody>
      </p:sp>
      <p:sp>
        <p:nvSpPr>
          <p:cNvPr id="18" name="Textplatzhalter 40">
            <a:extLst>
              <a:ext uri="{FF2B5EF4-FFF2-40B4-BE49-F238E27FC236}">
                <a16:creationId xmlns:a16="http://schemas.microsoft.com/office/drawing/2014/main" id="{856B2071-4BDE-DE4A-AC2D-1B6E8D8A985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4517638"/>
            <a:ext cx="4097137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lnSpc>
                <a:spcPct val="100000"/>
              </a:lnSpc>
              <a:spcAft>
                <a:spcPts val="0"/>
              </a:spcAft>
              <a:buNone/>
              <a:defRPr sz="1600" b="1">
                <a:solidFill>
                  <a:schemeClr val="accent6">
                    <a:lumMod val="7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_tradnl" noProof="1"/>
              <a:t>Responsable</a:t>
            </a:r>
          </a:p>
        </p:txBody>
      </p:sp>
      <p:sp>
        <p:nvSpPr>
          <p:cNvPr id="22" name="Textplatzhalter 40">
            <a:extLst>
              <a:ext uri="{FF2B5EF4-FFF2-40B4-BE49-F238E27FC236}">
                <a16:creationId xmlns:a16="http://schemas.microsoft.com/office/drawing/2014/main" id="{15A8DDCA-F835-0F46-AC29-D37FE20F4C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5023412"/>
            <a:ext cx="4097137" cy="43313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r">
              <a:lnSpc>
                <a:spcPct val="100000"/>
              </a:lnSpc>
              <a:spcAft>
                <a:spcPts val="0"/>
              </a:spcAft>
              <a:buNone/>
              <a:defRPr sz="1400" b="0">
                <a:solidFill>
                  <a:schemeClr val="accent6">
                    <a:lumMod val="7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_tradnl" noProof="1"/>
              <a:t>Cargo</a:t>
            </a:r>
          </a:p>
        </p:txBody>
      </p:sp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id="{694D2F54-C1FE-864D-9C36-251F03836FC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658168" y="4374275"/>
            <a:ext cx="1225640" cy="122564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/>
          <a:lstStyle>
            <a:lvl1pPr marL="6350" indent="0" algn="ctr">
              <a:buNone/>
              <a:tabLst/>
              <a:defRPr sz="120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r>
              <a:rPr lang="es-ES_tradnl" dirty="0"/>
              <a:t>FOTO ORADOR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1BD7B15-A2D9-47B0-8993-C9992C244CBC}"/>
              </a:ext>
            </a:extLst>
          </p:cNvPr>
          <p:cNvGrpSpPr/>
          <p:nvPr/>
        </p:nvGrpSpPr>
        <p:grpSpPr>
          <a:xfrm>
            <a:off x="1" y="864000"/>
            <a:ext cx="6194418" cy="1080000"/>
            <a:chOff x="1" y="864000"/>
            <a:chExt cx="6194418" cy="1080000"/>
          </a:xfrm>
        </p:grpSpPr>
        <p:sp>
          <p:nvSpPr>
            <p:cNvPr id="10" name="Rechteck 9"/>
            <p:cNvSpPr>
              <a:spLocks noChangeAspect="1"/>
            </p:cNvSpPr>
            <p:nvPr/>
          </p:nvSpPr>
          <p:spPr>
            <a:xfrm>
              <a:off x="1" y="864000"/>
              <a:ext cx="6194418" cy="10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39F54C14-632A-4F5D-AF18-1DA714CBB4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11163" y="1127317"/>
              <a:ext cx="1619425" cy="586722"/>
            </a:xfrm>
            <a:prstGeom prst="rect">
              <a:avLst/>
            </a:prstGeom>
          </p:spPr>
        </p:pic>
      </p:grpSp>
      <p:grpSp>
        <p:nvGrpSpPr>
          <p:cNvPr id="23" name="Grupo 22">
            <a:extLst>
              <a:ext uri="{FF2B5EF4-FFF2-40B4-BE49-F238E27FC236}">
                <a16:creationId xmlns:a16="http://schemas.microsoft.com/office/drawing/2014/main" id="{B7FA2A9B-6FFA-E94A-A61C-BDB1D411D98C}"/>
              </a:ext>
            </a:extLst>
          </p:cNvPr>
          <p:cNvGrpSpPr/>
          <p:nvPr userDrawn="1"/>
        </p:nvGrpSpPr>
        <p:grpSpPr>
          <a:xfrm>
            <a:off x="8708405" y="5985284"/>
            <a:ext cx="3253049" cy="709633"/>
            <a:chOff x="8762194" y="5985284"/>
            <a:chExt cx="3253049" cy="709633"/>
          </a:xfrm>
        </p:grpSpPr>
        <p:pic>
          <p:nvPicPr>
            <p:cNvPr id="24" name="Imagen 23">
              <a:extLst>
                <a:ext uri="{FF2B5EF4-FFF2-40B4-BE49-F238E27FC236}">
                  <a16:creationId xmlns:a16="http://schemas.microsoft.com/office/drawing/2014/main" id="{B62F1D83-8094-764F-A107-A1421233E18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11" r="80022"/>
            <a:stretch/>
          </p:blipFill>
          <p:spPr>
            <a:xfrm>
              <a:off x="11436904" y="5985284"/>
              <a:ext cx="578339" cy="709633"/>
            </a:xfrm>
            <a:prstGeom prst="rect">
              <a:avLst/>
            </a:prstGeom>
          </p:spPr>
        </p:pic>
        <p:grpSp>
          <p:nvGrpSpPr>
            <p:cNvPr id="25" name="Grupo 24">
              <a:extLst>
                <a:ext uri="{FF2B5EF4-FFF2-40B4-BE49-F238E27FC236}">
                  <a16:creationId xmlns:a16="http://schemas.microsoft.com/office/drawing/2014/main" id="{32B3C41C-9C40-834B-AC8C-51E8CCE91480}"/>
                </a:ext>
              </a:extLst>
            </p:cNvPr>
            <p:cNvGrpSpPr/>
            <p:nvPr userDrawn="1"/>
          </p:nvGrpSpPr>
          <p:grpSpPr>
            <a:xfrm>
              <a:off x="8762194" y="5985284"/>
              <a:ext cx="2818271" cy="709633"/>
              <a:chOff x="8762194" y="5985284"/>
              <a:chExt cx="2818271" cy="709633"/>
            </a:xfrm>
          </p:grpSpPr>
          <p:pic>
            <p:nvPicPr>
              <p:cNvPr id="26" name="Imagen 25">
                <a:extLst>
                  <a:ext uri="{FF2B5EF4-FFF2-40B4-BE49-F238E27FC236}">
                    <a16:creationId xmlns:a16="http://schemas.microsoft.com/office/drawing/2014/main" id="{FF2C91F4-582C-EC41-B4C6-D41743FA10CA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755" t="54148"/>
              <a:stretch/>
            </p:blipFill>
            <p:spPr>
              <a:xfrm>
                <a:off x="8762194" y="6369538"/>
                <a:ext cx="2818271" cy="325379"/>
              </a:xfrm>
              <a:prstGeom prst="rect">
                <a:avLst/>
              </a:prstGeom>
            </p:spPr>
          </p:pic>
          <p:pic>
            <p:nvPicPr>
              <p:cNvPr id="27" name="Imagen 26">
                <a:extLst>
                  <a:ext uri="{FF2B5EF4-FFF2-40B4-BE49-F238E27FC236}">
                    <a16:creationId xmlns:a16="http://schemas.microsoft.com/office/drawing/2014/main" id="{458EAFC0-DFD2-204A-B06C-3E82D9189713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755" t="1" r="27427" b="45851"/>
              <a:stretch/>
            </p:blipFill>
            <p:spPr>
              <a:xfrm>
                <a:off x="9595870" y="5985284"/>
                <a:ext cx="1855009" cy="384254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675756193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lateral + numeración + vis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7839844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 dirty="0"/>
              <a:t>Haga clic para modificar el estilo de título</a:t>
            </a:r>
            <a:br>
              <a:rPr lang="es-ES" dirty="0"/>
            </a:br>
            <a:r>
              <a:rPr lang="es-ES" dirty="0"/>
              <a:t>del patrón</a:t>
            </a:r>
            <a:endParaRPr lang="de-DE" dirty="0"/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D720F73B-9F29-9145-9628-03FF78B4B9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013" y="2024063"/>
            <a:ext cx="6859587" cy="392588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SzPct val="120000"/>
              <a:buFont typeface="+mj-lt"/>
              <a:buAutoNum type="arabicPeriod"/>
              <a:defRPr sz="1800"/>
            </a:lvl1pPr>
            <a:lvl2pPr>
              <a:buFont typeface="+mj-lt"/>
              <a:buAutoNum type="arabicPeriod"/>
              <a:defRPr/>
            </a:lvl2pPr>
            <a:lvl3pPr>
              <a:buFont typeface="+mj-lt"/>
              <a:buAutoNum type="arabicPeriod"/>
              <a:defRPr/>
            </a:lvl3pPr>
            <a:lvl4pPr>
              <a:buFont typeface="+mj-lt"/>
              <a:buAutoNum type="arabicPeriod"/>
              <a:defRPr/>
            </a:lvl4pPr>
            <a:lvl5pPr>
              <a:buFont typeface="+mj-lt"/>
              <a:buAutoNum type="arabicPeriod"/>
              <a:defRPr/>
            </a:lvl5pPr>
          </a:lstStyle>
          <a:p>
            <a:pPr lvl="0"/>
            <a:r>
              <a:rPr lang="es-ES" dirty="0"/>
              <a:t> Haga clic para modificar los estilos de texto del patrón</a:t>
            </a:r>
          </a:p>
          <a:p>
            <a:pPr lvl="0"/>
            <a:endParaRPr lang="es-ES" dirty="0"/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1F5C063D-9844-E34D-8F7E-B2A627417E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032" y="5994110"/>
            <a:ext cx="3512082" cy="709633"/>
          </a:xfrm>
          <a:prstGeom prst="rect">
            <a:avLst/>
          </a:prstGeom>
        </p:spPr>
      </p:pic>
      <p:sp>
        <p:nvSpPr>
          <p:cNvPr id="14" name="Marcador de posición de imagen 2">
            <a:extLst>
              <a:ext uri="{FF2B5EF4-FFF2-40B4-BE49-F238E27FC236}">
                <a16:creationId xmlns:a16="http://schemas.microsoft.com/office/drawing/2014/main" id="{B77C05B4-38B6-FC44-A58E-DBCBDA34AD0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219949" y="0"/>
            <a:ext cx="4970464" cy="6858000"/>
          </a:xfrm>
          <a:custGeom>
            <a:avLst/>
            <a:gdLst>
              <a:gd name="connsiteX0" fmla="*/ 0 w 4970464"/>
              <a:gd name="connsiteY0" fmla="*/ 0 h 6858000"/>
              <a:gd name="connsiteX1" fmla="*/ 4970464 w 4970464"/>
              <a:gd name="connsiteY1" fmla="*/ 0 h 6858000"/>
              <a:gd name="connsiteX2" fmla="*/ 4970464 w 4970464"/>
              <a:gd name="connsiteY2" fmla="*/ 6858000 h 6858000"/>
              <a:gd name="connsiteX3" fmla="*/ 0 w 4970464"/>
              <a:gd name="connsiteY3" fmla="*/ 6858000 h 6858000"/>
              <a:gd name="connsiteX4" fmla="*/ 0 w 4970464"/>
              <a:gd name="connsiteY4" fmla="*/ 0 h 6858000"/>
              <a:gd name="connsiteX0" fmla="*/ 1489075 w 4970464"/>
              <a:gd name="connsiteY0" fmla="*/ 0 h 6858000"/>
              <a:gd name="connsiteX1" fmla="*/ 4970464 w 4970464"/>
              <a:gd name="connsiteY1" fmla="*/ 0 h 6858000"/>
              <a:gd name="connsiteX2" fmla="*/ 4970464 w 4970464"/>
              <a:gd name="connsiteY2" fmla="*/ 6858000 h 6858000"/>
              <a:gd name="connsiteX3" fmla="*/ 0 w 4970464"/>
              <a:gd name="connsiteY3" fmla="*/ 6858000 h 6858000"/>
              <a:gd name="connsiteX4" fmla="*/ 1489075 w 4970464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70464" h="6858000">
                <a:moveTo>
                  <a:pt x="1489075" y="0"/>
                </a:moveTo>
                <a:lnTo>
                  <a:pt x="4970464" y="0"/>
                </a:lnTo>
                <a:lnTo>
                  <a:pt x="4970464" y="6858000"/>
                </a:lnTo>
                <a:lnTo>
                  <a:pt x="0" y="6858000"/>
                </a:lnTo>
                <a:lnTo>
                  <a:pt x="1489075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s-ES_tradnl"/>
          </a:p>
        </p:txBody>
      </p:sp>
      <p:grpSp>
        <p:nvGrpSpPr>
          <p:cNvPr id="16" name="Gruppieren 7">
            <a:extLst>
              <a:ext uri="{FF2B5EF4-FFF2-40B4-BE49-F238E27FC236}">
                <a16:creationId xmlns:a16="http://schemas.microsoft.com/office/drawing/2014/main" id="{FDE95ADA-AC50-3E41-A822-682C4BF9D393}"/>
              </a:ext>
            </a:extLst>
          </p:cNvPr>
          <p:cNvGrpSpPr/>
          <p:nvPr userDrawn="1"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17" name="Rechteck 11">
              <a:extLst>
                <a:ext uri="{FF2B5EF4-FFF2-40B4-BE49-F238E27FC236}">
                  <a16:creationId xmlns:a16="http://schemas.microsoft.com/office/drawing/2014/main" id="{72CE0BAC-EBF7-4349-A081-1CEA4941C356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8" name="Grafik 6">
              <a:extLst>
                <a:ext uri="{FF2B5EF4-FFF2-40B4-BE49-F238E27FC236}">
                  <a16:creationId xmlns:a16="http://schemas.microsoft.com/office/drawing/2014/main" id="{A0284EC0-E33F-A243-B6BC-F29E8567FCD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962401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lateral +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7839844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 dirty="0"/>
              <a:t>Haga clic para modificar el estilo de título</a:t>
            </a:r>
            <a:br>
              <a:rPr lang="es-ES" dirty="0"/>
            </a:br>
            <a:r>
              <a:rPr lang="es-ES" dirty="0"/>
              <a:t>del patrón</a:t>
            </a:r>
            <a:endParaRPr lang="de-DE" dirty="0"/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D720F73B-9F29-9145-9628-03FF78B4B9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013" y="2024063"/>
            <a:ext cx="6859587" cy="3925887"/>
          </a:xfrm>
          <a:prstGeom prst="rect">
            <a:avLst/>
          </a:prstGeom>
        </p:spPr>
        <p:txBody>
          <a:bodyPr/>
          <a:lstStyle>
            <a:lvl1pPr marL="184150" indent="-17145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SzPct val="120000"/>
              <a:buFont typeface="Arial" panose="020B0604020202020204" pitchFamily="34" charset="0"/>
              <a:buChar char="•"/>
              <a:tabLst/>
              <a:defRPr sz="1600"/>
            </a:lvl1pPr>
            <a:lvl2pPr>
              <a:buFont typeface="+mj-lt"/>
              <a:buAutoNum type="arabicPeriod"/>
              <a:defRPr/>
            </a:lvl2pPr>
            <a:lvl3pPr>
              <a:buFont typeface="+mj-lt"/>
              <a:buAutoNum type="arabicPeriod"/>
              <a:defRPr/>
            </a:lvl3pPr>
            <a:lvl4pPr>
              <a:buFont typeface="+mj-lt"/>
              <a:buAutoNum type="arabicPeriod"/>
              <a:defRPr/>
            </a:lvl4pPr>
            <a:lvl5pPr>
              <a:buFont typeface="+mj-lt"/>
              <a:buAutoNum type="arabicPeriod"/>
              <a:defRPr/>
            </a:lvl5pPr>
          </a:lstStyle>
          <a:p>
            <a:pPr lvl="0"/>
            <a:r>
              <a:rPr lang="es-ES" dirty="0"/>
              <a:t> Haga clic para modificar los estilos de texto del patrón</a:t>
            </a:r>
          </a:p>
          <a:p>
            <a:pPr lvl="0"/>
            <a:endParaRPr lang="es-ES" dirty="0"/>
          </a:p>
        </p:txBody>
      </p:sp>
      <p:sp>
        <p:nvSpPr>
          <p:cNvPr id="12" name="Marcador de posición de imagen 2">
            <a:extLst>
              <a:ext uri="{FF2B5EF4-FFF2-40B4-BE49-F238E27FC236}">
                <a16:creationId xmlns:a16="http://schemas.microsoft.com/office/drawing/2014/main" id="{2A05DF62-9D49-9943-B45E-0AA61E89334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219949" y="0"/>
            <a:ext cx="4970464" cy="6858000"/>
          </a:xfrm>
          <a:custGeom>
            <a:avLst/>
            <a:gdLst>
              <a:gd name="connsiteX0" fmla="*/ 0 w 4970464"/>
              <a:gd name="connsiteY0" fmla="*/ 0 h 6858000"/>
              <a:gd name="connsiteX1" fmla="*/ 4970464 w 4970464"/>
              <a:gd name="connsiteY1" fmla="*/ 0 h 6858000"/>
              <a:gd name="connsiteX2" fmla="*/ 4970464 w 4970464"/>
              <a:gd name="connsiteY2" fmla="*/ 6858000 h 6858000"/>
              <a:gd name="connsiteX3" fmla="*/ 0 w 4970464"/>
              <a:gd name="connsiteY3" fmla="*/ 6858000 h 6858000"/>
              <a:gd name="connsiteX4" fmla="*/ 0 w 4970464"/>
              <a:gd name="connsiteY4" fmla="*/ 0 h 6858000"/>
              <a:gd name="connsiteX0" fmla="*/ 1489075 w 4970464"/>
              <a:gd name="connsiteY0" fmla="*/ 0 h 6858000"/>
              <a:gd name="connsiteX1" fmla="*/ 4970464 w 4970464"/>
              <a:gd name="connsiteY1" fmla="*/ 0 h 6858000"/>
              <a:gd name="connsiteX2" fmla="*/ 4970464 w 4970464"/>
              <a:gd name="connsiteY2" fmla="*/ 6858000 h 6858000"/>
              <a:gd name="connsiteX3" fmla="*/ 0 w 4970464"/>
              <a:gd name="connsiteY3" fmla="*/ 6858000 h 6858000"/>
              <a:gd name="connsiteX4" fmla="*/ 1489075 w 4970464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70464" h="6858000">
                <a:moveTo>
                  <a:pt x="1489075" y="0"/>
                </a:moveTo>
                <a:lnTo>
                  <a:pt x="4970464" y="0"/>
                </a:lnTo>
                <a:lnTo>
                  <a:pt x="4970464" y="6858000"/>
                </a:lnTo>
                <a:lnTo>
                  <a:pt x="0" y="6858000"/>
                </a:lnTo>
                <a:lnTo>
                  <a:pt x="1489075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s-ES_tradnl"/>
          </a:p>
        </p:txBody>
      </p:sp>
      <p:grpSp>
        <p:nvGrpSpPr>
          <p:cNvPr id="14" name="Gruppieren 7">
            <a:extLst>
              <a:ext uri="{FF2B5EF4-FFF2-40B4-BE49-F238E27FC236}">
                <a16:creationId xmlns:a16="http://schemas.microsoft.com/office/drawing/2014/main" id="{B93C91B0-EA0F-2D40-B1E3-60CB21311C87}"/>
              </a:ext>
            </a:extLst>
          </p:cNvPr>
          <p:cNvGrpSpPr/>
          <p:nvPr userDrawn="1"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16" name="Rechteck 11">
              <a:extLst>
                <a:ext uri="{FF2B5EF4-FFF2-40B4-BE49-F238E27FC236}">
                  <a16:creationId xmlns:a16="http://schemas.microsoft.com/office/drawing/2014/main" id="{1C9CDDEA-7D47-BF4C-982C-1482D60EC696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" name="Grafik 6">
              <a:extLst>
                <a:ext uri="{FF2B5EF4-FFF2-40B4-BE49-F238E27FC236}">
                  <a16:creationId xmlns:a16="http://schemas.microsoft.com/office/drawing/2014/main" id="{035BFC12-E064-7142-87B9-6DE266711B4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035623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lateral + bullets + vis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7839844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 dirty="0"/>
              <a:t>Haga clic para modificar el estilo de título</a:t>
            </a:r>
            <a:br>
              <a:rPr lang="es-ES" dirty="0"/>
            </a:br>
            <a:r>
              <a:rPr lang="es-ES" dirty="0"/>
              <a:t>del patrón</a:t>
            </a:r>
            <a:endParaRPr lang="de-DE" dirty="0"/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D720F73B-9F29-9145-9628-03FF78B4B9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013" y="2024063"/>
            <a:ext cx="6859587" cy="3925887"/>
          </a:xfrm>
          <a:prstGeom prst="rect">
            <a:avLst/>
          </a:prstGeom>
        </p:spPr>
        <p:txBody>
          <a:bodyPr/>
          <a:lstStyle>
            <a:lvl1pPr marL="360363" indent="-344488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SzPct val="12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 sz="1600"/>
            </a:lvl1pPr>
            <a:lvl2pPr>
              <a:buFont typeface="+mj-lt"/>
              <a:buAutoNum type="arabicPeriod"/>
              <a:defRPr/>
            </a:lvl2pPr>
            <a:lvl3pPr>
              <a:buFont typeface="+mj-lt"/>
              <a:buAutoNum type="arabicPeriod"/>
              <a:defRPr/>
            </a:lvl3pPr>
            <a:lvl4pPr>
              <a:buFont typeface="+mj-lt"/>
              <a:buAutoNum type="arabicPeriod"/>
              <a:defRPr/>
            </a:lvl4pPr>
            <a:lvl5pPr>
              <a:buFont typeface="+mj-lt"/>
              <a:buAutoNum type="arabicPeriod"/>
              <a:defRPr/>
            </a:lvl5pPr>
          </a:lstStyle>
          <a:p>
            <a:pPr lvl="0"/>
            <a:r>
              <a:rPr lang="es-ES" dirty="0"/>
              <a:t> Haga clic para modificar los estilos de texto del patrón</a:t>
            </a:r>
          </a:p>
          <a:p>
            <a:pPr lvl="0"/>
            <a:endParaRPr lang="es-ES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AE948B1A-78FB-314A-9FD8-1E6AFB0F189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032" y="5994110"/>
            <a:ext cx="3512082" cy="709633"/>
          </a:xfrm>
          <a:prstGeom prst="rect">
            <a:avLst/>
          </a:prstGeom>
        </p:spPr>
      </p:pic>
      <p:sp>
        <p:nvSpPr>
          <p:cNvPr id="12" name="Marcador de posición de imagen 2">
            <a:extLst>
              <a:ext uri="{FF2B5EF4-FFF2-40B4-BE49-F238E27FC236}">
                <a16:creationId xmlns:a16="http://schemas.microsoft.com/office/drawing/2014/main" id="{5A3EF78A-2D34-6844-BEC0-3EB52C02106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219949" y="0"/>
            <a:ext cx="4970464" cy="6858000"/>
          </a:xfrm>
          <a:custGeom>
            <a:avLst/>
            <a:gdLst>
              <a:gd name="connsiteX0" fmla="*/ 0 w 4970464"/>
              <a:gd name="connsiteY0" fmla="*/ 0 h 6858000"/>
              <a:gd name="connsiteX1" fmla="*/ 4970464 w 4970464"/>
              <a:gd name="connsiteY1" fmla="*/ 0 h 6858000"/>
              <a:gd name="connsiteX2" fmla="*/ 4970464 w 4970464"/>
              <a:gd name="connsiteY2" fmla="*/ 6858000 h 6858000"/>
              <a:gd name="connsiteX3" fmla="*/ 0 w 4970464"/>
              <a:gd name="connsiteY3" fmla="*/ 6858000 h 6858000"/>
              <a:gd name="connsiteX4" fmla="*/ 0 w 4970464"/>
              <a:gd name="connsiteY4" fmla="*/ 0 h 6858000"/>
              <a:gd name="connsiteX0" fmla="*/ 1489075 w 4970464"/>
              <a:gd name="connsiteY0" fmla="*/ 0 h 6858000"/>
              <a:gd name="connsiteX1" fmla="*/ 4970464 w 4970464"/>
              <a:gd name="connsiteY1" fmla="*/ 0 h 6858000"/>
              <a:gd name="connsiteX2" fmla="*/ 4970464 w 4970464"/>
              <a:gd name="connsiteY2" fmla="*/ 6858000 h 6858000"/>
              <a:gd name="connsiteX3" fmla="*/ 0 w 4970464"/>
              <a:gd name="connsiteY3" fmla="*/ 6858000 h 6858000"/>
              <a:gd name="connsiteX4" fmla="*/ 1489075 w 4970464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70464" h="6858000">
                <a:moveTo>
                  <a:pt x="1489075" y="0"/>
                </a:moveTo>
                <a:lnTo>
                  <a:pt x="4970464" y="0"/>
                </a:lnTo>
                <a:lnTo>
                  <a:pt x="4970464" y="6858000"/>
                </a:lnTo>
                <a:lnTo>
                  <a:pt x="0" y="6858000"/>
                </a:lnTo>
                <a:lnTo>
                  <a:pt x="1489075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s-ES_tradnl"/>
          </a:p>
        </p:txBody>
      </p:sp>
      <p:grpSp>
        <p:nvGrpSpPr>
          <p:cNvPr id="14" name="Gruppieren 7">
            <a:extLst>
              <a:ext uri="{FF2B5EF4-FFF2-40B4-BE49-F238E27FC236}">
                <a16:creationId xmlns:a16="http://schemas.microsoft.com/office/drawing/2014/main" id="{43A6EAFE-57E8-7D40-ABBE-16B2638DAD97}"/>
              </a:ext>
            </a:extLst>
          </p:cNvPr>
          <p:cNvGrpSpPr/>
          <p:nvPr userDrawn="1"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16" name="Rechteck 11">
              <a:extLst>
                <a:ext uri="{FF2B5EF4-FFF2-40B4-BE49-F238E27FC236}">
                  <a16:creationId xmlns:a16="http://schemas.microsoft.com/office/drawing/2014/main" id="{AF4D543C-5CE5-3E43-9E21-DE576B91E9A6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" name="Grafik 6">
              <a:extLst>
                <a:ext uri="{FF2B5EF4-FFF2-40B4-BE49-F238E27FC236}">
                  <a16:creationId xmlns:a16="http://schemas.microsoft.com/office/drawing/2014/main" id="{514075BB-15F7-4040-9D55-86522D9BD0F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830982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vertical +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7512530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 dirty="0"/>
              <a:t>Haga clic para modificar el estilo de título</a:t>
            </a:r>
            <a:br>
              <a:rPr lang="es-ES" dirty="0"/>
            </a:br>
            <a:r>
              <a:rPr lang="es-ES" dirty="0"/>
              <a:t>del patrón</a:t>
            </a:r>
            <a:endParaRPr lang="de-DE" dirty="0"/>
          </a:p>
        </p:txBody>
      </p:sp>
      <p:sp>
        <p:nvSpPr>
          <p:cNvPr id="8" name="Marcador de texto 4">
            <a:extLst>
              <a:ext uri="{FF2B5EF4-FFF2-40B4-BE49-F238E27FC236}">
                <a16:creationId xmlns:a16="http://schemas.microsoft.com/office/drawing/2014/main" id="{E5BF8F5A-CFED-8748-96EF-E4948EEE2C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8306" y="1628775"/>
            <a:ext cx="7512530" cy="4321176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D1DC76B1-6650-0F4C-A61A-112F89EAA9D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994074" y="0"/>
            <a:ext cx="419634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s-ES_tradnl"/>
          </a:p>
        </p:txBody>
      </p:sp>
      <p:grpSp>
        <p:nvGrpSpPr>
          <p:cNvPr id="14" name="Gruppieren 7">
            <a:extLst>
              <a:ext uri="{FF2B5EF4-FFF2-40B4-BE49-F238E27FC236}">
                <a16:creationId xmlns:a16="http://schemas.microsoft.com/office/drawing/2014/main" id="{DB263EC1-F49F-FD4F-9053-7D8D3FDAF6A5}"/>
              </a:ext>
            </a:extLst>
          </p:cNvPr>
          <p:cNvGrpSpPr/>
          <p:nvPr userDrawn="1"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16" name="Rechteck 11">
              <a:extLst>
                <a:ext uri="{FF2B5EF4-FFF2-40B4-BE49-F238E27FC236}">
                  <a16:creationId xmlns:a16="http://schemas.microsoft.com/office/drawing/2014/main" id="{F4616881-C6A5-514A-A321-B8532100700E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" name="Grafik 6">
              <a:extLst>
                <a:ext uri="{FF2B5EF4-FFF2-40B4-BE49-F238E27FC236}">
                  <a16:creationId xmlns:a16="http://schemas.microsoft.com/office/drawing/2014/main" id="{46550900-C09F-0E45-93DE-3A27EF5A5AA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63989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vertical +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7512530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 dirty="0"/>
              <a:t>Haga clic para modificar el estilo de título</a:t>
            </a:r>
            <a:br>
              <a:rPr lang="es-ES" dirty="0"/>
            </a:br>
            <a:r>
              <a:rPr lang="es-ES" dirty="0"/>
              <a:t>del patrón</a:t>
            </a:r>
            <a:endParaRPr lang="de-DE" dirty="0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D1DC76B1-6650-0F4C-A61A-112F89EAA9D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994074" y="0"/>
            <a:ext cx="419634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s-ES_tradnl"/>
          </a:p>
        </p:txBody>
      </p:sp>
      <p:grpSp>
        <p:nvGrpSpPr>
          <p:cNvPr id="14" name="Gruppieren 7">
            <a:extLst>
              <a:ext uri="{FF2B5EF4-FFF2-40B4-BE49-F238E27FC236}">
                <a16:creationId xmlns:a16="http://schemas.microsoft.com/office/drawing/2014/main" id="{DB263EC1-F49F-FD4F-9053-7D8D3FDAF6A5}"/>
              </a:ext>
            </a:extLst>
          </p:cNvPr>
          <p:cNvGrpSpPr/>
          <p:nvPr userDrawn="1"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16" name="Rechteck 11">
              <a:extLst>
                <a:ext uri="{FF2B5EF4-FFF2-40B4-BE49-F238E27FC236}">
                  <a16:creationId xmlns:a16="http://schemas.microsoft.com/office/drawing/2014/main" id="{F4616881-C6A5-514A-A321-B8532100700E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" name="Grafik 6">
              <a:extLst>
                <a:ext uri="{FF2B5EF4-FFF2-40B4-BE49-F238E27FC236}">
                  <a16:creationId xmlns:a16="http://schemas.microsoft.com/office/drawing/2014/main" id="{46550900-C09F-0E45-93DE-3A27EF5A5AA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  <p:sp>
        <p:nvSpPr>
          <p:cNvPr id="9" name="Marcador de texto 14">
            <a:extLst>
              <a:ext uri="{FF2B5EF4-FFF2-40B4-BE49-F238E27FC236}">
                <a16:creationId xmlns:a16="http://schemas.microsoft.com/office/drawing/2014/main" id="{134DBDD0-17B1-AA46-8E3A-76F3824648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013" y="1628775"/>
            <a:ext cx="7503823" cy="4321175"/>
          </a:xfrm>
          <a:prstGeom prst="rect">
            <a:avLst/>
          </a:prstGeom>
        </p:spPr>
        <p:txBody>
          <a:bodyPr/>
          <a:lstStyle>
            <a:lvl1pPr marL="184150" indent="-17145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SzPct val="120000"/>
              <a:buFont typeface="Arial" panose="020B0604020202020204" pitchFamily="34" charset="0"/>
              <a:buChar char="•"/>
              <a:tabLst/>
              <a:defRPr sz="1800"/>
            </a:lvl1pPr>
            <a:lvl2pPr>
              <a:buFont typeface="+mj-lt"/>
              <a:buAutoNum type="arabicPeriod"/>
              <a:defRPr/>
            </a:lvl2pPr>
            <a:lvl3pPr>
              <a:buFont typeface="+mj-lt"/>
              <a:buAutoNum type="arabicPeriod"/>
              <a:defRPr/>
            </a:lvl3pPr>
            <a:lvl4pPr>
              <a:buFont typeface="+mj-lt"/>
              <a:buAutoNum type="arabicPeriod"/>
              <a:defRPr/>
            </a:lvl4pPr>
            <a:lvl5pPr>
              <a:buFont typeface="+mj-lt"/>
              <a:buAutoNum type="arabicPeriod"/>
              <a:defRPr/>
            </a:lvl5pPr>
          </a:lstStyle>
          <a:p>
            <a:pPr lvl="0"/>
            <a:r>
              <a:rPr lang="es-ES" dirty="0"/>
              <a:t> Haga clic para modificar los estilos de texto del patrón</a:t>
            </a:r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4313551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coraz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14" name="Marcador de texto 4">
            <a:extLst>
              <a:ext uri="{FF2B5EF4-FFF2-40B4-BE49-F238E27FC236}">
                <a16:creationId xmlns:a16="http://schemas.microsoft.com/office/drawing/2014/main" id="{BE8B1F6F-CEA8-AD42-86F8-01276B782EF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8306" y="1628775"/>
            <a:ext cx="5718363" cy="4321176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</p:txBody>
      </p:sp>
      <p:sp>
        <p:nvSpPr>
          <p:cNvPr id="8" name="Marcador de posición de imagen 3">
            <a:extLst>
              <a:ext uri="{FF2B5EF4-FFF2-40B4-BE49-F238E27FC236}">
                <a16:creationId xmlns:a16="http://schemas.microsoft.com/office/drawing/2014/main" id="{36B4453E-18C1-8A40-B555-D5CBA5B8AC01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9091023" y="1325834"/>
            <a:ext cx="2648241" cy="4519122"/>
          </a:xfrm>
          <a:custGeom>
            <a:avLst/>
            <a:gdLst>
              <a:gd name="connsiteX0" fmla="*/ 1726784 w 3453568"/>
              <a:gd name="connsiteY0" fmla="*/ 761850 h 3047398"/>
              <a:gd name="connsiteX1" fmla="*/ 1726784 w 3453568"/>
              <a:gd name="connsiteY1" fmla="*/ 3047398 h 3047398"/>
              <a:gd name="connsiteX2" fmla="*/ 1726784 w 3453568"/>
              <a:gd name="connsiteY2" fmla="*/ 761850 h 3047398"/>
              <a:gd name="connsiteX0" fmla="*/ 323012 w 2062385"/>
              <a:gd name="connsiteY0" fmla="*/ 724098 h 3009646"/>
              <a:gd name="connsiteX1" fmla="*/ 323012 w 2062385"/>
              <a:gd name="connsiteY1" fmla="*/ 3009646 h 3009646"/>
              <a:gd name="connsiteX2" fmla="*/ 323012 w 2062385"/>
              <a:gd name="connsiteY2" fmla="*/ 724098 h 3009646"/>
              <a:gd name="connsiteX0" fmla="*/ 5073 w 1744446"/>
              <a:gd name="connsiteY0" fmla="*/ 724098 h 3009646"/>
              <a:gd name="connsiteX1" fmla="*/ 5073 w 1744446"/>
              <a:gd name="connsiteY1" fmla="*/ 3009646 h 3009646"/>
              <a:gd name="connsiteX2" fmla="*/ 5073 w 1744446"/>
              <a:gd name="connsiteY2" fmla="*/ 724098 h 3009646"/>
              <a:gd name="connsiteX0" fmla="*/ 0 w 1739373"/>
              <a:gd name="connsiteY0" fmla="*/ 724098 h 3009646"/>
              <a:gd name="connsiteX1" fmla="*/ 0 w 1739373"/>
              <a:gd name="connsiteY1" fmla="*/ 3009646 h 3009646"/>
              <a:gd name="connsiteX2" fmla="*/ 0 w 1739373"/>
              <a:gd name="connsiteY2" fmla="*/ 724098 h 3009646"/>
              <a:gd name="connsiteX0" fmla="*/ 0 w 1741571"/>
              <a:gd name="connsiteY0" fmla="*/ 741338 h 2941161"/>
              <a:gd name="connsiteX1" fmla="*/ 3175 w 1741571"/>
              <a:gd name="connsiteY1" fmla="*/ 2941161 h 2941161"/>
              <a:gd name="connsiteX2" fmla="*/ 0 w 1741571"/>
              <a:gd name="connsiteY2" fmla="*/ 741338 h 2941161"/>
              <a:gd name="connsiteX0" fmla="*/ 0 w 1662955"/>
              <a:gd name="connsiteY0" fmla="*/ 770826 h 2970649"/>
              <a:gd name="connsiteX1" fmla="*/ 3175 w 1662955"/>
              <a:gd name="connsiteY1" fmla="*/ 2970649 h 2970649"/>
              <a:gd name="connsiteX2" fmla="*/ 0 w 1662955"/>
              <a:gd name="connsiteY2" fmla="*/ 770826 h 2970649"/>
              <a:gd name="connsiteX0" fmla="*/ 0 w 1754580"/>
              <a:gd name="connsiteY0" fmla="*/ 790877 h 2990700"/>
              <a:gd name="connsiteX1" fmla="*/ 3175 w 1754580"/>
              <a:gd name="connsiteY1" fmla="*/ 2990700 h 2990700"/>
              <a:gd name="connsiteX2" fmla="*/ 0 w 1754580"/>
              <a:gd name="connsiteY2" fmla="*/ 790877 h 2990700"/>
              <a:gd name="connsiteX0" fmla="*/ 46 w 1754626"/>
              <a:gd name="connsiteY0" fmla="*/ 790877 h 3268319"/>
              <a:gd name="connsiteX1" fmla="*/ 3221 w 1754626"/>
              <a:gd name="connsiteY1" fmla="*/ 2990700 h 3268319"/>
              <a:gd name="connsiteX2" fmla="*/ 1457 w 1754626"/>
              <a:gd name="connsiteY2" fmla="*/ 2995379 h 3268319"/>
              <a:gd name="connsiteX3" fmla="*/ 46 w 1754626"/>
              <a:gd name="connsiteY3" fmla="*/ 790877 h 3268319"/>
              <a:gd name="connsiteX0" fmla="*/ 46 w 2123706"/>
              <a:gd name="connsiteY0" fmla="*/ 879416 h 3232836"/>
              <a:gd name="connsiteX1" fmla="*/ 504333 w 2123706"/>
              <a:gd name="connsiteY1" fmla="*/ 2702113 h 3232836"/>
              <a:gd name="connsiteX2" fmla="*/ 1457 w 2123706"/>
              <a:gd name="connsiteY2" fmla="*/ 3083918 h 3232836"/>
              <a:gd name="connsiteX3" fmla="*/ 46 w 2123706"/>
              <a:gd name="connsiteY3" fmla="*/ 879416 h 3232836"/>
              <a:gd name="connsiteX0" fmla="*/ 46 w 1814106"/>
              <a:gd name="connsiteY0" fmla="*/ 793104 h 3265479"/>
              <a:gd name="connsiteX1" fmla="*/ 85878 w 1814106"/>
              <a:gd name="connsiteY1" fmla="*/ 2982594 h 3265479"/>
              <a:gd name="connsiteX2" fmla="*/ 1457 w 1814106"/>
              <a:gd name="connsiteY2" fmla="*/ 2997606 h 3265479"/>
              <a:gd name="connsiteX3" fmla="*/ 46 w 1814106"/>
              <a:gd name="connsiteY3" fmla="*/ 793104 h 3265479"/>
              <a:gd name="connsiteX0" fmla="*/ 46 w 1814106"/>
              <a:gd name="connsiteY0" fmla="*/ 793104 h 3237717"/>
              <a:gd name="connsiteX1" fmla="*/ 85878 w 1814106"/>
              <a:gd name="connsiteY1" fmla="*/ 2982594 h 3237717"/>
              <a:gd name="connsiteX2" fmla="*/ 1457 w 1814106"/>
              <a:gd name="connsiteY2" fmla="*/ 2940456 h 3237717"/>
              <a:gd name="connsiteX3" fmla="*/ 46 w 1814106"/>
              <a:gd name="connsiteY3" fmla="*/ 793104 h 3237717"/>
              <a:gd name="connsiteX0" fmla="*/ 46 w 1766081"/>
              <a:gd name="connsiteY0" fmla="*/ 801401 h 3226052"/>
              <a:gd name="connsiteX1" fmla="*/ 19203 w 1766081"/>
              <a:gd name="connsiteY1" fmla="*/ 2952791 h 3226052"/>
              <a:gd name="connsiteX2" fmla="*/ 1457 w 1766081"/>
              <a:gd name="connsiteY2" fmla="*/ 2948753 h 3226052"/>
              <a:gd name="connsiteX3" fmla="*/ 46 w 1766081"/>
              <a:gd name="connsiteY3" fmla="*/ 801401 h 3226052"/>
              <a:gd name="connsiteX0" fmla="*/ 46 w 1825596"/>
              <a:gd name="connsiteY0" fmla="*/ 800705 h 3226963"/>
              <a:gd name="connsiteX1" fmla="*/ 101753 w 1825596"/>
              <a:gd name="connsiteY1" fmla="*/ 2955270 h 3226963"/>
              <a:gd name="connsiteX2" fmla="*/ 1457 w 1825596"/>
              <a:gd name="connsiteY2" fmla="*/ 2948057 h 3226963"/>
              <a:gd name="connsiteX3" fmla="*/ 46 w 1825596"/>
              <a:gd name="connsiteY3" fmla="*/ 800705 h 3226963"/>
              <a:gd name="connsiteX0" fmla="*/ 46 w 1825596"/>
              <a:gd name="connsiteY0" fmla="*/ 800705 h 3113418"/>
              <a:gd name="connsiteX1" fmla="*/ 101753 w 1825596"/>
              <a:gd name="connsiteY1" fmla="*/ 2955270 h 3113418"/>
              <a:gd name="connsiteX2" fmla="*/ 1457 w 1825596"/>
              <a:gd name="connsiteY2" fmla="*/ 2948057 h 3113418"/>
              <a:gd name="connsiteX3" fmla="*/ 46 w 1825596"/>
              <a:gd name="connsiteY3" fmla="*/ 800705 h 3113418"/>
              <a:gd name="connsiteX0" fmla="*/ 46 w 1825596"/>
              <a:gd name="connsiteY0" fmla="*/ 801401 h 3113272"/>
              <a:gd name="connsiteX1" fmla="*/ 101753 w 1825596"/>
              <a:gd name="connsiteY1" fmla="*/ 2952791 h 3113272"/>
              <a:gd name="connsiteX2" fmla="*/ 1457 w 1825596"/>
              <a:gd name="connsiteY2" fmla="*/ 2948753 h 3113272"/>
              <a:gd name="connsiteX3" fmla="*/ 46 w 1825596"/>
              <a:gd name="connsiteY3" fmla="*/ 801401 h 3113272"/>
              <a:gd name="connsiteX0" fmla="*/ 46 w 1825596"/>
              <a:gd name="connsiteY0" fmla="*/ 801401 h 2999004"/>
              <a:gd name="connsiteX1" fmla="*/ 101753 w 1825596"/>
              <a:gd name="connsiteY1" fmla="*/ 2952791 h 2999004"/>
              <a:gd name="connsiteX2" fmla="*/ 1457 w 1825596"/>
              <a:gd name="connsiteY2" fmla="*/ 2948753 h 2999004"/>
              <a:gd name="connsiteX3" fmla="*/ 46 w 1825596"/>
              <a:gd name="connsiteY3" fmla="*/ 801401 h 2999004"/>
              <a:gd name="connsiteX0" fmla="*/ 46 w 1825596"/>
              <a:gd name="connsiteY0" fmla="*/ 801401 h 3003762"/>
              <a:gd name="connsiteX1" fmla="*/ 101753 w 1825596"/>
              <a:gd name="connsiteY1" fmla="*/ 2952791 h 3003762"/>
              <a:gd name="connsiteX2" fmla="*/ 1457 w 1825596"/>
              <a:gd name="connsiteY2" fmla="*/ 2948753 h 3003762"/>
              <a:gd name="connsiteX3" fmla="*/ 46 w 1825596"/>
              <a:gd name="connsiteY3" fmla="*/ 801401 h 3003762"/>
              <a:gd name="connsiteX0" fmla="*/ 46 w 1751080"/>
              <a:gd name="connsiteY0" fmla="*/ 791490 h 2993851"/>
              <a:gd name="connsiteX1" fmla="*/ 101753 w 1751080"/>
              <a:gd name="connsiteY1" fmla="*/ 2942880 h 2993851"/>
              <a:gd name="connsiteX2" fmla="*/ 1457 w 1751080"/>
              <a:gd name="connsiteY2" fmla="*/ 2938842 h 2993851"/>
              <a:gd name="connsiteX3" fmla="*/ 46 w 1751080"/>
              <a:gd name="connsiteY3" fmla="*/ 791490 h 2993851"/>
              <a:gd name="connsiteX0" fmla="*/ 46 w 1754103"/>
              <a:gd name="connsiteY0" fmla="*/ 794198 h 2992817"/>
              <a:gd name="connsiteX1" fmla="*/ 105929 w 1754103"/>
              <a:gd name="connsiteY1" fmla="*/ 2933062 h 2992817"/>
              <a:gd name="connsiteX2" fmla="*/ 1457 w 1754103"/>
              <a:gd name="connsiteY2" fmla="*/ 2941550 h 2992817"/>
              <a:gd name="connsiteX3" fmla="*/ 46 w 1754103"/>
              <a:gd name="connsiteY3" fmla="*/ 794198 h 2992817"/>
              <a:gd name="connsiteX0" fmla="*/ 46 w 1754103"/>
              <a:gd name="connsiteY0" fmla="*/ 794198 h 3092665"/>
              <a:gd name="connsiteX1" fmla="*/ 105929 w 1754103"/>
              <a:gd name="connsiteY1" fmla="*/ 2933062 h 3092665"/>
              <a:gd name="connsiteX2" fmla="*/ 112493 w 1754103"/>
              <a:gd name="connsiteY2" fmla="*/ 2916042 h 3092665"/>
              <a:gd name="connsiteX3" fmla="*/ 1457 w 1754103"/>
              <a:gd name="connsiteY3" fmla="*/ 2941550 h 3092665"/>
              <a:gd name="connsiteX4" fmla="*/ 46 w 1754103"/>
              <a:gd name="connsiteY4" fmla="*/ 794198 h 3092665"/>
              <a:gd name="connsiteX0" fmla="*/ 46 w 1754103"/>
              <a:gd name="connsiteY0" fmla="*/ 794198 h 3137950"/>
              <a:gd name="connsiteX1" fmla="*/ 105929 w 1754103"/>
              <a:gd name="connsiteY1" fmla="*/ 2933062 h 3137950"/>
              <a:gd name="connsiteX2" fmla="*/ 49862 w 1754103"/>
              <a:gd name="connsiteY2" fmla="*/ 3062179 h 3137950"/>
              <a:gd name="connsiteX3" fmla="*/ 1457 w 1754103"/>
              <a:gd name="connsiteY3" fmla="*/ 2941550 h 3137950"/>
              <a:gd name="connsiteX4" fmla="*/ 46 w 1754103"/>
              <a:gd name="connsiteY4" fmla="*/ 794198 h 3137950"/>
              <a:gd name="connsiteX0" fmla="*/ 46 w 1947503"/>
              <a:gd name="connsiteY0" fmla="*/ 855901 h 3199653"/>
              <a:gd name="connsiteX1" fmla="*/ 368976 w 1947503"/>
              <a:gd name="connsiteY1" fmla="*/ 2727543 h 3199653"/>
              <a:gd name="connsiteX2" fmla="*/ 49862 w 1947503"/>
              <a:gd name="connsiteY2" fmla="*/ 3123882 h 3199653"/>
              <a:gd name="connsiteX3" fmla="*/ 1457 w 1947503"/>
              <a:gd name="connsiteY3" fmla="*/ 3003253 h 3199653"/>
              <a:gd name="connsiteX4" fmla="*/ 46 w 1947503"/>
              <a:gd name="connsiteY4" fmla="*/ 855901 h 3199653"/>
              <a:gd name="connsiteX0" fmla="*/ 46 w 1947503"/>
              <a:gd name="connsiteY0" fmla="*/ 855901 h 3157433"/>
              <a:gd name="connsiteX1" fmla="*/ 368976 w 1947503"/>
              <a:gd name="connsiteY1" fmla="*/ 2727543 h 3157433"/>
              <a:gd name="connsiteX2" fmla="*/ 125018 w 1947503"/>
              <a:gd name="connsiteY2" fmla="*/ 2990271 h 3157433"/>
              <a:gd name="connsiteX3" fmla="*/ 1457 w 1947503"/>
              <a:gd name="connsiteY3" fmla="*/ 3003253 h 3157433"/>
              <a:gd name="connsiteX4" fmla="*/ 46 w 1947503"/>
              <a:gd name="connsiteY4" fmla="*/ 855901 h 3157433"/>
              <a:gd name="connsiteX0" fmla="*/ 46 w 1947503"/>
              <a:gd name="connsiteY0" fmla="*/ 855901 h 3166659"/>
              <a:gd name="connsiteX1" fmla="*/ 368976 w 1947503"/>
              <a:gd name="connsiteY1" fmla="*/ 2727543 h 3166659"/>
              <a:gd name="connsiteX2" fmla="*/ 96443 w 1947503"/>
              <a:gd name="connsiteY2" fmla="*/ 3025196 h 3166659"/>
              <a:gd name="connsiteX3" fmla="*/ 1457 w 1947503"/>
              <a:gd name="connsiteY3" fmla="*/ 3003253 h 3166659"/>
              <a:gd name="connsiteX4" fmla="*/ 46 w 1947503"/>
              <a:gd name="connsiteY4" fmla="*/ 855901 h 3166659"/>
              <a:gd name="connsiteX0" fmla="*/ 46 w 1947503"/>
              <a:gd name="connsiteY0" fmla="*/ 855901 h 3154564"/>
              <a:gd name="connsiteX1" fmla="*/ 368976 w 1947503"/>
              <a:gd name="connsiteY1" fmla="*/ 2727543 h 3154564"/>
              <a:gd name="connsiteX2" fmla="*/ 96443 w 1947503"/>
              <a:gd name="connsiteY2" fmla="*/ 3025196 h 3154564"/>
              <a:gd name="connsiteX3" fmla="*/ 1457 w 1947503"/>
              <a:gd name="connsiteY3" fmla="*/ 3003253 h 3154564"/>
              <a:gd name="connsiteX4" fmla="*/ 46 w 1947503"/>
              <a:gd name="connsiteY4" fmla="*/ 855901 h 3154564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63511"/>
              <a:gd name="connsiteX1" fmla="*/ 368976 w 1947503"/>
              <a:gd name="connsiteY1" fmla="*/ 2727543 h 3063511"/>
              <a:gd name="connsiteX2" fmla="*/ 96443 w 1947503"/>
              <a:gd name="connsiteY2" fmla="*/ 3025196 h 3063511"/>
              <a:gd name="connsiteX3" fmla="*/ 1457 w 1947503"/>
              <a:gd name="connsiteY3" fmla="*/ 3003253 h 3063511"/>
              <a:gd name="connsiteX4" fmla="*/ 46 w 1947503"/>
              <a:gd name="connsiteY4" fmla="*/ 855901 h 3063511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748161"/>
              <a:gd name="connsiteY0" fmla="*/ 802155 h 3002262"/>
              <a:gd name="connsiteX1" fmla="*/ 368976 w 1748161"/>
              <a:gd name="connsiteY1" fmla="*/ 2673797 h 3002262"/>
              <a:gd name="connsiteX2" fmla="*/ 96443 w 1748161"/>
              <a:gd name="connsiteY2" fmla="*/ 2971450 h 3002262"/>
              <a:gd name="connsiteX3" fmla="*/ 1457 w 1748161"/>
              <a:gd name="connsiteY3" fmla="*/ 2949507 h 3002262"/>
              <a:gd name="connsiteX4" fmla="*/ 46 w 1748161"/>
              <a:gd name="connsiteY4" fmla="*/ 802155 h 3002262"/>
              <a:gd name="connsiteX0" fmla="*/ 46 w 1748161"/>
              <a:gd name="connsiteY0" fmla="*/ 802155 h 3002262"/>
              <a:gd name="connsiteX1" fmla="*/ 368976 w 1748161"/>
              <a:gd name="connsiteY1" fmla="*/ 2673797 h 3002262"/>
              <a:gd name="connsiteX2" fmla="*/ 96443 w 1748161"/>
              <a:gd name="connsiteY2" fmla="*/ 2971450 h 3002262"/>
              <a:gd name="connsiteX3" fmla="*/ 1457 w 1748161"/>
              <a:gd name="connsiteY3" fmla="*/ 2949507 h 3002262"/>
              <a:gd name="connsiteX4" fmla="*/ 46 w 1748161"/>
              <a:gd name="connsiteY4" fmla="*/ 802155 h 3002262"/>
              <a:gd name="connsiteX0" fmla="*/ 46 w 1752318"/>
              <a:gd name="connsiteY0" fmla="*/ 788682 h 2988789"/>
              <a:gd name="connsiteX1" fmla="*/ 368976 w 1752318"/>
              <a:gd name="connsiteY1" fmla="*/ 2660324 h 2988789"/>
              <a:gd name="connsiteX2" fmla="*/ 96443 w 1752318"/>
              <a:gd name="connsiteY2" fmla="*/ 2957977 h 2988789"/>
              <a:gd name="connsiteX3" fmla="*/ 1457 w 1752318"/>
              <a:gd name="connsiteY3" fmla="*/ 2936034 h 2988789"/>
              <a:gd name="connsiteX4" fmla="*/ 46 w 1752318"/>
              <a:gd name="connsiteY4" fmla="*/ 788682 h 2988789"/>
              <a:gd name="connsiteX0" fmla="*/ 46 w 1749822"/>
              <a:gd name="connsiteY0" fmla="*/ 793733 h 2993840"/>
              <a:gd name="connsiteX1" fmla="*/ 368976 w 1749822"/>
              <a:gd name="connsiteY1" fmla="*/ 2665375 h 2993840"/>
              <a:gd name="connsiteX2" fmla="*/ 96443 w 1749822"/>
              <a:gd name="connsiteY2" fmla="*/ 2963028 h 2993840"/>
              <a:gd name="connsiteX3" fmla="*/ 1457 w 1749822"/>
              <a:gd name="connsiteY3" fmla="*/ 2941085 h 2993840"/>
              <a:gd name="connsiteX4" fmla="*/ 46 w 1749822"/>
              <a:gd name="connsiteY4" fmla="*/ 793733 h 2993840"/>
              <a:gd name="connsiteX0" fmla="*/ 46 w 1749822"/>
              <a:gd name="connsiteY0" fmla="*/ 793733 h 2993840"/>
              <a:gd name="connsiteX1" fmla="*/ 368976 w 1749822"/>
              <a:gd name="connsiteY1" fmla="*/ 2665375 h 2993840"/>
              <a:gd name="connsiteX2" fmla="*/ 96443 w 1749822"/>
              <a:gd name="connsiteY2" fmla="*/ 2963028 h 2993840"/>
              <a:gd name="connsiteX3" fmla="*/ 1457 w 1749822"/>
              <a:gd name="connsiteY3" fmla="*/ 2941085 h 2993840"/>
              <a:gd name="connsiteX4" fmla="*/ 46 w 1749822"/>
              <a:gd name="connsiteY4" fmla="*/ 793733 h 2993840"/>
              <a:gd name="connsiteX0" fmla="*/ 46 w 404090"/>
              <a:gd name="connsiteY0" fmla="*/ 516228 h 2716335"/>
              <a:gd name="connsiteX1" fmla="*/ 368976 w 404090"/>
              <a:gd name="connsiteY1" fmla="*/ 2387870 h 2716335"/>
              <a:gd name="connsiteX2" fmla="*/ 96443 w 404090"/>
              <a:gd name="connsiteY2" fmla="*/ 2685523 h 2716335"/>
              <a:gd name="connsiteX3" fmla="*/ 1457 w 404090"/>
              <a:gd name="connsiteY3" fmla="*/ 2663580 h 2716335"/>
              <a:gd name="connsiteX4" fmla="*/ 46 w 404090"/>
              <a:gd name="connsiteY4" fmla="*/ 516228 h 2716335"/>
              <a:gd name="connsiteX0" fmla="*/ 777284 w 2211803"/>
              <a:gd name="connsiteY0" fmla="*/ 744448 h 3507127"/>
              <a:gd name="connsiteX1" fmla="*/ 1146214 w 2211803"/>
              <a:gd name="connsiteY1" fmla="*/ 2616090 h 3507127"/>
              <a:gd name="connsiteX2" fmla="*/ 873681 w 2211803"/>
              <a:gd name="connsiteY2" fmla="*/ 2913743 h 3507127"/>
              <a:gd name="connsiteX3" fmla="*/ 778695 w 2211803"/>
              <a:gd name="connsiteY3" fmla="*/ 2891800 h 3507127"/>
              <a:gd name="connsiteX4" fmla="*/ 777284 w 2211803"/>
              <a:gd name="connsiteY4" fmla="*/ 744448 h 3507127"/>
              <a:gd name="connsiteX0" fmla="*/ 1076399 w 2811144"/>
              <a:gd name="connsiteY0" fmla="*/ 804551 h 3708291"/>
              <a:gd name="connsiteX1" fmla="*/ 1445329 w 2811144"/>
              <a:gd name="connsiteY1" fmla="*/ 2676193 h 3708291"/>
              <a:gd name="connsiteX2" fmla="*/ 1172796 w 2811144"/>
              <a:gd name="connsiteY2" fmla="*/ 2973846 h 3708291"/>
              <a:gd name="connsiteX3" fmla="*/ 1077810 w 2811144"/>
              <a:gd name="connsiteY3" fmla="*/ 2951903 h 3708291"/>
              <a:gd name="connsiteX4" fmla="*/ 1076399 w 2811144"/>
              <a:gd name="connsiteY4" fmla="*/ 804551 h 3708291"/>
              <a:gd name="connsiteX0" fmla="*/ 47 w 399202"/>
              <a:gd name="connsiteY0" fmla="*/ 512681 h 2712788"/>
              <a:gd name="connsiteX1" fmla="*/ 368977 w 399202"/>
              <a:gd name="connsiteY1" fmla="*/ 2384323 h 2712788"/>
              <a:gd name="connsiteX2" fmla="*/ 96444 w 399202"/>
              <a:gd name="connsiteY2" fmla="*/ 2681976 h 2712788"/>
              <a:gd name="connsiteX3" fmla="*/ 1458 w 399202"/>
              <a:gd name="connsiteY3" fmla="*/ 2660033 h 2712788"/>
              <a:gd name="connsiteX4" fmla="*/ 47 w 399202"/>
              <a:gd name="connsiteY4" fmla="*/ 512681 h 2712788"/>
              <a:gd name="connsiteX0" fmla="*/ 47 w 544902"/>
              <a:gd name="connsiteY0" fmla="*/ 553542 h 2753649"/>
              <a:gd name="connsiteX1" fmla="*/ 368977 w 544902"/>
              <a:gd name="connsiteY1" fmla="*/ 2425184 h 2753649"/>
              <a:gd name="connsiteX2" fmla="*/ 96444 w 544902"/>
              <a:gd name="connsiteY2" fmla="*/ 2722837 h 2753649"/>
              <a:gd name="connsiteX3" fmla="*/ 1458 w 544902"/>
              <a:gd name="connsiteY3" fmla="*/ 2700894 h 2753649"/>
              <a:gd name="connsiteX4" fmla="*/ 47 w 544902"/>
              <a:gd name="connsiteY4" fmla="*/ 553542 h 2753649"/>
              <a:gd name="connsiteX0" fmla="*/ 736083 w 2129194"/>
              <a:gd name="connsiteY0" fmla="*/ 737259 h 3482022"/>
              <a:gd name="connsiteX1" fmla="*/ 1105013 w 2129194"/>
              <a:gd name="connsiteY1" fmla="*/ 2608901 h 3482022"/>
              <a:gd name="connsiteX2" fmla="*/ 832480 w 2129194"/>
              <a:gd name="connsiteY2" fmla="*/ 2906554 h 3482022"/>
              <a:gd name="connsiteX3" fmla="*/ 737494 w 2129194"/>
              <a:gd name="connsiteY3" fmla="*/ 2884611 h 3482022"/>
              <a:gd name="connsiteX4" fmla="*/ 736083 w 2129194"/>
              <a:gd name="connsiteY4" fmla="*/ 737259 h 3482022"/>
              <a:gd name="connsiteX0" fmla="*/ 47 w 511420"/>
              <a:gd name="connsiteY0" fmla="*/ 531224 h 2731331"/>
              <a:gd name="connsiteX1" fmla="*/ 368977 w 511420"/>
              <a:gd name="connsiteY1" fmla="*/ 2402866 h 2731331"/>
              <a:gd name="connsiteX2" fmla="*/ 96444 w 511420"/>
              <a:gd name="connsiteY2" fmla="*/ 2700519 h 2731331"/>
              <a:gd name="connsiteX3" fmla="*/ 1458 w 511420"/>
              <a:gd name="connsiteY3" fmla="*/ 2678576 h 2731331"/>
              <a:gd name="connsiteX4" fmla="*/ 47 w 511420"/>
              <a:gd name="connsiteY4" fmla="*/ 531224 h 2731331"/>
              <a:gd name="connsiteX0" fmla="*/ 47 w 730958"/>
              <a:gd name="connsiteY0" fmla="*/ 555697 h 2755804"/>
              <a:gd name="connsiteX1" fmla="*/ 631066 w 730958"/>
              <a:gd name="connsiteY1" fmla="*/ 2217668 h 2755804"/>
              <a:gd name="connsiteX2" fmla="*/ 96444 w 730958"/>
              <a:gd name="connsiteY2" fmla="*/ 2724992 h 2755804"/>
              <a:gd name="connsiteX3" fmla="*/ 1458 w 730958"/>
              <a:gd name="connsiteY3" fmla="*/ 2703049 h 2755804"/>
              <a:gd name="connsiteX4" fmla="*/ 47 w 730958"/>
              <a:gd name="connsiteY4" fmla="*/ 555697 h 2755804"/>
              <a:gd name="connsiteX0" fmla="*/ 47 w 928515"/>
              <a:gd name="connsiteY0" fmla="*/ 653539 h 2950202"/>
              <a:gd name="connsiteX1" fmla="*/ 631066 w 928515"/>
              <a:gd name="connsiteY1" fmla="*/ 2315510 h 2950202"/>
              <a:gd name="connsiteX2" fmla="*/ 96444 w 928515"/>
              <a:gd name="connsiteY2" fmla="*/ 2822834 h 2950202"/>
              <a:gd name="connsiteX3" fmla="*/ 1458 w 928515"/>
              <a:gd name="connsiteY3" fmla="*/ 2800891 h 2950202"/>
              <a:gd name="connsiteX4" fmla="*/ 47 w 928515"/>
              <a:gd name="connsiteY4" fmla="*/ 653539 h 2950202"/>
              <a:gd name="connsiteX0" fmla="*/ 705076 w 2447495"/>
              <a:gd name="connsiteY0" fmla="*/ 796906 h 3438718"/>
              <a:gd name="connsiteX1" fmla="*/ 1336095 w 2447495"/>
              <a:gd name="connsiteY1" fmla="*/ 2458877 h 3438718"/>
              <a:gd name="connsiteX2" fmla="*/ 801473 w 2447495"/>
              <a:gd name="connsiteY2" fmla="*/ 2966201 h 3438718"/>
              <a:gd name="connsiteX3" fmla="*/ 706487 w 2447495"/>
              <a:gd name="connsiteY3" fmla="*/ 2944258 h 3438718"/>
              <a:gd name="connsiteX4" fmla="*/ 705076 w 2447495"/>
              <a:gd name="connsiteY4" fmla="*/ 796906 h 3438718"/>
              <a:gd name="connsiteX0" fmla="*/ 750894 w 2539724"/>
              <a:gd name="connsiteY0" fmla="*/ 791191 h 3420519"/>
              <a:gd name="connsiteX1" fmla="*/ 1381913 w 2539724"/>
              <a:gd name="connsiteY1" fmla="*/ 2453162 h 3420519"/>
              <a:gd name="connsiteX2" fmla="*/ 847291 w 2539724"/>
              <a:gd name="connsiteY2" fmla="*/ 2960486 h 3420519"/>
              <a:gd name="connsiteX3" fmla="*/ 752305 w 2539724"/>
              <a:gd name="connsiteY3" fmla="*/ 2938543 h 3420519"/>
              <a:gd name="connsiteX4" fmla="*/ 750894 w 2539724"/>
              <a:gd name="connsiteY4" fmla="*/ 791191 h 3420519"/>
              <a:gd name="connsiteX0" fmla="*/ 738161 w 2514098"/>
              <a:gd name="connsiteY0" fmla="*/ 798057 h 3442368"/>
              <a:gd name="connsiteX1" fmla="*/ 1369180 w 2514098"/>
              <a:gd name="connsiteY1" fmla="*/ 2460028 h 3442368"/>
              <a:gd name="connsiteX2" fmla="*/ 834558 w 2514098"/>
              <a:gd name="connsiteY2" fmla="*/ 2967352 h 3442368"/>
              <a:gd name="connsiteX3" fmla="*/ 739572 w 2514098"/>
              <a:gd name="connsiteY3" fmla="*/ 2945409 h 3442368"/>
              <a:gd name="connsiteX4" fmla="*/ 738161 w 2514098"/>
              <a:gd name="connsiteY4" fmla="*/ 798057 h 3442368"/>
              <a:gd name="connsiteX0" fmla="*/ 722887 w 2483353"/>
              <a:gd name="connsiteY0" fmla="*/ 798057 h 3442368"/>
              <a:gd name="connsiteX1" fmla="*/ 1353906 w 2483353"/>
              <a:gd name="connsiteY1" fmla="*/ 2460028 h 3442368"/>
              <a:gd name="connsiteX2" fmla="*/ 819284 w 2483353"/>
              <a:gd name="connsiteY2" fmla="*/ 2967352 h 3442368"/>
              <a:gd name="connsiteX3" fmla="*/ 724298 w 2483353"/>
              <a:gd name="connsiteY3" fmla="*/ 2945409 h 3442368"/>
              <a:gd name="connsiteX4" fmla="*/ 722887 w 2483353"/>
              <a:gd name="connsiteY4" fmla="*/ 798057 h 3442368"/>
              <a:gd name="connsiteX0" fmla="*/ 395918 w 2572118"/>
              <a:gd name="connsiteY0" fmla="*/ 953184 h 3278390"/>
              <a:gd name="connsiteX1" fmla="*/ 1551115 w 2572118"/>
              <a:gd name="connsiteY1" fmla="*/ 2026911 h 3278390"/>
              <a:gd name="connsiteX2" fmla="*/ 492315 w 2572118"/>
              <a:gd name="connsiteY2" fmla="*/ 3122479 h 3278390"/>
              <a:gd name="connsiteX3" fmla="*/ 397329 w 2572118"/>
              <a:gd name="connsiteY3" fmla="*/ 3100536 h 3278390"/>
              <a:gd name="connsiteX4" fmla="*/ 395918 w 2572118"/>
              <a:gd name="connsiteY4" fmla="*/ 953184 h 3278390"/>
              <a:gd name="connsiteX0" fmla="*/ 30230 w 1788185"/>
              <a:gd name="connsiteY0" fmla="*/ 831274 h 3031381"/>
              <a:gd name="connsiteX1" fmla="*/ 1185427 w 1788185"/>
              <a:gd name="connsiteY1" fmla="*/ 1905001 h 3031381"/>
              <a:gd name="connsiteX2" fmla="*/ 126627 w 1788185"/>
              <a:gd name="connsiteY2" fmla="*/ 3000569 h 3031381"/>
              <a:gd name="connsiteX3" fmla="*/ 31641 w 1788185"/>
              <a:gd name="connsiteY3" fmla="*/ 2978626 h 3031381"/>
              <a:gd name="connsiteX4" fmla="*/ 30230 w 1788185"/>
              <a:gd name="connsiteY4" fmla="*/ 831274 h 3031381"/>
              <a:gd name="connsiteX0" fmla="*/ 47 w 1256820"/>
              <a:gd name="connsiteY0" fmla="*/ 681223 h 2881330"/>
              <a:gd name="connsiteX1" fmla="*/ 1155244 w 1256820"/>
              <a:gd name="connsiteY1" fmla="*/ 1754950 h 2881330"/>
              <a:gd name="connsiteX2" fmla="*/ 96444 w 1256820"/>
              <a:gd name="connsiteY2" fmla="*/ 2850518 h 2881330"/>
              <a:gd name="connsiteX3" fmla="*/ 1458 w 1256820"/>
              <a:gd name="connsiteY3" fmla="*/ 2828575 h 2881330"/>
              <a:gd name="connsiteX4" fmla="*/ 47 w 1256820"/>
              <a:gd name="connsiteY4" fmla="*/ 681223 h 2881330"/>
              <a:gd name="connsiteX0" fmla="*/ 47 w 1256820"/>
              <a:gd name="connsiteY0" fmla="*/ 681223 h 2881330"/>
              <a:gd name="connsiteX1" fmla="*/ 1155244 w 1256820"/>
              <a:gd name="connsiteY1" fmla="*/ 1754950 h 2881330"/>
              <a:gd name="connsiteX2" fmla="*/ 96444 w 1256820"/>
              <a:gd name="connsiteY2" fmla="*/ 2850518 h 2881330"/>
              <a:gd name="connsiteX3" fmla="*/ 1458 w 1256820"/>
              <a:gd name="connsiteY3" fmla="*/ 2828575 h 2881330"/>
              <a:gd name="connsiteX4" fmla="*/ 47 w 1256820"/>
              <a:gd name="connsiteY4" fmla="*/ 681223 h 2881330"/>
              <a:gd name="connsiteX0" fmla="*/ 47 w 1760471"/>
              <a:gd name="connsiteY0" fmla="*/ 813967 h 3014074"/>
              <a:gd name="connsiteX1" fmla="*/ 1155244 w 1760471"/>
              <a:gd name="connsiteY1" fmla="*/ 1887694 h 3014074"/>
              <a:gd name="connsiteX2" fmla="*/ 96444 w 1760471"/>
              <a:gd name="connsiteY2" fmla="*/ 2983262 h 3014074"/>
              <a:gd name="connsiteX3" fmla="*/ 1458 w 1760471"/>
              <a:gd name="connsiteY3" fmla="*/ 2961319 h 3014074"/>
              <a:gd name="connsiteX4" fmla="*/ 47 w 1760471"/>
              <a:gd name="connsiteY4" fmla="*/ 813967 h 3014074"/>
              <a:gd name="connsiteX0" fmla="*/ 47 w 1675680"/>
              <a:gd name="connsiteY0" fmla="*/ 865670 h 3065777"/>
              <a:gd name="connsiteX1" fmla="*/ 1155244 w 1675680"/>
              <a:gd name="connsiteY1" fmla="*/ 1939397 h 3065777"/>
              <a:gd name="connsiteX2" fmla="*/ 96444 w 1675680"/>
              <a:gd name="connsiteY2" fmla="*/ 3034965 h 3065777"/>
              <a:gd name="connsiteX3" fmla="*/ 1458 w 1675680"/>
              <a:gd name="connsiteY3" fmla="*/ 3013022 h 3065777"/>
              <a:gd name="connsiteX4" fmla="*/ 47 w 1675680"/>
              <a:gd name="connsiteY4" fmla="*/ 865670 h 3065777"/>
              <a:gd name="connsiteX0" fmla="*/ 47 w 1754273"/>
              <a:gd name="connsiteY0" fmla="*/ 834667 h 3034774"/>
              <a:gd name="connsiteX1" fmla="*/ 1155244 w 1754273"/>
              <a:gd name="connsiteY1" fmla="*/ 1908394 h 3034774"/>
              <a:gd name="connsiteX2" fmla="*/ 96444 w 1754273"/>
              <a:gd name="connsiteY2" fmla="*/ 3003962 h 3034774"/>
              <a:gd name="connsiteX3" fmla="*/ 1458 w 1754273"/>
              <a:gd name="connsiteY3" fmla="*/ 2982019 h 3034774"/>
              <a:gd name="connsiteX4" fmla="*/ 47 w 1754273"/>
              <a:gd name="connsiteY4" fmla="*/ 834667 h 3034774"/>
              <a:gd name="connsiteX0" fmla="*/ 47 w 1712428"/>
              <a:gd name="connsiteY0" fmla="*/ 860399 h 3060506"/>
              <a:gd name="connsiteX1" fmla="*/ 1155244 w 1712428"/>
              <a:gd name="connsiteY1" fmla="*/ 1934126 h 3060506"/>
              <a:gd name="connsiteX2" fmla="*/ 96444 w 1712428"/>
              <a:gd name="connsiteY2" fmla="*/ 3029694 h 3060506"/>
              <a:gd name="connsiteX3" fmla="*/ 1458 w 1712428"/>
              <a:gd name="connsiteY3" fmla="*/ 3007751 h 3060506"/>
              <a:gd name="connsiteX4" fmla="*/ 47 w 1712428"/>
              <a:gd name="connsiteY4" fmla="*/ 860399 h 3060506"/>
              <a:gd name="connsiteX0" fmla="*/ 47 w 1749340"/>
              <a:gd name="connsiteY0" fmla="*/ 813600 h 3013707"/>
              <a:gd name="connsiteX1" fmla="*/ 1155244 w 1749340"/>
              <a:gd name="connsiteY1" fmla="*/ 1887327 h 3013707"/>
              <a:gd name="connsiteX2" fmla="*/ 96444 w 1749340"/>
              <a:gd name="connsiteY2" fmla="*/ 2982895 h 3013707"/>
              <a:gd name="connsiteX3" fmla="*/ 1458 w 1749340"/>
              <a:gd name="connsiteY3" fmla="*/ 2960952 h 3013707"/>
              <a:gd name="connsiteX4" fmla="*/ 47 w 1749340"/>
              <a:gd name="connsiteY4" fmla="*/ 813600 h 3013707"/>
              <a:gd name="connsiteX0" fmla="*/ 47 w 2123694"/>
              <a:gd name="connsiteY0" fmla="*/ 939789 h 3139896"/>
              <a:gd name="connsiteX1" fmla="*/ 1592060 w 2123694"/>
              <a:gd name="connsiteY1" fmla="*/ 1553404 h 3139896"/>
              <a:gd name="connsiteX2" fmla="*/ 96444 w 2123694"/>
              <a:gd name="connsiteY2" fmla="*/ 3109084 h 3139896"/>
              <a:gd name="connsiteX3" fmla="*/ 1458 w 2123694"/>
              <a:gd name="connsiteY3" fmla="*/ 3087141 h 3139896"/>
              <a:gd name="connsiteX4" fmla="*/ 47 w 2123694"/>
              <a:gd name="connsiteY4" fmla="*/ 939789 h 3139896"/>
              <a:gd name="connsiteX0" fmla="*/ 47 w 1761213"/>
              <a:gd name="connsiteY0" fmla="*/ 891556 h 3091663"/>
              <a:gd name="connsiteX1" fmla="*/ 1592060 w 1761213"/>
              <a:gd name="connsiteY1" fmla="*/ 1505171 h 3091663"/>
              <a:gd name="connsiteX2" fmla="*/ 96444 w 1761213"/>
              <a:gd name="connsiteY2" fmla="*/ 3060851 h 3091663"/>
              <a:gd name="connsiteX3" fmla="*/ 1458 w 1761213"/>
              <a:gd name="connsiteY3" fmla="*/ 3038908 h 3091663"/>
              <a:gd name="connsiteX4" fmla="*/ 47 w 1761213"/>
              <a:gd name="connsiteY4" fmla="*/ 891556 h 3091663"/>
              <a:gd name="connsiteX0" fmla="*/ 47 w 1765403"/>
              <a:gd name="connsiteY0" fmla="*/ 808980 h 3009087"/>
              <a:gd name="connsiteX1" fmla="*/ 1592060 w 1765403"/>
              <a:gd name="connsiteY1" fmla="*/ 1422595 h 3009087"/>
              <a:gd name="connsiteX2" fmla="*/ 96444 w 1765403"/>
              <a:gd name="connsiteY2" fmla="*/ 2978275 h 3009087"/>
              <a:gd name="connsiteX3" fmla="*/ 1458 w 1765403"/>
              <a:gd name="connsiteY3" fmla="*/ 2956332 h 3009087"/>
              <a:gd name="connsiteX4" fmla="*/ 47 w 1765403"/>
              <a:gd name="connsiteY4" fmla="*/ 808980 h 3009087"/>
              <a:gd name="connsiteX0" fmla="*/ 47 w 1814671"/>
              <a:gd name="connsiteY0" fmla="*/ 781904 h 2982011"/>
              <a:gd name="connsiteX1" fmla="*/ 1592060 w 1814671"/>
              <a:gd name="connsiteY1" fmla="*/ 1395519 h 2982011"/>
              <a:gd name="connsiteX2" fmla="*/ 96444 w 1814671"/>
              <a:gd name="connsiteY2" fmla="*/ 2951199 h 2982011"/>
              <a:gd name="connsiteX3" fmla="*/ 1458 w 1814671"/>
              <a:gd name="connsiteY3" fmla="*/ 2929256 h 2982011"/>
              <a:gd name="connsiteX4" fmla="*/ 47 w 1814671"/>
              <a:gd name="connsiteY4" fmla="*/ 781904 h 2982011"/>
              <a:gd name="connsiteX0" fmla="*/ 47 w 1669744"/>
              <a:gd name="connsiteY0" fmla="*/ 678598 h 2878705"/>
              <a:gd name="connsiteX1" fmla="*/ 1304433 w 1669744"/>
              <a:gd name="connsiteY1" fmla="*/ 20356 h 2878705"/>
              <a:gd name="connsiteX2" fmla="*/ 1592060 w 1669744"/>
              <a:gd name="connsiteY2" fmla="*/ 1292213 h 2878705"/>
              <a:gd name="connsiteX3" fmla="*/ 96444 w 1669744"/>
              <a:gd name="connsiteY3" fmla="*/ 2847893 h 2878705"/>
              <a:gd name="connsiteX4" fmla="*/ 1458 w 1669744"/>
              <a:gd name="connsiteY4" fmla="*/ 2825950 h 2878705"/>
              <a:gd name="connsiteX5" fmla="*/ 47 w 1669744"/>
              <a:gd name="connsiteY5" fmla="*/ 678598 h 2878705"/>
              <a:gd name="connsiteX0" fmla="*/ 47 w 1669744"/>
              <a:gd name="connsiteY0" fmla="*/ 797492 h 2997599"/>
              <a:gd name="connsiteX1" fmla="*/ 1304433 w 1669744"/>
              <a:gd name="connsiteY1" fmla="*/ 139250 h 2997599"/>
              <a:gd name="connsiteX2" fmla="*/ 1592060 w 1669744"/>
              <a:gd name="connsiteY2" fmla="*/ 1411107 h 2997599"/>
              <a:gd name="connsiteX3" fmla="*/ 96444 w 1669744"/>
              <a:gd name="connsiteY3" fmla="*/ 2966787 h 2997599"/>
              <a:gd name="connsiteX4" fmla="*/ 1458 w 1669744"/>
              <a:gd name="connsiteY4" fmla="*/ 2944844 h 2997599"/>
              <a:gd name="connsiteX5" fmla="*/ 47 w 1669744"/>
              <a:gd name="connsiteY5" fmla="*/ 797492 h 2997599"/>
              <a:gd name="connsiteX0" fmla="*/ 47 w 1669744"/>
              <a:gd name="connsiteY0" fmla="*/ 796759 h 2996866"/>
              <a:gd name="connsiteX1" fmla="*/ 1304433 w 1669744"/>
              <a:gd name="connsiteY1" fmla="*/ 138517 h 2996866"/>
              <a:gd name="connsiteX2" fmla="*/ 1592060 w 1669744"/>
              <a:gd name="connsiteY2" fmla="*/ 1410374 h 2996866"/>
              <a:gd name="connsiteX3" fmla="*/ 96444 w 1669744"/>
              <a:gd name="connsiteY3" fmla="*/ 2966054 h 2996866"/>
              <a:gd name="connsiteX4" fmla="*/ 1458 w 1669744"/>
              <a:gd name="connsiteY4" fmla="*/ 2944111 h 2996866"/>
              <a:gd name="connsiteX5" fmla="*/ 47 w 1669744"/>
              <a:gd name="connsiteY5" fmla="*/ 796759 h 2996866"/>
              <a:gd name="connsiteX0" fmla="*/ 47 w 1674254"/>
              <a:gd name="connsiteY0" fmla="*/ 816902 h 3017009"/>
              <a:gd name="connsiteX1" fmla="*/ 1321905 w 1674254"/>
              <a:gd name="connsiteY1" fmla="*/ 135363 h 3017009"/>
              <a:gd name="connsiteX2" fmla="*/ 1592060 w 1674254"/>
              <a:gd name="connsiteY2" fmla="*/ 1430517 h 3017009"/>
              <a:gd name="connsiteX3" fmla="*/ 96444 w 1674254"/>
              <a:gd name="connsiteY3" fmla="*/ 2986197 h 3017009"/>
              <a:gd name="connsiteX4" fmla="*/ 1458 w 1674254"/>
              <a:gd name="connsiteY4" fmla="*/ 2964254 h 3017009"/>
              <a:gd name="connsiteX5" fmla="*/ 47 w 1674254"/>
              <a:gd name="connsiteY5" fmla="*/ 816902 h 3017009"/>
              <a:gd name="connsiteX0" fmla="*/ 47 w 1674254"/>
              <a:gd name="connsiteY0" fmla="*/ 795700 h 2995807"/>
              <a:gd name="connsiteX1" fmla="*/ 1321905 w 1674254"/>
              <a:gd name="connsiteY1" fmla="*/ 114161 h 2995807"/>
              <a:gd name="connsiteX2" fmla="*/ 1592060 w 1674254"/>
              <a:gd name="connsiteY2" fmla="*/ 1409315 h 2995807"/>
              <a:gd name="connsiteX3" fmla="*/ 96444 w 1674254"/>
              <a:gd name="connsiteY3" fmla="*/ 2964995 h 2995807"/>
              <a:gd name="connsiteX4" fmla="*/ 1458 w 1674254"/>
              <a:gd name="connsiteY4" fmla="*/ 2943052 h 2995807"/>
              <a:gd name="connsiteX5" fmla="*/ 47 w 1674254"/>
              <a:gd name="connsiteY5" fmla="*/ 795700 h 2995807"/>
              <a:gd name="connsiteX0" fmla="*/ 47 w 1689928"/>
              <a:gd name="connsiteY0" fmla="*/ 795700 h 2995807"/>
              <a:gd name="connsiteX1" fmla="*/ 1321905 w 1689928"/>
              <a:gd name="connsiteY1" fmla="*/ 114161 h 2995807"/>
              <a:gd name="connsiteX2" fmla="*/ 1592060 w 1689928"/>
              <a:gd name="connsiteY2" fmla="*/ 1409315 h 2995807"/>
              <a:gd name="connsiteX3" fmla="*/ 96444 w 1689928"/>
              <a:gd name="connsiteY3" fmla="*/ 2964995 h 2995807"/>
              <a:gd name="connsiteX4" fmla="*/ 1458 w 1689928"/>
              <a:gd name="connsiteY4" fmla="*/ 2943052 h 2995807"/>
              <a:gd name="connsiteX5" fmla="*/ 47 w 1689928"/>
              <a:gd name="connsiteY5" fmla="*/ 795700 h 2995807"/>
              <a:gd name="connsiteX0" fmla="*/ 47 w 1746860"/>
              <a:gd name="connsiteY0" fmla="*/ 795700 h 2995807"/>
              <a:gd name="connsiteX1" fmla="*/ 1321905 w 1746860"/>
              <a:gd name="connsiteY1" fmla="*/ 114161 h 2995807"/>
              <a:gd name="connsiteX2" fmla="*/ 1592060 w 1746860"/>
              <a:gd name="connsiteY2" fmla="*/ 1409315 h 2995807"/>
              <a:gd name="connsiteX3" fmla="*/ 96444 w 1746860"/>
              <a:gd name="connsiteY3" fmla="*/ 2964995 h 2995807"/>
              <a:gd name="connsiteX4" fmla="*/ 1458 w 1746860"/>
              <a:gd name="connsiteY4" fmla="*/ 2943052 h 2995807"/>
              <a:gd name="connsiteX5" fmla="*/ 47 w 1746860"/>
              <a:gd name="connsiteY5" fmla="*/ 795700 h 2995807"/>
              <a:gd name="connsiteX0" fmla="*/ 47 w 1817082"/>
              <a:gd name="connsiteY0" fmla="*/ 795700 h 2995807"/>
              <a:gd name="connsiteX1" fmla="*/ 1321905 w 1817082"/>
              <a:gd name="connsiteY1" fmla="*/ 114161 h 2995807"/>
              <a:gd name="connsiteX2" fmla="*/ 1592060 w 1817082"/>
              <a:gd name="connsiteY2" fmla="*/ 1409315 h 2995807"/>
              <a:gd name="connsiteX3" fmla="*/ 96444 w 1817082"/>
              <a:gd name="connsiteY3" fmla="*/ 2964995 h 2995807"/>
              <a:gd name="connsiteX4" fmla="*/ 1458 w 1817082"/>
              <a:gd name="connsiteY4" fmla="*/ 2943052 h 2995807"/>
              <a:gd name="connsiteX5" fmla="*/ 47 w 1817082"/>
              <a:gd name="connsiteY5" fmla="*/ 795700 h 2995807"/>
              <a:gd name="connsiteX0" fmla="*/ 47 w 1765318"/>
              <a:gd name="connsiteY0" fmla="*/ 795700 h 2995807"/>
              <a:gd name="connsiteX1" fmla="*/ 1321905 w 1765318"/>
              <a:gd name="connsiteY1" fmla="*/ 114161 h 2995807"/>
              <a:gd name="connsiteX2" fmla="*/ 1592060 w 1765318"/>
              <a:gd name="connsiteY2" fmla="*/ 1409315 h 2995807"/>
              <a:gd name="connsiteX3" fmla="*/ 96444 w 1765318"/>
              <a:gd name="connsiteY3" fmla="*/ 2964995 h 2995807"/>
              <a:gd name="connsiteX4" fmla="*/ 1458 w 1765318"/>
              <a:gd name="connsiteY4" fmla="*/ 2943052 h 2995807"/>
              <a:gd name="connsiteX5" fmla="*/ 47 w 1765318"/>
              <a:gd name="connsiteY5" fmla="*/ 795700 h 2995807"/>
              <a:gd name="connsiteX0" fmla="*/ 47 w 1773136"/>
              <a:gd name="connsiteY0" fmla="*/ 795700 h 2995807"/>
              <a:gd name="connsiteX1" fmla="*/ 1321905 w 1773136"/>
              <a:gd name="connsiteY1" fmla="*/ 114161 h 2995807"/>
              <a:gd name="connsiteX2" fmla="*/ 1592060 w 1773136"/>
              <a:gd name="connsiteY2" fmla="*/ 1409315 h 2995807"/>
              <a:gd name="connsiteX3" fmla="*/ 96444 w 1773136"/>
              <a:gd name="connsiteY3" fmla="*/ 2964995 h 2995807"/>
              <a:gd name="connsiteX4" fmla="*/ 1458 w 1773136"/>
              <a:gd name="connsiteY4" fmla="*/ 2943052 h 2995807"/>
              <a:gd name="connsiteX5" fmla="*/ 47 w 1773136"/>
              <a:gd name="connsiteY5" fmla="*/ 795700 h 2995807"/>
              <a:gd name="connsiteX0" fmla="*/ 47 w 1812096"/>
              <a:gd name="connsiteY0" fmla="*/ 795700 h 2995807"/>
              <a:gd name="connsiteX1" fmla="*/ 1321905 w 1812096"/>
              <a:gd name="connsiteY1" fmla="*/ 114161 h 2995807"/>
              <a:gd name="connsiteX2" fmla="*/ 1592060 w 1812096"/>
              <a:gd name="connsiteY2" fmla="*/ 1409315 h 2995807"/>
              <a:gd name="connsiteX3" fmla="*/ 96444 w 1812096"/>
              <a:gd name="connsiteY3" fmla="*/ 2964995 h 2995807"/>
              <a:gd name="connsiteX4" fmla="*/ 1458 w 1812096"/>
              <a:gd name="connsiteY4" fmla="*/ 2943052 h 2995807"/>
              <a:gd name="connsiteX5" fmla="*/ 47 w 1812096"/>
              <a:gd name="connsiteY5" fmla="*/ 795700 h 2995807"/>
              <a:gd name="connsiteX0" fmla="*/ 47 w 1759473"/>
              <a:gd name="connsiteY0" fmla="*/ 795700 h 2995807"/>
              <a:gd name="connsiteX1" fmla="*/ 1321905 w 1759473"/>
              <a:gd name="connsiteY1" fmla="*/ 114161 h 2995807"/>
              <a:gd name="connsiteX2" fmla="*/ 1592060 w 1759473"/>
              <a:gd name="connsiteY2" fmla="*/ 1409315 h 2995807"/>
              <a:gd name="connsiteX3" fmla="*/ 96444 w 1759473"/>
              <a:gd name="connsiteY3" fmla="*/ 2964995 h 2995807"/>
              <a:gd name="connsiteX4" fmla="*/ 1458 w 1759473"/>
              <a:gd name="connsiteY4" fmla="*/ 2943052 h 2995807"/>
              <a:gd name="connsiteX5" fmla="*/ 47 w 1759473"/>
              <a:gd name="connsiteY5" fmla="*/ 795700 h 2995807"/>
              <a:gd name="connsiteX0" fmla="*/ 47 w 1747100"/>
              <a:gd name="connsiteY0" fmla="*/ 795700 h 2995807"/>
              <a:gd name="connsiteX1" fmla="*/ 1321905 w 1747100"/>
              <a:gd name="connsiteY1" fmla="*/ 114161 h 2995807"/>
              <a:gd name="connsiteX2" fmla="*/ 1592060 w 1747100"/>
              <a:gd name="connsiteY2" fmla="*/ 1409315 h 2995807"/>
              <a:gd name="connsiteX3" fmla="*/ 96444 w 1747100"/>
              <a:gd name="connsiteY3" fmla="*/ 2964995 h 2995807"/>
              <a:gd name="connsiteX4" fmla="*/ 1458 w 1747100"/>
              <a:gd name="connsiteY4" fmla="*/ 2943052 h 2995807"/>
              <a:gd name="connsiteX5" fmla="*/ 47 w 1747100"/>
              <a:gd name="connsiteY5" fmla="*/ 795700 h 2995807"/>
              <a:gd name="connsiteX0" fmla="*/ 47 w 1747100"/>
              <a:gd name="connsiteY0" fmla="*/ 801068 h 3001175"/>
              <a:gd name="connsiteX1" fmla="*/ 1321905 w 1747100"/>
              <a:gd name="connsiteY1" fmla="*/ 119529 h 3001175"/>
              <a:gd name="connsiteX2" fmla="*/ 1592060 w 1747100"/>
              <a:gd name="connsiteY2" fmla="*/ 1414683 h 3001175"/>
              <a:gd name="connsiteX3" fmla="*/ 96444 w 1747100"/>
              <a:gd name="connsiteY3" fmla="*/ 2970363 h 3001175"/>
              <a:gd name="connsiteX4" fmla="*/ 1458 w 1747100"/>
              <a:gd name="connsiteY4" fmla="*/ 2948420 h 3001175"/>
              <a:gd name="connsiteX5" fmla="*/ 47 w 1747100"/>
              <a:gd name="connsiteY5" fmla="*/ 801068 h 3001175"/>
              <a:gd name="connsiteX0" fmla="*/ 47 w 1747100"/>
              <a:gd name="connsiteY0" fmla="*/ 859428 h 2992860"/>
              <a:gd name="connsiteX1" fmla="*/ 1321905 w 1747100"/>
              <a:gd name="connsiteY1" fmla="*/ 111214 h 2992860"/>
              <a:gd name="connsiteX2" fmla="*/ 1592060 w 1747100"/>
              <a:gd name="connsiteY2" fmla="*/ 1406368 h 2992860"/>
              <a:gd name="connsiteX3" fmla="*/ 96444 w 1747100"/>
              <a:gd name="connsiteY3" fmla="*/ 2962048 h 2992860"/>
              <a:gd name="connsiteX4" fmla="*/ 1458 w 1747100"/>
              <a:gd name="connsiteY4" fmla="*/ 2940105 h 2992860"/>
              <a:gd name="connsiteX5" fmla="*/ 47 w 1747100"/>
              <a:gd name="connsiteY5" fmla="*/ 859428 h 2992860"/>
              <a:gd name="connsiteX0" fmla="*/ 317 w 1747370"/>
              <a:gd name="connsiteY0" fmla="*/ 863993 h 2997425"/>
              <a:gd name="connsiteX1" fmla="*/ 1322175 w 1747370"/>
              <a:gd name="connsiteY1" fmla="*/ 115779 h 2997425"/>
              <a:gd name="connsiteX2" fmla="*/ 1592330 w 1747370"/>
              <a:gd name="connsiteY2" fmla="*/ 1410933 h 2997425"/>
              <a:gd name="connsiteX3" fmla="*/ 96714 w 1747370"/>
              <a:gd name="connsiteY3" fmla="*/ 2966613 h 2997425"/>
              <a:gd name="connsiteX4" fmla="*/ 1728 w 1747370"/>
              <a:gd name="connsiteY4" fmla="*/ 2944670 h 2997425"/>
              <a:gd name="connsiteX5" fmla="*/ 317 w 1747370"/>
              <a:gd name="connsiteY5" fmla="*/ 863993 h 2997425"/>
              <a:gd name="connsiteX0" fmla="*/ 317 w 1758362"/>
              <a:gd name="connsiteY0" fmla="*/ 863993 h 2997425"/>
              <a:gd name="connsiteX1" fmla="*/ 1322175 w 1758362"/>
              <a:gd name="connsiteY1" fmla="*/ 115779 h 2997425"/>
              <a:gd name="connsiteX2" fmla="*/ 1592330 w 1758362"/>
              <a:gd name="connsiteY2" fmla="*/ 1410933 h 2997425"/>
              <a:gd name="connsiteX3" fmla="*/ 96714 w 1758362"/>
              <a:gd name="connsiteY3" fmla="*/ 2966613 h 2997425"/>
              <a:gd name="connsiteX4" fmla="*/ 1728 w 1758362"/>
              <a:gd name="connsiteY4" fmla="*/ 2944670 h 2997425"/>
              <a:gd name="connsiteX5" fmla="*/ 317 w 1758362"/>
              <a:gd name="connsiteY5" fmla="*/ 863993 h 2997425"/>
              <a:gd name="connsiteX0" fmla="*/ 317 w 1753088"/>
              <a:gd name="connsiteY0" fmla="*/ 863993 h 2997425"/>
              <a:gd name="connsiteX1" fmla="*/ 1322175 w 1753088"/>
              <a:gd name="connsiteY1" fmla="*/ 115779 h 2997425"/>
              <a:gd name="connsiteX2" fmla="*/ 1592330 w 1753088"/>
              <a:gd name="connsiteY2" fmla="*/ 1410933 h 2997425"/>
              <a:gd name="connsiteX3" fmla="*/ 96714 w 1753088"/>
              <a:gd name="connsiteY3" fmla="*/ 2966613 h 2997425"/>
              <a:gd name="connsiteX4" fmla="*/ 1728 w 1753088"/>
              <a:gd name="connsiteY4" fmla="*/ 2944670 h 2997425"/>
              <a:gd name="connsiteX5" fmla="*/ 317 w 1753088"/>
              <a:gd name="connsiteY5" fmla="*/ 863993 h 2997425"/>
              <a:gd name="connsiteX0" fmla="*/ 317 w 1756975"/>
              <a:gd name="connsiteY0" fmla="*/ 863993 h 2997425"/>
              <a:gd name="connsiteX1" fmla="*/ 1322175 w 1756975"/>
              <a:gd name="connsiteY1" fmla="*/ 115779 h 2997425"/>
              <a:gd name="connsiteX2" fmla="*/ 1592330 w 1756975"/>
              <a:gd name="connsiteY2" fmla="*/ 1410933 h 2997425"/>
              <a:gd name="connsiteX3" fmla="*/ 96714 w 1756975"/>
              <a:gd name="connsiteY3" fmla="*/ 2966613 h 2997425"/>
              <a:gd name="connsiteX4" fmla="*/ 1728 w 1756975"/>
              <a:gd name="connsiteY4" fmla="*/ 2944670 h 2997425"/>
              <a:gd name="connsiteX5" fmla="*/ 317 w 1756975"/>
              <a:gd name="connsiteY5" fmla="*/ 863993 h 2997425"/>
              <a:gd name="connsiteX0" fmla="*/ 317 w 1756975"/>
              <a:gd name="connsiteY0" fmla="*/ 863993 h 3004928"/>
              <a:gd name="connsiteX1" fmla="*/ 1322175 w 1756975"/>
              <a:gd name="connsiteY1" fmla="*/ 115779 h 3004928"/>
              <a:gd name="connsiteX2" fmla="*/ 1592330 w 1756975"/>
              <a:gd name="connsiteY2" fmla="*/ 1410933 h 3004928"/>
              <a:gd name="connsiteX3" fmla="*/ 96714 w 1756975"/>
              <a:gd name="connsiteY3" fmla="*/ 2966613 h 3004928"/>
              <a:gd name="connsiteX4" fmla="*/ 1728 w 1756975"/>
              <a:gd name="connsiteY4" fmla="*/ 2944670 h 3004928"/>
              <a:gd name="connsiteX5" fmla="*/ 317 w 1756975"/>
              <a:gd name="connsiteY5" fmla="*/ 863993 h 3004928"/>
              <a:gd name="connsiteX0" fmla="*/ 317 w 1756975"/>
              <a:gd name="connsiteY0" fmla="*/ 863993 h 3009727"/>
              <a:gd name="connsiteX1" fmla="*/ 1322175 w 1756975"/>
              <a:gd name="connsiteY1" fmla="*/ 115779 h 3009727"/>
              <a:gd name="connsiteX2" fmla="*/ 1592330 w 1756975"/>
              <a:gd name="connsiteY2" fmla="*/ 1410933 h 3009727"/>
              <a:gd name="connsiteX3" fmla="*/ 96714 w 1756975"/>
              <a:gd name="connsiteY3" fmla="*/ 2966613 h 3009727"/>
              <a:gd name="connsiteX4" fmla="*/ 1728 w 1756975"/>
              <a:gd name="connsiteY4" fmla="*/ 2944670 h 3009727"/>
              <a:gd name="connsiteX5" fmla="*/ 317 w 1756975"/>
              <a:gd name="connsiteY5" fmla="*/ 863993 h 3009727"/>
              <a:gd name="connsiteX0" fmla="*/ 317 w 1756975"/>
              <a:gd name="connsiteY0" fmla="*/ 863993 h 2995855"/>
              <a:gd name="connsiteX1" fmla="*/ 1322175 w 1756975"/>
              <a:gd name="connsiteY1" fmla="*/ 115779 h 2995855"/>
              <a:gd name="connsiteX2" fmla="*/ 1592330 w 1756975"/>
              <a:gd name="connsiteY2" fmla="*/ 1410933 h 2995855"/>
              <a:gd name="connsiteX3" fmla="*/ 96714 w 1756975"/>
              <a:gd name="connsiteY3" fmla="*/ 2966613 h 2995855"/>
              <a:gd name="connsiteX4" fmla="*/ 1728 w 1756975"/>
              <a:gd name="connsiteY4" fmla="*/ 2944670 h 2995855"/>
              <a:gd name="connsiteX5" fmla="*/ 317 w 1756975"/>
              <a:gd name="connsiteY5" fmla="*/ 863993 h 2995855"/>
              <a:gd name="connsiteX0" fmla="*/ 317 w 1756975"/>
              <a:gd name="connsiteY0" fmla="*/ 863993 h 2995855"/>
              <a:gd name="connsiteX1" fmla="*/ 1322175 w 1756975"/>
              <a:gd name="connsiteY1" fmla="*/ 115779 h 2995855"/>
              <a:gd name="connsiteX2" fmla="*/ 1592330 w 1756975"/>
              <a:gd name="connsiteY2" fmla="*/ 1410933 h 2995855"/>
              <a:gd name="connsiteX3" fmla="*/ 96714 w 1756975"/>
              <a:gd name="connsiteY3" fmla="*/ 2966613 h 2995855"/>
              <a:gd name="connsiteX4" fmla="*/ 1728 w 1756975"/>
              <a:gd name="connsiteY4" fmla="*/ 2944670 h 2995855"/>
              <a:gd name="connsiteX5" fmla="*/ 317 w 1756975"/>
              <a:gd name="connsiteY5" fmla="*/ 863993 h 2995855"/>
              <a:gd name="connsiteX0" fmla="*/ 317 w 1756975"/>
              <a:gd name="connsiteY0" fmla="*/ 861441 h 2993303"/>
              <a:gd name="connsiteX1" fmla="*/ 1322175 w 1756975"/>
              <a:gd name="connsiteY1" fmla="*/ 113227 h 2993303"/>
              <a:gd name="connsiteX2" fmla="*/ 1592330 w 1756975"/>
              <a:gd name="connsiteY2" fmla="*/ 1408381 h 2993303"/>
              <a:gd name="connsiteX3" fmla="*/ 96714 w 1756975"/>
              <a:gd name="connsiteY3" fmla="*/ 2964061 h 2993303"/>
              <a:gd name="connsiteX4" fmla="*/ 1728 w 1756975"/>
              <a:gd name="connsiteY4" fmla="*/ 2942118 h 2993303"/>
              <a:gd name="connsiteX5" fmla="*/ 317 w 1756975"/>
              <a:gd name="connsiteY5" fmla="*/ 861441 h 2993303"/>
              <a:gd name="connsiteX0" fmla="*/ 317 w 1749504"/>
              <a:gd name="connsiteY0" fmla="*/ 861441 h 2993303"/>
              <a:gd name="connsiteX1" fmla="*/ 1322175 w 1749504"/>
              <a:gd name="connsiteY1" fmla="*/ 113227 h 2993303"/>
              <a:gd name="connsiteX2" fmla="*/ 1579626 w 1749504"/>
              <a:gd name="connsiteY2" fmla="*/ 1430606 h 2993303"/>
              <a:gd name="connsiteX3" fmla="*/ 96714 w 1749504"/>
              <a:gd name="connsiteY3" fmla="*/ 2964061 h 2993303"/>
              <a:gd name="connsiteX4" fmla="*/ 1728 w 1749504"/>
              <a:gd name="connsiteY4" fmla="*/ 2942118 h 2993303"/>
              <a:gd name="connsiteX5" fmla="*/ 317 w 1749504"/>
              <a:gd name="connsiteY5" fmla="*/ 861441 h 2993303"/>
              <a:gd name="connsiteX0" fmla="*/ 317 w 1751386"/>
              <a:gd name="connsiteY0" fmla="*/ 861441 h 2993303"/>
              <a:gd name="connsiteX1" fmla="*/ 1322175 w 1751386"/>
              <a:gd name="connsiteY1" fmla="*/ 113227 h 2993303"/>
              <a:gd name="connsiteX2" fmla="*/ 1579626 w 1751386"/>
              <a:gd name="connsiteY2" fmla="*/ 1430606 h 2993303"/>
              <a:gd name="connsiteX3" fmla="*/ 96714 w 1751386"/>
              <a:gd name="connsiteY3" fmla="*/ 2964061 h 2993303"/>
              <a:gd name="connsiteX4" fmla="*/ 1728 w 1751386"/>
              <a:gd name="connsiteY4" fmla="*/ 2942118 h 2993303"/>
              <a:gd name="connsiteX5" fmla="*/ 317 w 1751386"/>
              <a:gd name="connsiteY5" fmla="*/ 861441 h 2993303"/>
              <a:gd name="connsiteX0" fmla="*/ 317 w 1754160"/>
              <a:gd name="connsiteY0" fmla="*/ 861441 h 2993303"/>
              <a:gd name="connsiteX1" fmla="*/ 1322175 w 1754160"/>
              <a:gd name="connsiteY1" fmla="*/ 113227 h 2993303"/>
              <a:gd name="connsiteX2" fmla="*/ 1584360 w 1754160"/>
              <a:gd name="connsiteY2" fmla="*/ 1416408 h 2993303"/>
              <a:gd name="connsiteX3" fmla="*/ 96714 w 1754160"/>
              <a:gd name="connsiteY3" fmla="*/ 2964061 h 2993303"/>
              <a:gd name="connsiteX4" fmla="*/ 1728 w 1754160"/>
              <a:gd name="connsiteY4" fmla="*/ 2942118 h 2993303"/>
              <a:gd name="connsiteX5" fmla="*/ 317 w 1754160"/>
              <a:gd name="connsiteY5" fmla="*/ 861441 h 2993303"/>
              <a:gd name="connsiteX0" fmla="*/ 97212 w 1840728"/>
              <a:gd name="connsiteY0" fmla="*/ 851039 h 2982901"/>
              <a:gd name="connsiteX1" fmla="*/ 1414336 w 1840728"/>
              <a:gd name="connsiteY1" fmla="*/ 105192 h 2982901"/>
              <a:gd name="connsiteX2" fmla="*/ 1681255 w 1840728"/>
              <a:gd name="connsiteY2" fmla="*/ 1406006 h 2982901"/>
              <a:gd name="connsiteX3" fmla="*/ 193609 w 1840728"/>
              <a:gd name="connsiteY3" fmla="*/ 2953659 h 2982901"/>
              <a:gd name="connsiteX4" fmla="*/ 98623 w 1840728"/>
              <a:gd name="connsiteY4" fmla="*/ 2931716 h 2982901"/>
              <a:gd name="connsiteX5" fmla="*/ 97212 w 1840728"/>
              <a:gd name="connsiteY5" fmla="*/ 851039 h 2982901"/>
              <a:gd name="connsiteX0" fmla="*/ 97212 w 1850529"/>
              <a:gd name="connsiteY0" fmla="*/ 851039 h 2982901"/>
              <a:gd name="connsiteX1" fmla="*/ 1414336 w 1850529"/>
              <a:gd name="connsiteY1" fmla="*/ 105192 h 2982901"/>
              <a:gd name="connsiteX2" fmla="*/ 1681255 w 1850529"/>
              <a:gd name="connsiteY2" fmla="*/ 1406006 h 2982901"/>
              <a:gd name="connsiteX3" fmla="*/ 193609 w 1850529"/>
              <a:gd name="connsiteY3" fmla="*/ 2953659 h 2982901"/>
              <a:gd name="connsiteX4" fmla="*/ 98623 w 1850529"/>
              <a:gd name="connsiteY4" fmla="*/ 2931716 h 2982901"/>
              <a:gd name="connsiteX5" fmla="*/ 97212 w 1850529"/>
              <a:gd name="connsiteY5" fmla="*/ 851039 h 2982901"/>
              <a:gd name="connsiteX0" fmla="*/ 13 w 1753330"/>
              <a:gd name="connsiteY0" fmla="*/ 858319 h 2990181"/>
              <a:gd name="connsiteX1" fmla="*/ 1317137 w 1753330"/>
              <a:gd name="connsiteY1" fmla="*/ 112472 h 2990181"/>
              <a:gd name="connsiteX2" fmla="*/ 1584056 w 1753330"/>
              <a:gd name="connsiteY2" fmla="*/ 1413286 h 2990181"/>
              <a:gd name="connsiteX3" fmla="*/ 96410 w 1753330"/>
              <a:gd name="connsiteY3" fmla="*/ 2960939 h 2990181"/>
              <a:gd name="connsiteX4" fmla="*/ 1424 w 1753330"/>
              <a:gd name="connsiteY4" fmla="*/ 2938996 h 2990181"/>
              <a:gd name="connsiteX5" fmla="*/ 13 w 1753330"/>
              <a:gd name="connsiteY5" fmla="*/ 858319 h 2990181"/>
              <a:gd name="connsiteX0" fmla="*/ 13 w 1760528"/>
              <a:gd name="connsiteY0" fmla="*/ 858319 h 2990181"/>
              <a:gd name="connsiteX1" fmla="*/ 1317137 w 1760528"/>
              <a:gd name="connsiteY1" fmla="*/ 112472 h 2990181"/>
              <a:gd name="connsiteX2" fmla="*/ 1584056 w 1760528"/>
              <a:gd name="connsiteY2" fmla="*/ 1413286 h 2990181"/>
              <a:gd name="connsiteX3" fmla="*/ 96410 w 1760528"/>
              <a:gd name="connsiteY3" fmla="*/ 2960939 h 2990181"/>
              <a:gd name="connsiteX4" fmla="*/ 1424 w 1760528"/>
              <a:gd name="connsiteY4" fmla="*/ 2938996 h 2990181"/>
              <a:gd name="connsiteX5" fmla="*/ 13 w 1760528"/>
              <a:gd name="connsiteY5" fmla="*/ 858319 h 2990181"/>
              <a:gd name="connsiteX0" fmla="*/ 13 w 1751658"/>
              <a:gd name="connsiteY0" fmla="*/ 858319 h 2990181"/>
              <a:gd name="connsiteX1" fmla="*/ 1317137 w 1751658"/>
              <a:gd name="connsiteY1" fmla="*/ 112472 h 2990181"/>
              <a:gd name="connsiteX2" fmla="*/ 1584056 w 1751658"/>
              <a:gd name="connsiteY2" fmla="*/ 1413286 h 2990181"/>
              <a:gd name="connsiteX3" fmla="*/ 96410 w 1751658"/>
              <a:gd name="connsiteY3" fmla="*/ 2960939 h 2990181"/>
              <a:gd name="connsiteX4" fmla="*/ 1424 w 1751658"/>
              <a:gd name="connsiteY4" fmla="*/ 2938996 h 2990181"/>
              <a:gd name="connsiteX5" fmla="*/ 13 w 1751658"/>
              <a:gd name="connsiteY5" fmla="*/ 858319 h 2990181"/>
              <a:gd name="connsiteX0" fmla="*/ 13 w 1759584"/>
              <a:gd name="connsiteY0" fmla="*/ 858319 h 2990181"/>
              <a:gd name="connsiteX1" fmla="*/ 1317137 w 1759584"/>
              <a:gd name="connsiteY1" fmla="*/ 112472 h 2990181"/>
              <a:gd name="connsiteX2" fmla="*/ 1584056 w 1759584"/>
              <a:gd name="connsiteY2" fmla="*/ 1413286 h 2990181"/>
              <a:gd name="connsiteX3" fmla="*/ 96410 w 1759584"/>
              <a:gd name="connsiteY3" fmla="*/ 2960939 h 2990181"/>
              <a:gd name="connsiteX4" fmla="*/ 1424 w 1759584"/>
              <a:gd name="connsiteY4" fmla="*/ 2938996 h 2990181"/>
              <a:gd name="connsiteX5" fmla="*/ 13 w 1759584"/>
              <a:gd name="connsiteY5" fmla="*/ 858319 h 2990181"/>
              <a:gd name="connsiteX0" fmla="*/ 13 w 1714478"/>
              <a:gd name="connsiteY0" fmla="*/ 858319 h 2990181"/>
              <a:gd name="connsiteX1" fmla="*/ 1317137 w 1714478"/>
              <a:gd name="connsiteY1" fmla="*/ 112472 h 2990181"/>
              <a:gd name="connsiteX2" fmla="*/ 1503572 w 1714478"/>
              <a:gd name="connsiteY2" fmla="*/ 1515045 h 2990181"/>
              <a:gd name="connsiteX3" fmla="*/ 96410 w 1714478"/>
              <a:gd name="connsiteY3" fmla="*/ 2960939 h 2990181"/>
              <a:gd name="connsiteX4" fmla="*/ 1424 w 1714478"/>
              <a:gd name="connsiteY4" fmla="*/ 2938996 h 2990181"/>
              <a:gd name="connsiteX5" fmla="*/ 13 w 1714478"/>
              <a:gd name="connsiteY5" fmla="*/ 858319 h 2990181"/>
              <a:gd name="connsiteX0" fmla="*/ 13 w 1755639"/>
              <a:gd name="connsiteY0" fmla="*/ 858319 h 2990181"/>
              <a:gd name="connsiteX1" fmla="*/ 1317137 w 1755639"/>
              <a:gd name="connsiteY1" fmla="*/ 112472 h 2990181"/>
              <a:gd name="connsiteX2" fmla="*/ 1503572 w 1755639"/>
              <a:gd name="connsiteY2" fmla="*/ 1515045 h 2990181"/>
              <a:gd name="connsiteX3" fmla="*/ 96410 w 1755639"/>
              <a:gd name="connsiteY3" fmla="*/ 2960939 h 2990181"/>
              <a:gd name="connsiteX4" fmla="*/ 1424 w 1755639"/>
              <a:gd name="connsiteY4" fmla="*/ 2938996 h 2990181"/>
              <a:gd name="connsiteX5" fmla="*/ 13 w 1755639"/>
              <a:gd name="connsiteY5" fmla="*/ 858319 h 2990181"/>
              <a:gd name="connsiteX0" fmla="*/ 13 w 1748972"/>
              <a:gd name="connsiteY0" fmla="*/ 858319 h 2990181"/>
              <a:gd name="connsiteX1" fmla="*/ 1317137 w 1748972"/>
              <a:gd name="connsiteY1" fmla="*/ 112472 h 2990181"/>
              <a:gd name="connsiteX2" fmla="*/ 1503572 w 1748972"/>
              <a:gd name="connsiteY2" fmla="*/ 1515045 h 2990181"/>
              <a:gd name="connsiteX3" fmla="*/ 96410 w 1748972"/>
              <a:gd name="connsiteY3" fmla="*/ 2960939 h 2990181"/>
              <a:gd name="connsiteX4" fmla="*/ 1424 w 1748972"/>
              <a:gd name="connsiteY4" fmla="*/ 2938996 h 2990181"/>
              <a:gd name="connsiteX5" fmla="*/ 13 w 1748972"/>
              <a:gd name="connsiteY5" fmla="*/ 858319 h 2990181"/>
              <a:gd name="connsiteX0" fmla="*/ 13 w 1754684"/>
              <a:gd name="connsiteY0" fmla="*/ 858319 h 2990181"/>
              <a:gd name="connsiteX1" fmla="*/ 1317137 w 1754684"/>
              <a:gd name="connsiteY1" fmla="*/ 112472 h 2990181"/>
              <a:gd name="connsiteX2" fmla="*/ 1503572 w 1754684"/>
              <a:gd name="connsiteY2" fmla="*/ 1515045 h 2990181"/>
              <a:gd name="connsiteX3" fmla="*/ 96410 w 1754684"/>
              <a:gd name="connsiteY3" fmla="*/ 2960939 h 2990181"/>
              <a:gd name="connsiteX4" fmla="*/ 1424 w 1754684"/>
              <a:gd name="connsiteY4" fmla="*/ 2938996 h 2990181"/>
              <a:gd name="connsiteX5" fmla="*/ 13 w 1754684"/>
              <a:gd name="connsiteY5" fmla="*/ 858319 h 2990181"/>
              <a:gd name="connsiteX0" fmla="*/ 13 w 1753730"/>
              <a:gd name="connsiteY0" fmla="*/ 858319 h 2990181"/>
              <a:gd name="connsiteX1" fmla="*/ 1317137 w 1753730"/>
              <a:gd name="connsiteY1" fmla="*/ 112472 h 2990181"/>
              <a:gd name="connsiteX2" fmla="*/ 1503572 w 1753730"/>
              <a:gd name="connsiteY2" fmla="*/ 1515045 h 2990181"/>
              <a:gd name="connsiteX3" fmla="*/ 96410 w 1753730"/>
              <a:gd name="connsiteY3" fmla="*/ 2960939 h 2990181"/>
              <a:gd name="connsiteX4" fmla="*/ 1424 w 1753730"/>
              <a:gd name="connsiteY4" fmla="*/ 2938996 h 2990181"/>
              <a:gd name="connsiteX5" fmla="*/ 13 w 1753730"/>
              <a:gd name="connsiteY5" fmla="*/ 858319 h 2990181"/>
              <a:gd name="connsiteX0" fmla="*/ 13 w 1700318"/>
              <a:gd name="connsiteY0" fmla="*/ 858319 h 2991855"/>
              <a:gd name="connsiteX1" fmla="*/ 1317137 w 1700318"/>
              <a:gd name="connsiteY1" fmla="*/ 112472 h 2991855"/>
              <a:gd name="connsiteX2" fmla="*/ 1503572 w 1700318"/>
              <a:gd name="connsiteY2" fmla="*/ 1515045 h 2991855"/>
              <a:gd name="connsiteX3" fmla="*/ 86941 w 1700318"/>
              <a:gd name="connsiteY3" fmla="*/ 2965672 h 2991855"/>
              <a:gd name="connsiteX4" fmla="*/ 1424 w 1700318"/>
              <a:gd name="connsiteY4" fmla="*/ 2938996 h 2991855"/>
              <a:gd name="connsiteX5" fmla="*/ 13 w 1700318"/>
              <a:gd name="connsiteY5" fmla="*/ 858319 h 2991855"/>
              <a:gd name="connsiteX0" fmla="*/ 13 w 1763120"/>
              <a:gd name="connsiteY0" fmla="*/ 858319 h 2991855"/>
              <a:gd name="connsiteX1" fmla="*/ 1317137 w 1763120"/>
              <a:gd name="connsiteY1" fmla="*/ 112472 h 2991855"/>
              <a:gd name="connsiteX2" fmla="*/ 1503572 w 1763120"/>
              <a:gd name="connsiteY2" fmla="*/ 1515045 h 2991855"/>
              <a:gd name="connsiteX3" fmla="*/ 86941 w 1763120"/>
              <a:gd name="connsiteY3" fmla="*/ 2965672 h 2991855"/>
              <a:gd name="connsiteX4" fmla="*/ 1424 w 1763120"/>
              <a:gd name="connsiteY4" fmla="*/ 2938996 h 2991855"/>
              <a:gd name="connsiteX5" fmla="*/ 13 w 1763120"/>
              <a:gd name="connsiteY5" fmla="*/ 858319 h 2991855"/>
              <a:gd name="connsiteX0" fmla="*/ 13 w 1745944"/>
              <a:gd name="connsiteY0" fmla="*/ 858319 h 2991855"/>
              <a:gd name="connsiteX1" fmla="*/ 1317137 w 1745944"/>
              <a:gd name="connsiteY1" fmla="*/ 112472 h 2991855"/>
              <a:gd name="connsiteX2" fmla="*/ 1503572 w 1745944"/>
              <a:gd name="connsiteY2" fmla="*/ 1515045 h 2991855"/>
              <a:gd name="connsiteX3" fmla="*/ 86941 w 1745944"/>
              <a:gd name="connsiteY3" fmla="*/ 2965672 h 2991855"/>
              <a:gd name="connsiteX4" fmla="*/ 1424 w 1745944"/>
              <a:gd name="connsiteY4" fmla="*/ 2938996 h 2991855"/>
              <a:gd name="connsiteX5" fmla="*/ 13 w 1745944"/>
              <a:gd name="connsiteY5" fmla="*/ 858319 h 2991855"/>
              <a:gd name="connsiteX0" fmla="*/ 13 w 1752593"/>
              <a:gd name="connsiteY0" fmla="*/ 858319 h 2991855"/>
              <a:gd name="connsiteX1" fmla="*/ 1317137 w 1752593"/>
              <a:gd name="connsiteY1" fmla="*/ 112472 h 2991855"/>
              <a:gd name="connsiteX2" fmla="*/ 1503572 w 1752593"/>
              <a:gd name="connsiteY2" fmla="*/ 1515045 h 2991855"/>
              <a:gd name="connsiteX3" fmla="*/ 86941 w 1752593"/>
              <a:gd name="connsiteY3" fmla="*/ 2965672 h 2991855"/>
              <a:gd name="connsiteX4" fmla="*/ 1424 w 1752593"/>
              <a:gd name="connsiteY4" fmla="*/ 2938996 h 2991855"/>
              <a:gd name="connsiteX5" fmla="*/ 13 w 1752593"/>
              <a:gd name="connsiteY5" fmla="*/ 858319 h 2991855"/>
              <a:gd name="connsiteX0" fmla="*/ 13 w 1752593"/>
              <a:gd name="connsiteY0" fmla="*/ 858319 h 2984818"/>
              <a:gd name="connsiteX1" fmla="*/ 1317137 w 1752593"/>
              <a:gd name="connsiteY1" fmla="*/ 112472 h 2984818"/>
              <a:gd name="connsiteX2" fmla="*/ 1503572 w 1752593"/>
              <a:gd name="connsiteY2" fmla="*/ 1515045 h 2984818"/>
              <a:gd name="connsiteX3" fmla="*/ 86941 w 1752593"/>
              <a:gd name="connsiteY3" fmla="*/ 2965672 h 2984818"/>
              <a:gd name="connsiteX4" fmla="*/ 1424 w 1752593"/>
              <a:gd name="connsiteY4" fmla="*/ 2938996 h 2984818"/>
              <a:gd name="connsiteX5" fmla="*/ 13 w 1752593"/>
              <a:gd name="connsiteY5" fmla="*/ 858319 h 2984818"/>
              <a:gd name="connsiteX0" fmla="*/ 13 w 1701062"/>
              <a:gd name="connsiteY0" fmla="*/ 858319 h 2994906"/>
              <a:gd name="connsiteX1" fmla="*/ 1317137 w 1701062"/>
              <a:gd name="connsiteY1" fmla="*/ 112472 h 2994906"/>
              <a:gd name="connsiteX2" fmla="*/ 1503572 w 1701062"/>
              <a:gd name="connsiteY2" fmla="*/ 1515045 h 2994906"/>
              <a:gd name="connsiteX3" fmla="*/ 75105 w 1701062"/>
              <a:gd name="connsiteY3" fmla="*/ 2986970 h 2994906"/>
              <a:gd name="connsiteX4" fmla="*/ 1424 w 1701062"/>
              <a:gd name="connsiteY4" fmla="*/ 2938996 h 2994906"/>
              <a:gd name="connsiteX5" fmla="*/ 13 w 1701062"/>
              <a:gd name="connsiteY5" fmla="*/ 858319 h 2994906"/>
              <a:gd name="connsiteX0" fmla="*/ 13 w 1700318"/>
              <a:gd name="connsiteY0" fmla="*/ 858319 h 2984818"/>
              <a:gd name="connsiteX1" fmla="*/ 1317137 w 1700318"/>
              <a:gd name="connsiteY1" fmla="*/ 112472 h 2984818"/>
              <a:gd name="connsiteX2" fmla="*/ 1503572 w 1700318"/>
              <a:gd name="connsiteY2" fmla="*/ 1515045 h 2984818"/>
              <a:gd name="connsiteX3" fmla="*/ 86941 w 1700318"/>
              <a:gd name="connsiteY3" fmla="*/ 2965672 h 2984818"/>
              <a:gd name="connsiteX4" fmla="*/ 1424 w 1700318"/>
              <a:gd name="connsiteY4" fmla="*/ 2938996 h 2984818"/>
              <a:gd name="connsiteX5" fmla="*/ 13 w 1700318"/>
              <a:gd name="connsiteY5" fmla="*/ 858319 h 2984818"/>
              <a:gd name="connsiteX0" fmla="*/ 13 w 1700318"/>
              <a:gd name="connsiteY0" fmla="*/ 858319 h 2984818"/>
              <a:gd name="connsiteX1" fmla="*/ 1317137 w 1700318"/>
              <a:gd name="connsiteY1" fmla="*/ 112472 h 2984818"/>
              <a:gd name="connsiteX2" fmla="*/ 1503572 w 1700318"/>
              <a:gd name="connsiteY2" fmla="*/ 1515045 h 2984818"/>
              <a:gd name="connsiteX3" fmla="*/ 86941 w 1700318"/>
              <a:gd name="connsiteY3" fmla="*/ 2965672 h 2984818"/>
              <a:gd name="connsiteX4" fmla="*/ 1424 w 1700318"/>
              <a:gd name="connsiteY4" fmla="*/ 2938996 h 2984818"/>
              <a:gd name="connsiteX5" fmla="*/ 13 w 1700318"/>
              <a:gd name="connsiteY5" fmla="*/ 858319 h 2984818"/>
              <a:gd name="connsiteX0" fmla="*/ 13 w 1699425"/>
              <a:gd name="connsiteY0" fmla="*/ 858319 h 3009727"/>
              <a:gd name="connsiteX1" fmla="*/ 1317137 w 1699425"/>
              <a:gd name="connsiteY1" fmla="*/ 112472 h 3009727"/>
              <a:gd name="connsiteX2" fmla="*/ 1503572 w 1699425"/>
              <a:gd name="connsiteY2" fmla="*/ 1515045 h 3009727"/>
              <a:gd name="connsiteX3" fmla="*/ 101144 w 1699425"/>
              <a:gd name="connsiteY3" fmla="*/ 3008269 h 3009727"/>
              <a:gd name="connsiteX4" fmla="*/ 1424 w 1699425"/>
              <a:gd name="connsiteY4" fmla="*/ 2938996 h 3009727"/>
              <a:gd name="connsiteX5" fmla="*/ 13 w 1699425"/>
              <a:gd name="connsiteY5" fmla="*/ 858319 h 3009727"/>
              <a:gd name="connsiteX0" fmla="*/ 13 w 1699425"/>
              <a:gd name="connsiteY0" fmla="*/ 858319 h 3045227"/>
              <a:gd name="connsiteX1" fmla="*/ 1317137 w 1699425"/>
              <a:gd name="connsiteY1" fmla="*/ 112472 h 3045227"/>
              <a:gd name="connsiteX2" fmla="*/ 1503572 w 1699425"/>
              <a:gd name="connsiteY2" fmla="*/ 1515045 h 3045227"/>
              <a:gd name="connsiteX3" fmla="*/ 101144 w 1699425"/>
              <a:gd name="connsiteY3" fmla="*/ 3008269 h 3045227"/>
              <a:gd name="connsiteX4" fmla="*/ 1424 w 1699425"/>
              <a:gd name="connsiteY4" fmla="*/ 2938996 h 3045227"/>
              <a:gd name="connsiteX5" fmla="*/ 13 w 1699425"/>
              <a:gd name="connsiteY5" fmla="*/ 858319 h 3045227"/>
              <a:gd name="connsiteX0" fmla="*/ 13 w 1698831"/>
              <a:gd name="connsiteY0" fmla="*/ 858319 h 3004841"/>
              <a:gd name="connsiteX1" fmla="*/ 1317137 w 1698831"/>
              <a:gd name="connsiteY1" fmla="*/ 112472 h 3004841"/>
              <a:gd name="connsiteX2" fmla="*/ 1503572 w 1698831"/>
              <a:gd name="connsiteY2" fmla="*/ 1515045 h 3004841"/>
              <a:gd name="connsiteX3" fmla="*/ 110613 w 1698831"/>
              <a:gd name="connsiteY3" fmla="*/ 2946741 h 3004841"/>
              <a:gd name="connsiteX4" fmla="*/ 1424 w 1698831"/>
              <a:gd name="connsiteY4" fmla="*/ 2938996 h 3004841"/>
              <a:gd name="connsiteX5" fmla="*/ 13 w 1698831"/>
              <a:gd name="connsiteY5" fmla="*/ 858319 h 3004841"/>
              <a:gd name="connsiteX0" fmla="*/ 13 w 1698831"/>
              <a:gd name="connsiteY0" fmla="*/ 858319 h 3007635"/>
              <a:gd name="connsiteX1" fmla="*/ 1317137 w 1698831"/>
              <a:gd name="connsiteY1" fmla="*/ 112472 h 3007635"/>
              <a:gd name="connsiteX2" fmla="*/ 1503572 w 1698831"/>
              <a:gd name="connsiteY2" fmla="*/ 1515045 h 3007635"/>
              <a:gd name="connsiteX3" fmla="*/ 110613 w 1698831"/>
              <a:gd name="connsiteY3" fmla="*/ 2946741 h 3007635"/>
              <a:gd name="connsiteX4" fmla="*/ 1424 w 1698831"/>
              <a:gd name="connsiteY4" fmla="*/ 2938996 h 3007635"/>
              <a:gd name="connsiteX5" fmla="*/ 13 w 1698831"/>
              <a:gd name="connsiteY5" fmla="*/ 858319 h 3007635"/>
              <a:gd name="connsiteX0" fmla="*/ 13 w 1698979"/>
              <a:gd name="connsiteY0" fmla="*/ 858319 h 3005098"/>
              <a:gd name="connsiteX1" fmla="*/ 1317137 w 1698979"/>
              <a:gd name="connsiteY1" fmla="*/ 112472 h 3005098"/>
              <a:gd name="connsiteX2" fmla="*/ 1503572 w 1698979"/>
              <a:gd name="connsiteY2" fmla="*/ 1515045 h 3005098"/>
              <a:gd name="connsiteX3" fmla="*/ 108246 w 1698979"/>
              <a:gd name="connsiteY3" fmla="*/ 2942008 h 3005098"/>
              <a:gd name="connsiteX4" fmla="*/ 1424 w 1698979"/>
              <a:gd name="connsiteY4" fmla="*/ 2938996 h 3005098"/>
              <a:gd name="connsiteX5" fmla="*/ 13 w 1698979"/>
              <a:gd name="connsiteY5" fmla="*/ 858319 h 3005098"/>
              <a:gd name="connsiteX0" fmla="*/ 13 w 1701077"/>
              <a:gd name="connsiteY0" fmla="*/ 858319 h 3022766"/>
              <a:gd name="connsiteX1" fmla="*/ 1317137 w 1701077"/>
              <a:gd name="connsiteY1" fmla="*/ 112472 h 3022766"/>
              <a:gd name="connsiteX2" fmla="*/ 1503572 w 1701077"/>
              <a:gd name="connsiteY2" fmla="*/ 1515045 h 3022766"/>
              <a:gd name="connsiteX3" fmla="*/ 74876 w 1701077"/>
              <a:gd name="connsiteY3" fmla="*/ 2972033 h 3022766"/>
              <a:gd name="connsiteX4" fmla="*/ 1424 w 1701077"/>
              <a:gd name="connsiteY4" fmla="*/ 2938996 h 3022766"/>
              <a:gd name="connsiteX5" fmla="*/ 13 w 1701077"/>
              <a:gd name="connsiteY5" fmla="*/ 858319 h 3022766"/>
              <a:gd name="connsiteX0" fmla="*/ 13 w 1701077"/>
              <a:gd name="connsiteY0" fmla="*/ 858319 h 2995037"/>
              <a:gd name="connsiteX1" fmla="*/ 1317137 w 1701077"/>
              <a:gd name="connsiteY1" fmla="*/ 112472 h 2995037"/>
              <a:gd name="connsiteX2" fmla="*/ 1503572 w 1701077"/>
              <a:gd name="connsiteY2" fmla="*/ 1515045 h 2995037"/>
              <a:gd name="connsiteX3" fmla="*/ 74876 w 1701077"/>
              <a:gd name="connsiteY3" fmla="*/ 2972033 h 2995037"/>
              <a:gd name="connsiteX4" fmla="*/ 1424 w 1701077"/>
              <a:gd name="connsiteY4" fmla="*/ 2938996 h 2995037"/>
              <a:gd name="connsiteX5" fmla="*/ 13 w 1701077"/>
              <a:gd name="connsiteY5" fmla="*/ 858319 h 2995037"/>
              <a:gd name="connsiteX0" fmla="*/ 13 w 1760182"/>
              <a:gd name="connsiteY0" fmla="*/ 858319 h 2995037"/>
              <a:gd name="connsiteX1" fmla="*/ 1317137 w 1760182"/>
              <a:gd name="connsiteY1" fmla="*/ 112472 h 2995037"/>
              <a:gd name="connsiteX2" fmla="*/ 1503572 w 1760182"/>
              <a:gd name="connsiteY2" fmla="*/ 1515045 h 2995037"/>
              <a:gd name="connsiteX3" fmla="*/ 74876 w 1760182"/>
              <a:gd name="connsiteY3" fmla="*/ 2972033 h 2995037"/>
              <a:gd name="connsiteX4" fmla="*/ 1424 w 1760182"/>
              <a:gd name="connsiteY4" fmla="*/ 2938996 h 2995037"/>
              <a:gd name="connsiteX5" fmla="*/ 13 w 1760182"/>
              <a:gd name="connsiteY5" fmla="*/ 858319 h 2995037"/>
              <a:gd name="connsiteX0" fmla="*/ 13 w 1760182"/>
              <a:gd name="connsiteY0" fmla="*/ 858319 h 3003213"/>
              <a:gd name="connsiteX1" fmla="*/ 1317137 w 1760182"/>
              <a:gd name="connsiteY1" fmla="*/ 112472 h 3003213"/>
              <a:gd name="connsiteX2" fmla="*/ 1503572 w 1760182"/>
              <a:gd name="connsiteY2" fmla="*/ 1515045 h 3003213"/>
              <a:gd name="connsiteX3" fmla="*/ 74876 w 1760182"/>
              <a:gd name="connsiteY3" fmla="*/ 2972033 h 3003213"/>
              <a:gd name="connsiteX4" fmla="*/ 1424 w 1760182"/>
              <a:gd name="connsiteY4" fmla="*/ 2938996 h 3003213"/>
              <a:gd name="connsiteX5" fmla="*/ 13 w 1760182"/>
              <a:gd name="connsiteY5" fmla="*/ 858319 h 3003213"/>
              <a:gd name="connsiteX0" fmla="*/ 13 w 1699398"/>
              <a:gd name="connsiteY0" fmla="*/ 858319 h 2990793"/>
              <a:gd name="connsiteX1" fmla="*/ 1317137 w 1699398"/>
              <a:gd name="connsiteY1" fmla="*/ 112472 h 2990793"/>
              <a:gd name="connsiteX2" fmla="*/ 1503572 w 1699398"/>
              <a:gd name="connsiteY2" fmla="*/ 1515045 h 2990793"/>
              <a:gd name="connsiteX3" fmla="*/ 101572 w 1699398"/>
              <a:gd name="connsiteY3" fmla="*/ 2947397 h 2990793"/>
              <a:gd name="connsiteX4" fmla="*/ 1424 w 1699398"/>
              <a:gd name="connsiteY4" fmla="*/ 2938996 h 2990793"/>
              <a:gd name="connsiteX5" fmla="*/ 13 w 1699398"/>
              <a:gd name="connsiteY5" fmla="*/ 858319 h 2990793"/>
              <a:gd name="connsiteX0" fmla="*/ 13 w 1699398"/>
              <a:gd name="connsiteY0" fmla="*/ 858319 h 2992199"/>
              <a:gd name="connsiteX1" fmla="*/ 1317137 w 1699398"/>
              <a:gd name="connsiteY1" fmla="*/ 112472 h 2992199"/>
              <a:gd name="connsiteX2" fmla="*/ 1503572 w 1699398"/>
              <a:gd name="connsiteY2" fmla="*/ 1515045 h 2992199"/>
              <a:gd name="connsiteX3" fmla="*/ 101572 w 1699398"/>
              <a:gd name="connsiteY3" fmla="*/ 2947397 h 2992199"/>
              <a:gd name="connsiteX4" fmla="*/ 1424 w 1699398"/>
              <a:gd name="connsiteY4" fmla="*/ 2938996 h 2992199"/>
              <a:gd name="connsiteX5" fmla="*/ 13 w 1699398"/>
              <a:gd name="connsiteY5" fmla="*/ 858319 h 2992199"/>
              <a:gd name="connsiteX0" fmla="*/ 13 w 1701077"/>
              <a:gd name="connsiteY0" fmla="*/ 858319 h 3006121"/>
              <a:gd name="connsiteX1" fmla="*/ 1317137 w 1701077"/>
              <a:gd name="connsiteY1" fmla="*/ 112472 h 3006121"/>
              <a:gd name="connsiteX2" fmla="*/ 1503572 w 1701077"/>
              <a:gd name="connsiteY2" fmla="*/ 1515045 h 3006121"/>
              <a:gd name="connsiteX3" fmla="*/ 74876 w 1701077"/>
              <a:gd name="connsiteY3" fmla="*/ 2974086 h 3006121"/>
              <a:gd name="connsiteX4" fmla="*/ 1424 w 1701077"/>
              <a:gd name="connsiteY4" fmla="*/ 2938996 h 3006121"/>
              <a:gd name="connsiteX5" fmla="*/ 13 w 1701077"/>
              <a:gd name="connsiteY5" fmla="*/ 858319 h 3006121"/>
              <a:gd name="connsiteX0" fmla="*/ 13 w 1701077"/>
              <a:gd name="connsiteY0" fmla="*/ 858319 h 2994525"/>
              <a:gd name="connsiteX1" fmla="*/ 1317137 w 1701077"/>
              <a:gd name="connsiteY1" fmla="*/ 112472 h 2994525"/>
              <a:gd name="connsiteX2" fmla="*/ 1503572 w 1701077"/>
              <a:gd name="connsiteY2" fmla="*/ 1515045 h 2994525"/>
              <a:gd name="connsiteX3" fmla="*/ 74876 w 1701077"/>
              <a:gd name="connsiteY3" fmla="*/ 2974086 h 2994525"/>
              <a:gd name="connsiteX4" fmla="*/ 1424 w 1701077"/>
              <a:gd name="connsiteY4" fmla="*/ 2938996 h 2994525"/>
              <a:gd name="connsiteX5" fmla="*/ 13 w 1701077"/>
              <a:gd name="connsiteY5" fmla="*/ 858319 h 2994525"/>
              <a:gd name="connsiteX0" fmla="*/ 13 w 1761447"/>
              <a:gd name="connsiteY0" fmla="*/ 858319 h 2994525"/>
              <a:gd name="connsiteX1" fmla="*/ 1317137 w 1761447"/>
              <a:gd name="connsiteY1" fmla="*/ 112472 h 2994525"/>
              <a:gd name="connsiteX2" fmla="*/ 1503572 w 1761447"/>
              <a:gd name="connsiteY2" fmla="*/ 1515045 h 2994525"/>
              <a:gd name="connsiteX3" fmla="*/ 74876 w 1761447"/>
              <a:gd name="connsiteY3" fmla="*/ 2974086 h 2994525"/>
              <a:gd name="connsiteX4" fmla="*/ 1424 w 1761447"/>
              <a:gd name="connsiteY4" fmla="*/ 2938996 h 2994525"/>
              <a:gd name="connsiteX5" fmla="*/ 13 w 1761447"/>
              <a:gd name="connsiteY5" fmla="*/ 858319 h 2994525"/>
              <a:gd name="connsiteX0" fmla="*/ 13 w 1753976"/>
              <a:gd name="connsiteY0" fmla="*/ 858319 h 2994525"/>
              <a:gd name="connsiteX1" fmla="*/ 1317137 w 1753976"/>
              <a:gd name="connsiteY1" fmla="*/ 112472 h 2994525"/>
              <a:gd name="connsiteX2" fmla="*/ 1503572 w 1753976"/>
              <a:gd name="connsiteY2" fmla="*/ 1515045 h 2994525"/>
              <a:gd name="connsiteX3" fmla="*/ 74876 w 1753976"/>
              <a:gd name="connsiteY3" fmla="*/ 2974086 h 2994525"/>
              <a:gd name="connsiteX4" fmla="*/ 1424 w 1753976"/>
              <a:gd name="connsiteY4" fmla="*/ 2938996 h 2994525"/>
              <a:gd name="connsiteX5" fmla="*/ 13 w 1753976"/>
              <a:gd name="connsiteY5" fmla="*/ 858319 h 2994525"/>
              <a:gd name="connsiteX0" fmla="*/ 13 w 1753976"/>
              <a:gd name="connsiteY0" fmla="*/ 858319 h 2994525"/>
              <a:gd name="connsiteX1" fmla="*/ 1317137 w 1753976"/>
              <a:gd name="connsiteY1" fmla="*/ 112472 h 2994525"/>
              <a:gd name="connsiteX2" fmla="*/ 1503572 w 1753976"/>
              <a:gd name="connsiteY2" fmla="*/ 1515045 h 2994525"/>
              <a:gd name="connsiteX3" fmla="*/ 74876 w 1753976"/>
              <a:gd name="connsiteY3" fmla="*/ 2974086 h 2994525"/>
              <a:gd name="connsiteX4" fmla="*/ 1424 w 1753976"/>
              <a:gd name="connsiteY4" fmla="*/ 2938996 h 2994525"/>
              <a:gd name="connsiteX5" fmla="*/ 13 w 1753976"/>
              <a:gd name="connsiteY5" fmla="*/ 858319 h 2994525"/>
              <a:gd name="connsiteX0" fmla="*/ 13 w 1753976"/>
              <a:gd name="connsiteY0" fmla="*/ 858319 h 2995168"/>
              <a:gd name="connsiteX1" fmla="*/ 1317137 w 1753976"/>
              <a:gd name="connsiteY1" fmla="*/ 112472 h 2995168"/>
              <a:gd name="connsiteX2" fmla="*/ 1503572 w 1753976"/>
              <a:gd name="connsiteY2" fmla="*/ 1515045 h 2995168"/>
              <a:gd name="connsiteX3" fmla="*/ 74876 w 1753976"/>
              <a:gd name="connsiteY3" fmla="*/ 2974086 h 2995168"/>
              <a:gd name="connsiteX4" fmla="*/ 1424 w 1753976"/>
              <a:gd name="connsiteY4" fmla="*/ 2938996 h 2995168"/>
              <a:gd name="connsiteX5" fmla="*/ 13 w 1753976"/>
              <a:gd name="connsiteY5" fmla="*/ 858319 h 2995168"/>
              <a:gd name="connsiteX0" fmla="*/ 13 w 1753976"/>
              <a:gd name="connsiteY0" fmla="*/ 858319 h 2992234"/>
              <a:gd name="connsiteX1" fmla="*/ 1317137 w 1753976"/>
              <a:gd name="connsiteY1" fmla="*/ 112472 h 2992234"/>
              <a:gd name="connsiteX2" fmla="*/ 1503572 w 1753976"/>
              <a:gd name="connsiteY2" fmla="*/ 1515045 h 2992234"/>
              <a:gd name="connsiteX3" fmla="*/ 74876 w 1753976"/>
              <a:gd name="connsiteY3" fmla="*/ 2974086 h 2992234"/>
              <a:gd name="connsiteX4" fmla="*/ 1424 w 1753976"/>
              <a:gd name="connsiteY4" fmla="*/ 2938996 h 2992234"/>
              <a:gd name="connsiteX5" fmla="*/ 13 w 1753976"/>
              <a:gd name="connsiteY5" fmla="*/ 858319 h 29922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53976" h="2992234">
                <a:moveTo>
                  <a:pt x="13" y="858319"/>
                </a:moveTo>
                <a:cubicBezTo>
                  <a:pt x="-3215" y="318604"/>
                  <a:pt x="626118" y="-245536"/>
                  <a:pt x="1317137" y="112472"/>
                </a:cubicBezTo>
                <a:cubicBezTo>
                  <a:pt x="1885310" y="453554"/>
                  <a:pt x="1845745" y="1161058"/>
                  <a:pt x="1503572" y="1515045"/>
                </a:cubicBezTo>
                <a:cubicBezTo>
                  <a:pt x="1211764" y="1816929"/>
                  <a:pt x="93646" y="2954272"/>
                  <a:pt x="74876" y="2974086"/>
                </a:cubicBezTo>
                <a:cubicBezTo>
                  <a:pt x="56106" y="2993900"/>
                  <a:pt x="3595" y="3013732"/>
                  <a:pt x="1424" y="2938996"/>
                </a:cubicBezTo>
                <a:cubicBezTo>
                  <a:pt x="895" y="2572359"/>
                  <a:pt x="3241" y="1398034"/>
                  <a:pt x="13" y="85831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s-ES_tradnl" dirty="0"/>
          </a:p>
        </p:txBody>
      </p:sp>
      <p:sp>
        <p:nvSpPr>
          <p:cNvPr id="9" name="Marcador de posición de imagen 4">
            <a:extLst>
              <a:ext uri="{FF2B5EF4-FFF2-40B4-BE49-F238E27FC236}">
                <a16:creationId xmlns:a16="http://schemas.microsoft.com/office/drawing/2014/main" id="{21E61D73-2177-1143-A1C0-2630E0013765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251936" y="1327310"/>
            <a:ext cx="2648283" cy="4518780"/>
          </a:xfrm>
          <a:custGeom>
            <a:avLst/>
            <a:gdLst>
              <a:gd name="connsiteX0" fmla="*/ 2432050 w 4864100"/>
              <a:gd name="connsiteY0" fmla="*/ 1423800 h 5695200"/>
              <a:gd name="connsiteX1" fmla="*/ 2432050 w 4864100"/>
              <a:gd name="connsiteY1" fmla="*/ 5695200 h 5695200"/>
              <a:gd name="connsiteX2" fmla="*/ 2432050 w 4864100"/>
              <a:gd name="connsiteY2" fmla="*/ 1423800 h 5695200"/>
              <a:gd name="connsiteX0" fmla="*/ 2217600 w 4435199"/>
              <a:gd name="connsiteY0" fmla="*/ 632423 h 4903823"/>
              <a:gd name="connsiteX1" fmla="*/ 2217600 w 4435199"/>
              <a:gd name="connsiteY1" fmla="*/ 4903823 h 4903823"/>
              <a:gd name="connsiteX2" fmla="*/ 2217600 w 4435199"/>
              <a:gd name="connsiteY2" fmla="*/ 632423 h 4903823"/>
              <a:gd name="connsiteX0" fmla="*/ 2217600 w 2259560"/>
              <a:gd name="connsiteY0" fmla="*/ 632423 h 4903823"/>
              <a:gd name="connsiteX1" fmla="*/ 2217600 w 2259560"/>
              <a:gd name="connsiteY1" fmla="*/ 4903823 h 4903823"/>
              <a:gd name="connsiteX2" fmla="*/ 2217600 w 2259560"/>
              <a:gd name="connsiteY2" fmla="*/ 632423 h 4903823"/>
              <a:gd name="connsiteX0" fmla="*/ 2217600 w 2238943"/>
              <a:gd name="connsiteY0" fmla="*/ 632423 h 4903823"/>
              <a:gd name="connsiteX1" fmla="*/ 2217600 w 2238943"/>
              <a:gd name="connsiteY1" fmla="*/ 4903823 h 4903823"/>
              <a:gd name="connsiteX2" fmla="*/ 2217600 w 2238943"/>
              <a:gd name="connsiteY2" fmla="*/ 632423 h 4903823"/>
              <a:gd name="connsiteX0" fmla="*/ 2216202 w 2237545"/>
              <a:gd name="connsiteY0" fmla="*/ 219464 h 4495351"/>
              <a:gd name="connsiteX1" fmla="*/ 2216202 w 2237545"/>
              <a:gd name="connsiteY1" fmla="*/ 4490864 h 4495351"/>
              <a:gd name="connsiteX2" fmla="*/ 0 w 2237545"/>
              <a:gd name="connsiteY2" fmla="*/ 1021473 h 4495351"/>
              <a:gd name="connsiteX3" fmla="*/ 2216202 w 2237545"/>
              <a:gd name="connsiteY3" fmla="*/ 219464 h 4495351"/>
              <a:gd name="connsiteX0" fmla="*/ 2218054 w 2239397"/>
              <a:gd name="connsiteY0" fmla="*/ 219464 h 4872422"/>
              <a:gd name="connsiteX1" fmla="*/ 2218054 w 2239397"/>
              <a:gd name="connsiteY1" fmla="*/ 4490864 h 4872422"/>
              <a:gd name="connsiteX2" fmla="*/ 1843352 w 2239397"/>
              <a:gd name="connsiteY2" fmla="*/ 4272672 h 4872422"/>
              <a:gd name="connsiteX3" fmla="*/ 1852 w 2239397"/>
              <a:gd name="connsiteY3" fmla="*/ 1021473 h 4872422"/>
              <a:gd name="connsiteX4" fmla="*/ 2218054 w 2239397"/>
              <a:gd name="connsiteY4" fmla="*/ 219464 h 4872422"/>
              <a:gd name="connsiteX0" fmla="*/ 2303891 w 2325234"/>
              <a:gd name="connsiteY0" fmla="*/ 219464 h 4872422"/>
              <a:gd name="connsiteX1" fmla="*/ 2303891 w 2325234"/>
              <a:gd name="connsiteY1" fmla="*/ 4490864 h 4872422"/>
              <a:gd name="connsiteX2" fmla="*/ 1929189 w 2325234"/>
              <a:gd name="connsiteY2" fmla="*/ 4272672 h 4872422"/>
              <a:gd name="connsiteX3" fmla="*/ 587749 w 2325234"/>
              <a:gd name="connsiteY3" fmla="*/ 2272196 h 4872422"/>
              <a:gd name="connsiteX4" fmla="*/ 87689 w 2325234"/>
              <a:gd name="connsiteY4" fmla="*/ 1021473 h 4872422"/>
              <a:gd name="connsiteX5" fmla="*/ 2303891 w 2325234"/>
              <a:gd name="connsiteY5" fmla="*/ 219464 h 4872422"/>
              <a:gd name="connsiteX0" fmla="*/ 2303891 w 2475206"/>
              <a:gd name="connsiteY0" fmla="*/ 238803 h 5082435"/>
              <a:gd name="connsiteX1" fmla="*/ 2324987 w 2475206"/>
              <a:gd name="connsiteY1" fmla="*/ 4779604 h 5082435"/>
              <a:gd name="connsiteX2" fmla="*/ 1929189 w 2475206"/>
              <a:gd name="connsiteY2" fmla="*/ 4292011 h 5082435"/>
              <a:gd name="connsiteX3" fmla="*/ 587749 w 2475206"/>
              <a:gd name="connsiteY3" fmla="*/ 2291535 h 5082435"/>
              <a:gd name="connsiteX4" fmla="*/ 87689 w 2475206"/>
              <a:gd name="connsiteY4" fmla="*/ 1040812 h 5082435"/>
              <a:gd name="connsiteX5" fmla="*/ 2303891 w 2475206"/>
              <a:gd name="connsiteY5" fmla="*/ 238803 h 5082435"/>
              <a:gd name="connsiteX0" fmla="*/ 2303891 w 2475206"/>
              <a:gd name="connsiteY0" fmla="*/ 240665 h 5104077"/>
              <a:gd name="connsiteX1" fmla="*/ 2324987 w 2475206"/>
              <a:gd name="connsiteY1" fmla="*/ 4807370 h 5104077"/>
              <a:gd name="connsiteX2" fmla="*/ 1929189 w 2475206"/>
              <a:gd name="connsiteY2" fmla="*/ 4293873 h 5104077"/>
              <a:gd name="connsiteX3" fmla="*/ 587749 w 2475206"/>
              <a:gd name="connsiteY3" fmla="*/ 2293397 h 5104077"/>
              <a:gd name="connsiteX4" fmla="*/ 87689 w 2475206"/>
              <a:gd name="connsiteY4" fmla="*/ 1042674 h 5104077"/>
              <a:gd name="connsiteX5" fmla="*/ 2303891 w 2475206"/>
              <a:gd name="connsiteY5" fmla="*/ 240665 h 5104077"/>
              <a:gd name="connsiteX0" fmla="*/ 2303891 w 2475206"/>
              <a:gd name="connsiteY0" fmla="*/ 240665 h 4905038"/>
              <a:gd name="connsiteX1" fmla="*/ 2324987 w 2475206"/>
              <a:gd name="connsiteY1" fmla="*/ 4807370 h 4905038"/>
              <a:gd name="connsiteX2" fmla="*/ 1929189 w 2475206"/>
              <a:gd name="connsiteY2" fmla="*/ 4293873 h 4905038"/>
              <a:gd name="connsiteX3" fmla="*/ 587749 w 2475206"/>
              <a:gd name="connsiteY3" fmla="*/ 2293397 h 4905038"/>
              <a:gd name="connsiteX4" fmla="*/ 87689 w 2475206"/>
              <a:gd name="connsiteY4" fmla="*/ 1042674 h 4905038"/>
              <a:gd name="connsiteX5" fmla="*/ 2303891 w 2475206"/>
              <a:gd name="connsiteY5" fmla="*/ 240665 h 4905038"/>
              <a:gd name="connsiteX0" fmla="*/ 2303891 w 2475206"/>
              <a:gd name="connsiteY0" fmla="*/ 240665 h 5162840"/>
              <a:gd name="connsiteX1" fmla="*/ 2324987 w 2475206"/>
              <a:gd name="connsiteY1" fmla="*/ 4807370 h 5162840"/>
              <a:gd name="connsiteX2" fmla="*/ 2224542 w 2475206"/>
              <a:gd name="connsiteY2" fmla="*/ 4868940 h 5162840"/>
              <a:gd name="connsiteX3" fmla="*/ 587749 w 2475206"/>
              <a:gd name="connsiteY3" fmla="*/ 2293397 h 5162840"/>
              <a:gd name="connsiteX4" fmla="*/ 87689 w 2475206"/>
              <a:gd name="connsiteY4" fmla="*/ 1042674 h 5162840"/>
              <a:gd name="connsiteX5" fmla="*/ 2303891 w 2475206"/>
              <a:gd name="connsiteY5" fmla="*/ 240665 h 5162840"/>
              <a:gd name="connsiteX0" fmla="*/ 2303891 w 2475206"/>
              <a:gd name="connsiteY0" fmla="*/ 240665 h 4894959"/>
              <a:gd name="connsiteX1" fmla="*/ 2324987 w 2475206"/>
              <a:gd name="connsiteY1" fmla="*/ 4807370 h 4894959"/>
              <a:gd name="connsiteX2" fmla="*/ 2224542 w 2475206"/>
              <a:gd name="connsiteY2" fmla="*/ 4868940 h 4894959"/>
              <a:gd name="connsiteX3" fmla="*/ 587749 w 2475206"/>
              <a:gd name="connsiteY3" fmla="*/ 2293397 h 4894959"/>
              <a:gd name="connsiteX4" fmla="*/ 87689 w 2475206"/>
              <a:gd name="connsiteY4" fmla="*/ 1042674 h 4894959"/>
              <a:gd name="connsiteX5" fmla="*/ 2303891 w 2475206"/>
              <a:gd name="connsiteY5" fmla="*/ 240665 h 4894959"/>
              <a:gd name="connsiteX0" fmla="*/ 2303891 w 2475206"/>
              <a:gd name="connsiteY0" fmla="*/ 240665 h 4893879"/>
              <a:gd name="connsiteX1" fmla="*/ 2324987 w 2475206"/>
              <a:gd name="connsiteY1" fmla="*/ 4807370 h 4893879"/>
              <a:gd name="connsiteX2" fmla="*/ 2220323 w 2475206"/>
              <a:gd name="connsiteY2" fmla="*/ 4863759 h 4893879"/>
              <a:gd name="connsiteX3" fmla="*/ 587749 w 2475206"/>
              <a:gd name="connsiteY3" fmla="*/ 2293397 h 4893879"/>
              <a:gd name="connsiteX4" fmla="*/ 87689 w 2475206"/>
              <a:gd name="connsiteY4" fmla="*/ 1042674 h 4893879"/>
              <a:gd name="connsiteX5" fmla="*/ 2303891 w 2475206"/>
              <a:gd name="connsiteY5" fmla="*/ 240665 h 4893879"/>
              <a:gd name="connsiteX0" fmla="*/ 2303891 w 2475206"/>
              <a:gd name="connsiteY0" fmla="*/ 240665 h 4925253"/>
              <a:gd name="connsiteX1" fmla="*/ 2324987 w 2475206"/>
              <a:gd name="connsiteY1" fmla="*/ 4807370 h 4925253"/>
              <a:gd name="connsiteX2" fmla="*/ 2220323 w 2475206"/>
              <a:gd name="connsiteY2" fmla="*/ 4863759 h 4925253"/>
              <a:gd name="connsiteX3" fmla="*/ 587749 w 2475206"/>
              <a:gd name="connsiteY3" fmla="*/ 2293397 h 4925253"/>
              <a:gd name="connsiteX4" fmla="*/ 87689 w 2475206"/>
              <a:gd name="connsiteY4" fmla="*/ 1042674 h 4925253"/>
              <a:gd name="connsiteX5" fmla="*/ 2303891 w 2475206"/>
              <a:gd name="connsiteY5" fmla="*/ 240665 h 4925253"/>
              <a:gd name="connsiteX0" fmla="*/ 2303891 w 2475206"/>
              <a:gd name="connsiteY0" fmla="*/ 240665 h 4894595"/>
              <a:gd name="connsiteX1" fmla="*/ 2324987 w 2475206"/>
              <a:gd name="connsiteY1" fmla="*/ 4807370 h 4894595"/>
              <a:gd name="connsiteX2" fmla="*/ 2220323 w 2475206"/>
              <a:gd name="connsiteY2" fmla="*/ 4863759 h 4894595"/>
              <a:gd name="connsiteX3" fmla="*/ 587749 w 2475206"/>
              <a:gd name="connsiteY3" fmla="*/ 2293397 h 4894595"/>
              <a:gd name="connsiteX4" fmla="*/ 87689 w 2475206"/>
              <a:gd name="connsiteY4" fmla="*/ 1042674 h 4894595"/>
              <a:gd name="connsiteX5" fmla="*/ 2303891 w 2475206"/>
              <a:gd name="connsiteY5" fmla="*/ 240665 h 4894595"/>
              <a:gd name="connsiteX0" fmla="*/ 2348673 w 2519988"/>
              <a:gd name="connsiteY0" fmla="*/ 240665 h 4894595"/>
              <a:gd name="connsiteX1" fmla="*/ 2369769 w 2519988"/>
              <a:gd name="connsiteY1" fmla="*/ 4807370 h 4894595"/>
              <a:gd name="connsiteX2" fmla="*/ 2265105 w 2519988"/>
              <a:gd name="connsiteY2" fmla="*/ 4863759 h 4894595"/>
              <a:gd name="connsiteX3" fmla="*/ 375151 w 2519988"/>
              <a:gd name="connsiteY3" fmla="*/ 2495447 h 4894595"/>
              <a:gd name="connsiteX4" fmla="*/ 132471 w 2519988"/>
              <a:gd name="connsiteY4" fmla="*/ 1042674 h 4894595"/>
              <a:gd name="connsiteX5" fmla="*/ 2348673 w 2519988"/>
              <a:gd name="connsiteY5" fmla="*/ 240665 h 4894595"/>
              <a:gd name="connsiteX0" fmla="*/ 2348673 w 2519988"/>
              <a:gd name="connsiteY0" fmla="*/ 240665 h 4894595"/>
              <a:gd name="connsiteX1" fmla="*/ 2369769 w 2519988"/>
              <a:gd name="connsiteY1" fmla="*/ 4807370 h 4894595"/>
              <a:gd name="connsiteX2" fmla="*/ 2265105 w 2519988"/>
              <a:gd name="connsiteY2" fmla="*/ 4863759 h 4894595"/>
              <a:gd name="connsiteX3" fmla="*/ 375151 w 2519988"/>
              <a:gd name="connsiteY3" fmla="*/ 2490015 h 4894595"/>
              <a:gd name="connsiteX4" fmla="*/ 132471 w 2519988"/>
              <a:gd name="connsiteY4" fmla="*/ 1042674 h 4894595"/>
              <a:gd name="connsiteX5" fmla="*/ 2348673 w 2519988"/>
              <a:gd name="connsiteY5" fmla="*/ 240665 h 4894595"/>
              <a:gd name="connsiteX0" fmla="*/ 2421455 w 2599645"/>
              <a:gd name="connsiteY0" fmla="*/ 164761 h 4818691"/>
              <a:gd name="connsiteX1" fmla="*/ 2442551 w 2599645"/>
              <a:gd name="connsiteY1" fmla="*/ 4731466 h 4818691"/>
              <a:gd name="connsiteX2" fmla="*/ 2337887 w 2599645"/>
              <a:gd name="connsiteY2" fmla="*/ 4787855 h 4818691"/>
              <a:gd name="connsiteX3" fmla="*/ 447933 w 2599645"/>
              <a:gd name="connsiteY3" fmla="*/ 2414111 h 4818691"/>
              <a:gd name="connsiteX4" fmla="*/ 112340 w 2599645"/>
              <a:gd name="connsiteY4" fmla="*/ 1330756 h 4818691"/>
              <a:gd name="connsiteX5" fmla="*/ 2421455 w 2599645"/>
              <a:gd name="connsiteY5" fmla="*/ 164761 h 4818691"/>
              <a:gd name="connsiteX0" fmla="*/ 2416076 w 2593775"/>
              <a:gd name="connsiteY0" fmla="*/ 164295 h 4818225"/>
              <a:gd name="connsiteX1" fmla="*/ 2437172 w 2593775"/>
              <a:gd name="connsiteY1" fmla="*/ 4731000 h 4818225"/>
              <a:gd name="connsiteX2" fmla="*/ 2332508 w 2593775"/>
              <a:gd name="connsiteY2" fmla="*/ 4787389 h 4818225"/>
              <a:gd name="connsiteX3" fmla="*/ 442554 w 2593775"/>
              <a:gd name="connsiteY3" fmla="*/ 2413645 h 4818225"/>
              <a:gd name="connsiteX4" fmla="*/ 113598 w 2593775"/>
              <a:gd name="connsiteY4" fmla="*/ 1333006 h 4818225"/>
              <a:gd name="connsiteX5" fmla="*/ 2416076 w 2593775"/>
              <a:gd name="connsiteY5" fmla="*/ 164295 h 4818225"/>
              <a:gd name="connsiteX0" fmla="*/ 2059909 w 2437172"/>
              <a:gd name="connsiteY0" fmla="*/ 171220 h 4762674"/>
              <a:gd name="connsiteX1" fmla="*/ 2437172 w 2437172"/>
              <a:gd name="connsiteY1" fmla="*/ 4675449 h 4762674"/>
              <a:gd name="connsiteX2" fmla="*/ 2332508 w 2437172"/>
              <a:gd name="connsiteY2" fmla="*/ 4731838 h 4762674"/>
              <a:gd name="connsiteX3" fmla="*/ 442554 w 2437172"/>
              <a:gd name="connsiteY3" fmla="*/ 2358094 h 4762674"/>
              <a:gd name="connsiteX4" fmla="*/ 113598 w 2437172"/>
              <a:gd name="connsiteY4" fmla="*/ 1277455 h 4762674"/>
              <a:gd name="connsiteX5" fmla="*/ 2059909 w 2437172"/>
              <a:gd name="connsiteY5" fmla="*/ 171220 h 4762674"/>
              <a:gd name="connsiteX0" fmla="*/ 1757412 w 2134675"/>
              <a:gd name="connsiteY0" fmla="*/ 598810 h 5190264"/>
              <a:gd name="connsiteX1" fmla="*/ 2134675 w 2134675"/>
              <a:gd name="connsiteY1" fmla="*/ 5103039 h 5190264"/>
              <a:gd name="connsiteX2" fmla="*/ 2030011 w 2134675"/>
              <a:gd name="connsiteY2" fmla="*/ 5159428 h 5190264"/>
              <a:gd name="connsiteX3" fmla="*/ 140057 w 2134675"/>
              <a:gd name="connsiteY3" fmla="*/ 2785684 h 5190264"/>
              <a:gd name="connsiteX4" fmla="*/ 371574 w 2134675"/>
              <a:gd name="connsiteY4" fmla="*/ 511011 h 5190264"/>
              <a:gd name="connsiteX5" fmla="*/ 1757412 w 2134675"/>
              <a:gd name="connsiteY5" fmla="*/ 598810 h 5190264"/>
              <a:gd name="connsiteX0" fmla="*/ 1756869 w 2134132"/>
              <a:gd name="connsiteY0" fmla="*/ 603638 h 5195092"/>
              <a:gd name="connsiteX1" fmla="*/ 2134132 w 2134132"/>
              <a:gd name="connsiteY1" fmla="*/ 5107867 h 5195092"/>
              <a:gd name="connsiteX2" fmla="*/ 2029468 w 2134132"/>
              <a:gd name="connsiteY2" fmla="*/ 5164256 h 5195092"/>
              <a:gd name="connsiteX3" fmla="*/ 139514 w 2134132"/>
              <a:gd name="connsiteY3" fmla="*/ 2790512 h 5195092"/>
              <a:gd name="connsiteX4" fmla="*/ 373243 w 2134132"/>
              <a:gd name="connsiteY4" fmla="*/ 507691 h 5195092"/>
              <a:gd name="connsiteX5" fmla="*/ 1756869 w 2134132"/>
              <a:gd name="connsiteY5" fmla="*/ 603638 h 5195092"/>
              <a:gd name="connsiteX0" fmla="*/ 1757411 w 2134674"/>
              <a:gd name="connsiteY0" fmla="*/ 597207 h 5188661"/>
              <a:gd name="connsiteX1" fmla="*/ 2134674 w 2134674"/>
              <a:gd name="connsiteY1" fmla="*/ 5101436 h 5188661"/>
              <a:gd name="connsiteX2" fmla="*/ 2030010 w 2134674"/>
              <a:gd name="connsiteY2" fmla="*/ 5157825 h 5188661"/>
              <a:gd name="connsiteX3" fmla="*/ 140056 w 2134674"/>
              <a:gd name="connsiteY3" fmla="*/ 2784081 h 5188661"/>
              <a:gd name="connsiteX4" fmla="*/ 371573 w 2134674"/>
              <a:gd name="connsiteY4" fmla="*/ 512125 h 5188661"/>
              <a:gd name="connsiteX5" fmla="*/ 1757411 w 2134674"/>
              <a:gd name="connsiteY5" fmla="*/ 597207 h 5188661"/>
              <a:gd name="connsiteX0" fmla="*/ 2069334 w 2219253"/>
              <a:gd name="connsiteY0" fmla="*/ 1066529 h 4968040"/>
              <a:gd name="connsiteX1" fmla="*/ 2134674 w 2219253"/>
              <a:gd name="connsiteY1" fmla="*/ 4880815 h 4968040"/>
              <a:gd name="connsiteX2" fmla="*/ 2030010 w 2219253"/>
              <a:gd name="connsiteY2" fmla="*/ 4937204 h 4968040"/>
              <a:gd name="connsiteX3" fmla="*/ 140056 w 2219253"/>
              <a:gd name="connsiteY3" fmla="*/ 2563460 h 4968040"/>
              <a:gd name="connsiteX4" fmla="*/ 371573 w 2219253"/>
              <a:gd name="connsiteY4" fmla="*/ 291504 h 4968040"/>
              <a:gd name="connsiteX5" fmla="*/ 2069334 w 2219253"/>
              <a:gd name="connsiteY5" fmla="*/ 1066529 h 4968040"/>
              <a:gd name="connsiteX0" fmla="*/ 2129064 w 2261074"/>
              <a:gd name="connsiteY0" fmla="*/ 1422730 h 4900496"/>
              <a:gd name="connsiteX1" fmla="*/ 2134674 w 2261074"/>
              <a:gd name="connsiteY1" fmla="*/ 4813271 h 4900496"/>
              <a:gd name="connsiteX2" fmla="*/ 2030010 w 2261074"/>
              <a:gd name="connsiteY2" fmla="*/ 4869660 h 4900496"/>
              <a:gd name="connsiteX3" fmla="*/ 140056 w 2261074"/>
              <a:gd name="connsiteY3" fmla="*/ 2495916 h 4900496"/>
              <a:gd name="connsiteX4" fmla="*/ 371573 w 2261074"/>
              <a:gd name="connsiteY4" fmla="*/ 223960 h 4900496"/>
              <a:gd name="connsiteX5" fmla="*/ 2129064 w 2261074"/>
              <a:gd name="connsiteY5" fmla="*/ 1422730 h 4900496"/>
              <a:gd name="connsiteX0" fmla="*/ 2129064 w 2134674"/>
              <a:gd name="connsiteY0" fmla="*/ 1426308 h 4904074"/>
              <a:gd name="connsiteX1" fmla="*/ 2134674 w 2134674"/>
              <a:gd name="connsiteY1" fmla="*/ 4816849 h 4904074"/>
              <a:gd name="connsiteX2" fmla="*/ 2030010 w 2134674"/>
              <a:gd name="connsiteY2" fmla="*/ 4873238 h 4904074"/>
              <a:gd name="connsiteX3" fmla="*/ 140056 w 2134674"/>
              <a:gd name="connsiteY3" fmla="*/ 2499494 h 4904074"/>
              <a:gd name="connsiteX4" fmla="*/ 371573 w 2134674"/>
              <a:gd name="connsiteY4" fmla="*/ 227538 h 4904074"/>
              <a:gd name="connsiteX5" fmla="*/ 2129064 w 2134674"/>
              <a:gd name="connsiteY5" fmla="*/ 1426308 h 4904074"/>
              <a:gd name="connsiteX0" fmla="*/ 2129064 w 2134674"/>
              <a:gd name="connsiteY0" fmla="*/ 1426308 h 4904074"/>
              <a:gd name="connsiteX1" fmla="*/ 2134674 w 2134674"/>
              <a:gd name="connsiteY1" fmla="*/ 4816849 h 4904074"/>
              <a:gd name="connsiteX2" fmla="*/ 2030010 w 2134674"/>
              <a:gd name="connsiteY2" fmla="*/ 4873238 h 4904074"/>
              <a:gd name="connsiteX3" fmla="*/ 140056 w 2134674"/>
              <a:gd name="connsiteY3" fmla="*/ 2499494 h 4904074"/>
              <a:gd name="connsiteX4" fmla="*/ 371573 w 2134674"/>
              <a:gd name="connsiteY4" fmla="*/ 227538 h 4904074"/>
              <a:gd name="connsiteX5" fmla="*/ 2129064 w 2134674"/>
              <a:gd name="connsiteY5" fmla="*/ 1426308 h 4904074"/>
              <a:gd name="connsiteX0" fmla="*/ 2129064 w 2134674"/>
              <a:gd name="connsiteY0" fmla="*/ 1394334 h 4872100"/>
              <a:gd name="connsiteX1" fmla="*/ 2134674 w 2134674"/>
              <a:gd name="connsiteY1" fmla="*/ 4784875 h 4872100"/>
              <a:gd name="connsiteX2" fmla="*/ 2030010 w 2134674"/>
              <a:gd name="connsiteY2" fmla="*/ 4841264 h 4872100"/>
              <a:gd name="connsiteX3" fmla="*/ 140056 w 2134674"/>
              <a:gd name="connsiteY3" fmla="*/ 2467520 h 4872100"/>
              <a:gd name="connsiteX4" fmla="*/ 371573 w 2134674"/>
              <a:gd name="connsiteY4" fmla="*/ 195564 h 4872100"/>
              <a:gd name="connsiteX5" fmla="*/ 2129064 w 2134674"/>
              <a:gd name="connsiteY5" fmla="*/ 1394334 h 4872100"/>
              <a:gd name="connsiteX0" fmla="*/ 2299717 w 2305327"/>
              <a:gd name="connsiteY0" fmla="*/ 1394334 h 4872100"/>
              <a:gd name="connsiteX1" fmla="*/ 2305327 w 2305327"/>
              <a:gd name="connsiteY1" fmla="*/ 4784875 h 4872100"/>
              <a:gd name="connsiteX2" fmla="*/ 2200663 w 2305327"/>
              <a:gd name="connsiteY2" fmla="*/ 4841264 h 4872100"/>
              <a:gd name="connsiteX3" fmla="*/ 310709 w 2305327"/>
              <a:gd name="connsiteY3" fmla="*/ 2467520 h 4872100"/>
              <a:gd name="connsiteX4" fmla="*/ 542226 w 2305327"/>
              <a:gd name="connsiteY4" fmla="*/ 195564 h 4872100"/>
              <a:gd name="connsiteX5" fmla="*/ 2299717 w 2305327"/>
              <a:gd name="connsiteY5" fmla="*/ 1394334 h 4872100"/>
              <a:gd name="connsiteX0" fmla="*/ 2308970 w 2314580"/>
              <a:gd name="connsiteY0" fmla="*/ 1394334 h 4872100"/>
              <a:gd name="connsiteX1" fmla="*/ 2314580 w 2314580"/>
              <a:gd name="connsiteY1" fmla="*/ 4784875 h 4872100"/>
              <a:gd name="connsiteX2" fmla="*/ 2209916 w 2314580"/>
              <a:gd name="connsiteY2" fmla="*/ 4841264 h 4872100"/>
              <a:gd name="connsiteX3" fmla="*/ 319962 w 2314580"/>
              <a:gd name="connsiteY3" fmla="*/ 2467520 h 4872100"/>
              <a:gd name="connsiteX4" fmla="*/ 551479 w 2314580"/>
              <a:gd name="connsiteY4" fmla="*/ 195564 h 4872100"/>
              <a:gd name="connsiteX5" fmla="*/ 2308970 w 2314580"/>
              <a:gd name="connsiteY5" fmla="*/ 1394334 h 4872100"/>
              <a:gd name="connsiteX0" fmla="*/ 2334610 w 2340220"/>
              <a:gd name="connsiteY0" fmla="*/ 1394334 h 4872100"/>
              <a:gd name="connsiteX1" fmla="*/ 2340220 w 2340220"/>
              <a:gd name="connsiteY1" fmla="*/ 4784875 h 4872100"/>
              <a:gd name="connsiteX2" fmla="*/ 2235556 w 2340220"/>
              <a:gd name="connsiteY2" fmla="*/ 4841264 h 4872100"/>
              <a:gd name="connsiteX3" fmla="*/ 345602 w 2340220"/>
              <a:gd name="connsiteY3" fmla="*/ 2467520 h 4872100"/>
              <a:gd name="connsiteX4" fmla="*/ 577119 w 2340220"/>
              <a:gd name="connsiteY4" fmla="*/ 195564 h 4872100"/>
              <a:gd name="connsiteX5" fmla="*/ 2334610 w 2340220"/>
              <a:gd name="connsiteY5" fmla="*/ 1394334 h 4872100"/>
              <a:gd name="connsiteX0" fmla="*/ 2317496 w 2323106"/>
              <a:gd name="connsiteY0" fmla="*/ 1394334 h 4872100"/>
              <a:gd name="connsiteX1" fmla="*/ 2323106 w 2323106"/>
              <a:gd name="connsiteY1" fmla="*/ 4784875 h 4872100"/>
              <a:gd name="connsiteX2" fmla="*/ 2218442 w 2323106"/>
              <a:gd name="connsiteY2" fmla="*/ 4841264 h 4872100"/>
              <a:gd name="connsiteX3" fmla="*/ 328488 w 2323106"/>
              <a:gd name="connsiteY3" fmla="*/ 2467520 h 4872100"/>
              <a:gd name="connsiteX4" fmla="*/ 560005 w 2323106"/>
              <a:gd name="connsiteY4" fmla="*/ 195564 h 4872100"/>
              <a:gd name="connsiteX5" fmla="*/ 2317496 w 2323106"/>
              <a:gd name="connsiteY5" fmla="*/ 1394334 h 4872100"/>
              <a:gd name="connsiteX0" fmla="*/ 2317496 w 2323106"/>
              <a:gd name="connsiteY0" fmla="*/ 1396095 h 4873861"/>
              <a:gd name="connsiteX1" fmla="*/ 2323106 w 2323106"/>
              <a:gd name="connsiteY1" fmla="*/ 4786636 h 4873861"/>
              <a:gd name="connsiteX2" fmla="*/ 2218442 w 2323106"/>
              <a:gd name="connsiteY2" fmla="*/ 4843025 h 4873861"/>
              <a:gd name="connsiteX3" fmla="*/ 328488 w 2323106"/>
              <a:gd name="connsiteY3" fmla="*/ 2469281 h 4873861"/>
              <a:gd name="connsiteX4" fmla="*/ 560005 w 2323106"/>
              <a:gd name="connsiteY4" fmla="*/ 197325 h 4873861"/>
              <a:gd name="connsiteX5" fmla="*/ 2317496 w 2323106"/>
              <a:gd name="connsiteY5" fmla="*/ 1396095 h 4873861"/>
              <a:gd name="connsiteX0" fmla="*/ 2317496 w 2323106"/>
              <a:gd name="connsiteY0" fmla="*/ 1398561 h 4876327"/>
              <a:gd name="connsiteX1" fmla="*/ 2323106 w 2323106"/>
              <a:gd name="connsiteY1" fmla="*/ 4789102 h 4876327"/>
              <a:gd name="connsiteX2" fmla="*/ 2218442 w 2323106"/>
              <a:gd name="connsiteY2" fmla="*/ 4845491 h 4876327"/>
              <a:gd name="connsiteX3" fmla="*/ 328488 w 2323106"/>
              <a:gd name="connsiteY3" fmla="*/ 2471747 h 4876327"/>
              <a:gd name="connsiteX4" fmla="*/ 560005 w 2323106"/>
              <a:gd name="connsiteY4" fmla="*/ 199791 h 4876327"/>
              <a:gd name="connsiteX5" fmla="*/ 2317496 w 2323106"/>
              <a:gd name="connsiteY5" fmla="*/ 1398561 h 4876327"/>
              <a:gd name="connsiteX0" fmla="*/ 2317496 w 2323106"/>
              <a:gd name="connsiteY0" fmla="*/ 1389720 h 4867486"/>
              <a:gd name="connsiteX1" fmla="*/ 2323106 w 2323106"/>
              <a:gd name="connsiteY1" fmla="*/ 4780261 h 4867486"/>
              <a:gd name="connsiteX2" fmla="*/ 2218442 w 2323106"/>
              <a:gd name="connsiteY2" fmla="*/ 4836650 h 4867486"/>
              <a:gd name="connsiteX3" fmla="*/ 328488 w 2323106"/>
              <a:gd name="connsiteY3" fmla="*/ 2462906 h 4867486"/>
              <a:gd name="connsiteX4" fmla="*/ 560005 w 2323106"/>
              <a:gd name="connsiteY4" fmla="*/ 190950 h 4867486"/>
              <a:gd name="connsiteX5" fmla="*/ 2317496 w 2323106"/>
              <a:gd name="connsiteY5" fmla="*/ 1389720 h 4867486"/>
              <a:gd name="connsiteX0" fmla="*/ 2317496 w 2323106"/>
              <a:gd name="connsiteY0" fmla="*/ 1392690 h 4870456"/>
              <a:gd name="connsiteX1" fmla="*/ 2323106 w 2323106"/>
              <a:gd name="connsiteY1" fmla="*/ 4783231 h 4870456"/>
              <a:gd name="connsiteX2" fmla="*/ 2218442 w 2323106"/>
              <a:gd name="connsiteY2" fmla="*/ 4839620 h 4870456"/>
              <a:gd name="connsiteX3" fmla="*/ 328488 w 2323106"/>
              <a:gd name="connsiteY3" fmla="*/ 2465876 h 4870456"/>
              <a:gd name="connsiteX4" fmla="*/ 560005 w 2323106"/>
              <a:gd name="connsiteY4" fmla="*/ 193920 h 4870456"/>
              <a:gd name="connsiteX5" fmla="*/ 2317496 w 2323106"/>
              <a:gd name="connsiteY5" fmla="*/ 1392690 h 4870456"/>
              <a:gd name="connsiteX0" fmla="*/ 2317496 w 2323106"/>
              <a:gd name="connsiteY0" fmla="*/ 1392690 h 4870456"/>
              <a:gd name="connsiteX1" fmla="*/ 2323106 w 2323106"/>
              <a:gd name="connsiteY1" fmla="*/ 4783231 h 4870456"/>
              <a:gd name="connsiteX2" fmla="*/ 2218442 w 2323106"/>
              <a:gd name="connsiteY2" fmla="*/ 4839620 h 4870456"/>
              <a:gd name="connsiteX3" fmla="*/ 328488 w 2323106"/>
              <a:gd name="connsiteY3" fmla="*/ 2465876 h 4870456"/>
              <a:gd name="connsiteX4" fmla="*/ 560005 w 2323106"/>
              <a:gd name="connsiteY4" fmla="*/ 193920 h 4870456"/>
              <a:gd name="connsiteX5" fmla="*/ 2317496 w 2323106"/>
              <a:gd name="connsiteY5" fmla="*/ 1392690 h 4870456"/>
              <a:gd name="connsiteX0" fmla="*/ 2317496 w 2323106"/>
              <a:gd name="connsiteY0" fmla="*/ 1398024 h 4875790"/>
              <a:gd name="connsiteX1" fmla="*/ 2323106 w 2323106"/>
              <a:gd name="connsiteY1" fmla="*/ 4788565 h 4875790"/>
              <a:gd name="connsiteX2" fmla="*/ 2218442 w 2323106"/>
              <a:gd name="connsiteY2" fmla="*/ 4844954 h 4875790"/>
              <a:gd name="connsiteX3" fmla="*/ 328488 w 2323106"/>
              <a:gd name="connsiteY3" fmla="*/ 2471210 h 4875790"/>
              <a:gd name="connsiteX4" fmla="*/ 560005 w 2323106"/>
              <a:gd name="connsiteY4" fmla="*/ 199254 h 4875790"/>
              <a:gd name="connsiteX5" fmla="*/ 2317496 w 2323106"/>
              <a:gd name="connsiteY5" fmla="*/ 1398024 h 4875790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9806 h 4877572"/>
              <a:gd name="connsiteX1" fmla="*/ 2323106 w 2323106"/>
              <a:gd name="connsiteY1" fmla="*/ 4790347 h 4877572"/>
              <a:gd name="connsiteX2" fmla="*/ 2218442 w 2323106"/>
              <a:gd name="connsiteY2" fmla="*/ 4846736 h 4877572"/>
              <a:gd name="connsiteX3" fmla="*/ 328488 w 2323106"/>
              <a:gd name="connsiteY3" fmla="*/ 2472992 h 4877572"/>
              <a:gd name="connsiteX4" fmla="*/ 560005 w 2323106"/>
              <a:gd name="connsiteY4" fmla="*/ 201036 h 4877572"/>
              <a:gd name="connsiteX5" fmla="*/ 2317496 w 2323106"/>
              <a:gd name="connsiteY5" fmla="*/ 1399806 h 4877572"/>
              <a:gd name="connsiteX0" fmla="*/ 2317496 w 2323106"/>
              <a:gd name="connsiteY0" fmla="*/ 1399806 h 4877572"/>
              <a:gd name="connsiteX1" fmla="*/ 2323106 w 2323106"/>
              <a:gd name="connsiteY1" fmla="*/ 4790347 h 4877572"/>
              <a:gd name="connsiteX2" fmla="*/ 2218442 w 2323106"/>
              <a:gd name="connsiteY2" fmla="*/ 4846736 h 4877572"/>
              <a:gd name="connsiteX3" fmla="*/ 328488 w 2323106"/>
              <a:gd name="connsiteY3" fmla="*/ 2472992 h 4877572"/>
              <a:gd name="connsiteX4" fmla="*/ 560005 w 2323106"/>
              <a:gd name="connsiteY4" fmla="*/ 201036 h 4877572"/>
              <a:gd name="connsiteX5" fmla="*/ 2317496 w 2323106"/>
              <a:gd name="connsiteY5" fmla="*/ 1399806 h 4877572"/>
              <a:gd name="connsiteX0" fmla="*/ 2317496 w 2323106"/>
              <a:gd name="connsiteY0" fmla="*/ 1396245 h 4874011"/>
              <a:gd name="connsiteX1" fmla="*/ 2323106 w 2323106"/>
              <a:gd name="connsiteY1" fmla="*/ 4786786 h 4874011"/>
              <a:gd name="connsiteX2" fmla="*/ 2218442 w 2323106"/>
              <a:gd name="connsiteY2" fmla="*/ 4843175 h 4874011"/>
              <a:gd name="connsiteX3" fmla="*/ 328488 w 2323106"/>
              <a:gd name="connsiteY3" fmla="*/ 2469431 h 4874011"/>
              <a:gd name="connsiteX4" fmla="*/ 560005 w 2323106"/>
              <a:gd name="connsiteY4" fmla="*/ 197475 h 4874011"/>
              <a:gd name="connsiteX5" fmla="*/ 2317496 w 2323106"/>
              <a:gd name="connsiteY5" fmla="*/ 1396245 h 4874011"/>
              <a:gd name="connsiteX0" fmla="*/ 2317496 w 2323106"/>
              <a:gd name="connsiteY0" fmla="*/ 1399314 h 4877080"/>
              <a:gd name="connsiteX1" fmla="*/ 2323106 w 2323106"/>
              <a:gd name="connsiteY1" fmla="*/ 4789855 h 4877080"/>
              <a:gd name="connsiteX2" fmla="*/ 2218442 w 2323106"/>
              <a:gd name="connsiteY2" fmla="*/ 4846244 h 4877080"/>
              <a:gd name="connsiteX3" fmla="*/ 328488 w 2323106"/>
              <a:gd name="connsiteY3" fmla="*/ 2472500 h 4877080"/>
              <a:gd name="connsiteX4" fmla="*/ 560005 w 2323106"/>
              <a:gd name="connsiteY4" fmla="*/ 200544 h 4877080"/>
              <a:gd name="connsiteX5" fmla="*/ 2317496 w 2323106"/>
              <a:gd name="connsiteY5" fmla="*/ 1399314 h 4877080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9830 w 2323106"/>
              <a:gd name="connsiteY0" fmla="*/ 1399683 h 4868852"/>
              <a:gd name="connsiteX1" fmla="*/ 2323106 w 2323106"/>
              <a:gd name="connsiteY1" fmla="*/ 4781627 h 4868852"/>
              <a:gd name="connsiteX2" fmla="*/ 2218442 w 2323106"/>
              <a:gd name="connsiteY2" fmla="*/ 4838016 h 4868852"/>
              <a:gd name="connsiteX3" fmla="*/ 328488 w 2323106"/>
              <a:gd name="connsiteY3" fmla="*/ 2464272 h 4868852"/>
              <a:gd name="connsiteX4" fmla="*/ 560005 w 2323106"/>
              <a:gd name="connsiteY4" fmla="*/ 192316 h 4868852"/>
              <a:gd name="connsiteX5" fmla="*/ 2319830 w 2323106"/>
              <a:gd name="connsiteY5" fmla="*/ 1399683 h 4868852"/>
              <a:gd name="connsiteX0" fmla="*/ 2319830 w 2323106"/>
              <a:gd name="connsiteY0" fmla="*/ 1402669 h 4871838"/>
              <a:gd name="connsiteX1" fmla="*/ 2323106 w 2323106"/>
              <a:gd name="connsiteY1" fmla="*/ 4784613 h 4871838"/>
              <a:gd name="connsiteX2" fmla="*/ 2218442 w 2323106"/>
              <a:gd name="connsiteY2" fmla="*/ 4841002 h 4871838"/>
              <a:gd name="connsiteX3" fmla="*/ 328488 w 2323106"/>
              <a:gd name="connsiteY3" fmla="*/ 2467258 h 4871838"/>
              <a:gd name="connsiteX4" fmla="*/ 560005 w 2323106"/>
              <a:gd name="connsiteY4" fmla="*/ 195302 h 4871838"/>
              <a:gd name="connsiteX5" fmla="*/ 2319830 w 2323106"/>
              <a:gd name="connsiteY5" fmla="*/ 1402669 h 4871838"/>
              <a:gd name="connsiteX0" fmla="*/ 2319830 w 2323106"/>
              <a:gd name="connsiteY0" fmla="*/ 1403343 h 4872512"/>
              <a:gd name="connsiteX1" fmla="*/ 2323106 w 2323106"/>
              <a:gd name="connsiteY1" fmla="*/ 4785287 h 4872512"/>
              <a:gd name="connsiteX2" fmla="*/ 2218442 w 2323106"/>
              <a:gd name="connsiteY2" fmla="*/ 4841676 h 4872512"/>
              <a:gd name="connsiteX3" fmla="*/ 328488 w 2323106"/>
              <a:gd name="connsiteY3" fmla="*/ 2467932 h 4872512"/>
              <a:gd name="connsiteX4" fmla="*/ 560005 w 2323106"/>
              <a:gd name="connsiteY4" fmla="*/ 195976 h 4872512"/>
              <a:gd name="connsiteX5" fmla="*/ 2319830 w 2323106"/>
              <a:gd name="connsiteY5" fmla="*/ 1403343 h 4872512"/>
              <a:gd name="connsiteX0" fmla="*/ 2324359 w 2327635"/>
              <a:gd name="connsiteY0" fmla="*/ 1403343 h 4872512"/>
              <a:gd name="connsiteX1" fmla="*/ 2327635 w 2327635"/>
              <a:gd name="connsiteY1" fmla="*/ 4785287 h 4872512"/>
              <a:gd name="connsiteX2" fmla="*/ 2222971 w 2327635"/>
              <a:gd name="connsiteY2" fmla="*/ 4841676 h 4872512"/>
              <a:gd name="connsiteX3" fmla="*/ 333017 w 2327635"/>
              <a:gd name="connsiteY3" fmla="*/ 2467932 h 4872512"/>
              <a:gd name="connsiteX4" fmla="*/ 564534 w 2327635"/>
              <a:gd name="connsiteY4" fmla="*/ 195976 h 4872512"/>
              <a:gd name="connsiteX5" fmla="*/ 2324359 w 2327635"/>
              <a:gd name="connsiteY5" fmla="*/ 1403343 h 4872512"/>
              <a:gd name="connsiteX0" fmla="*/ 2326563 w 2458304"/>
              <a:gd name="connsiteY0" fmla="*/ 1388146 h 4857315"/>
              <a:gd name="connsiteX1" fmla="*/ 2329839 w 2458304"/>
              <a:gd name="connsiteY1" fmla="*/ 4770090 h 4857315"/>
              <a:gd name="connsiteX2" fmla="*/ 2225175 w 2458304"/>
              <a:gd name="connsiteY2" fmla="*/ 4826479 h 4857315"/>
              <a:gd name="connsiteX3" fmla="*/ 335221 w 2458304"/>
              <a:gd name="connsiteY3" fmla="*/ 2452735 h 4857315"/>
              <a:gd name="connsiteX4" fmla="*/ 562070 w 2458304"/>
              <a:gd name="connsiteY4" fmla="*/ 180779 h 4857315"/>
              <a:gd name="connsiteX5" fmla="*/ 2326563 w 2458304"/>
              <a:gd name="connsiteY5" fmla="*/ 1388146 h 4857315"/>
              <a:gd name="connsiteX0" fmla="*/ 2326563 w 2329839"/>
              <a:gd name="connsiteY0" fmla="*/ 1396124 h 4865293"/>
              <a:gd name="connsiteX1" fmla="*/ 2329839 w 2329839"/>
              <a:gd name="connsiteY1" fmla="*/ 4778068 h 4865293"/>
              <a:gd name="connsiteX2" fmla="*/ 2225175 w 2329839"/>
              <a:gd name="connsiteY2" fmla="*/ 4834457 h 4865293"/>
              <a:gd name="connsiteX3" fmla="*/ 335221 w 2329839"/>
              <a:gd name="connsiteY3" fmla="*/ 2460713 h 4865293"/>
              <a:gd name="connsiteX4" fmla="*/ 562070 w 2329839"/>
              <a:gd name="connsiteY4" fmla="*/ 188757 h 4865293"/>
              <a:gd name="connsiteX5" fmla="*/ 2326563 w 2329839"/>
              <a:gd name="connsiteY5" fmla="*/ 1396124 h 4865293"/>
              <a:gd name="connsiteX0" fmla="*/ 2326563 w 2329839"/>
              <a:gd name="connsiteY0" fmla="*/ 1394861 h 4864030"/>
              <a:gd name="connsiteX1" fmla="*/ 2329839 w 2329839"/>
              <a:gd name="connsiteY1" fmla="*/ 4776805 h 4864030"/>
              <a:gd name="connsiteX2" fmla="*/ 2225175 w 2329839"/>
              <a:gd name="connsiteY2" fmla="*/ 4833194 h 4864030"/>
              <a:gd name="connsiteX3" fmla="*/ 335221 w 2329839"/>
              <a:gd name="connsiteY3" fmla="*/ 2459450 h 4864030"/>
              <a:gd name="connsiteX4" fmla="*/ 562070 w 2329839"/>
              <a:gd name="connsiteY4" fmla="*/ 187494 h 4864030"/>
              <a:gd name="connsiteX5" fmla="*/ 2326563 w 2329839"/>
              <a:gd name="connsiteY5" fmla="*/ 1394861 h 4864030"/>
              <a:gd name="connsiteX0" fmla="*/ 2326563 w 2329839"/>
              <a:gd name="connsiteY0" fmla="*/ 1401537 h 4870706"/>
              <a:gd name="connsiteX1" fmla="*/ 2329839 w 2329839"/>
              <a:gd name="connsiteY1" fmla="*/ 4783481 h 4870706"/>
              <a:gd name="connsiteX2" fmla="*/ 2225175 w 2329839"/>
              <a:gd name="connsiteY2" fmla="*/ 4839870 h 4870706"/>
              <a:gd name="connsiteX3" fmla="*/ 335221 w 2329839"/>
              <a:gd name="connsiteY3" fmla="*/ 2466126 h 4870706"/>
              <a:gd name="connsiteX4" fmla="*/ 562070 w 2329839"/>
              <a:gd name="connsiteY4" fmla="*/ 194170 h 4870706"/>
              <a:gd name="connsiteX5" fmla="*/ 2326563 w 2329839"/>
              <a:gd name="connsiteY5" fmla="*/ 1401537 h 4870706"/>
              <a:gd name="connsiteX0" fmla="*/ 2326563 w 2329839"/>
              <a:gd name="connsiteY0" fmla="*/ 1403211 h 4872380"/>
              <a:gd name="connsiteX1" fmla="*/ 2329839 w 2329839"/>
              <a:gd name="connsiteY1" fmla="*/ 4785155 h 4872380"/>
              <a:gd name="connsiteX2" fmla="*/ 2225175 w 2329839"/>
              <a:gd name="connsiteY2" fmla="*/ 4841544 h 4872380"/>
              <a:gd name="connsiteX3" fmla="*/ 335221 w 2329839"/>
              <a:gd name="connsiteY3" fmla="*/ 2467800 h 4872380"/>
              <a:gd name="connsiteX4" fmla="*/ 562070 w 2329839"/>
              <a:gd name="connsiteY4" fmla="*/ 195844 h 4872380"/>
              <a:gd name="connsiteX5" fmla="*/ 2326563 w 2329839"/>
              <a:gd name="connsiteY5" fmla="*/ 1403211 h 4872380"/>
              <a:gd name="connsiteX0" fmla="*/ 2326563 w 2330469"/>
              <a:gd name="connsiteY0" fmla="*/ 1418627 h 4887796"/>
              <a:gd name="connsiteX1" fmla="*/ 2329839 w 2330469"/>
              <a:gd name="connsiteY1" fmla="*/ 4800571 h 4887796"/>
              <a:gd name="connsiteX2" fmla="*/ 2225175 w 2330469"/>
              <a:gd name="connsiteY2" fmla="*/ 4856960 h 4887796"/>
              <a:gd name="connsiteX3" fmla="*/ 335221 w 2330469"/>
              <a:gd name="connsiteY3" fmla="*/ 2483216 h 4887796"/>
              <a:gd name="connsiteX4" fmla="*/ 562070 w 2330469"/>
              <a:gd name="connsiteY4" fmla="*/ 211260 h 4887796"/>
              <a:gd name="connsiteX5" fmla="*/ 2326563 w 2330469"/>
              <a:gd name="connsiteY5" fmla="*/ 1418627 h 4887796"/>
              <a:gd name="connsiteX0" fmla="*/ 2326563 w 2330469"/>
              <a:gd name="connsiteY0" fmla="*/ 1403156 h 4872325"/>
              <a:gd name="connsiteX1" fmla="*/ 2329839 w 2330469"/>
              <a:gd name="connsiteY1" fmla="*/ 4785100 h 4872325"/>
              <a:gd name="connsiteX2" fmla="*/ 2225175 w 2330469"/>
              <a:gd name="connsiteY2" fmla="*/ 4841489 h 4872325"/>
              <a:gd name="connsiteX3" fmla="*/ 335221 w 2330469"/>
              <a:gd name="connsiteY3" fmla="*/ 2467745 h 4872325"/>
              <a:gd name="connsiteX4" fmla="*/ 562070 w 2330469"/>
              <a:gd name="connsiteY4" fmla="*/ 195789 h 4872325"/>
              <a:gd name="connsiteX5" fmla="*/ 2326563 w 2330469"/>
              <a:gd name="connsiteY5" fmla="*/ 1403156 h 4872325"/>
              <a:gd name="connsiteX0" fmla="*/ 2326563 w 2330469"/>
              <a:gd name="connsiteY0" fmla="*/ 1377614 h 4846783"/>
              <a:gd name="connsiteX1" fmla="*/ 2329839 w 2330469"/>
              <a:gd name="connsiteY1" fmla="*/ 4759558 h 4846783"/>
              <a:gd name="connsiteX2" fmla="*/ 2225175 w 2330469"/>
              <a:gd name="connsiteY2" fmla="*/ 4815947 h 4846783"/>
              <a:gd name="connsiteX3" fmla="*/ 335221 w 2330469"/>
              <a:gd name="connsiteY3" fmla="*/ 2442203 h 4846783"/>
              <a:gd name="connsiteX4" fmla="*/ 562070 w 2330469"/>
              <a:gd name="connsiteY4" fmla="*/ 170247 h 4846783"/>
              <a:gd name="connsiteX5" fmla="*/ 2326563 w 2330469"/>
              <a:gd name="connsiteY5" fmla="*/ 1377614 h 4846783"/>
              <a:gd name="connsiteX0" fmla="*/ 2326563 w 2330469"/>
              <a:gd name="connsiteY0" fmla="*/ 1403155 h 4872324"/>
              <a:gd name="connsiteX1" fmla="*/ 2329839 w 2330469"/>
              <a:gd name="connsiteY1" fmla="*/ 4785099 h 4872324"/>
              <a:gd name="connsiteX2" fmla="*/ 2225175 w 2330469"/>
              <a:gd name="connsiteY2" fmla="*/ 4841488 h 4872324"/>
              <a:gd name="connsiteX3" fmla="*/ 335221 w 2330469"/>
              <a:gd name="connsiteY3" fmla="*/ 2467744 h 4872324"/>
              <a:gd name="connsiteX4" fmla="*/ 562070 w 2330469"/>
              <a:gd name="connsiteY4" fmla="*/ 195788 h 4872324"/>
              <a:gd name="connsiteX5" fmla="*/ 2326563 w 2330469"/>
              <a:gd name="connsiteY5" fmla="*/ 1403155 h 4872324"/>
              <a:gd name="connsiteX0" fmla="*/ 2278081 w 2281987"/>
              <a:gd name="connsiteY0" fmla="*/ 1403155 h 4872324"/>
              <a:gd name="connsiteX1" fmla="*/ 2281357 w 2281987"/>
              <a:gd name="connsiteY1" fmla="*/ 4785099 h 4872324"/>
              <a:gd name="connsiteX2" fmla="*/ 2176693 w 2281987"/>
              <a:gd name="connsiteY2" fmla="*/ 4841488 h 4872324"/>
              <a:gd name="connsiteX3" fmla="*/ 286739 w 2281987"/>
              <a:gd name="connsiteY3" fmla="*/ 2467744 h 4872324"/>
              <a:gd name="connsiteX4" fmla="*/ 513588 w 2281987"/>
              <a:gd name="connsiteY4" fmla="*/ 195788 h 4872324"/>
              <a:gd name="connsiteX5" fmla="*/ 2278081 w 2281987"/>
              <a:gd name="connsiteY5" fmla="*/ 1403155 h 4872324"/>
              <a:gd name="connsiteX0" fmla="*/ 2321655 w 2325561"/>
              <a:gd name="connsiteY0" fmla="*/ 1403155 h 4872324"/>
              <a:gd name="connsiteX1" fmla="*/ 2324931 w 2325561"/>
              <a:gd name="connsiteY1" fmla="*/ 4785099 h 4872324"/>
              <a:gd name="connsiteX2" fmla="*/ 2220267 w 2325561"/>
              <a:gd name="connsiteY2" fmla="*/ 4841488 h 4872324"/>
              <a:gd name="connsiteX3" fmla="*/ 330313 w 2325561"/>
              <a:gd name="connsiteY3" fmla="*/ 2467744 h 4872324"/>
              <a:gd name="connsiteX4" fmla="*/ 557162 w 2325561"/>
              <a:gd name="connsiteY4" fmla="*/ 195788 h 4872324"/>
              <a:gd name="connsiteX5" fmla="*/ 2321655 w 2325561"/>
              <a:gd name="connsiteY5" fmla="*/ 1403155 h 4872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25561" h="4872324">
                <a:moveTo>
                  <a:pt x="2321655" y="1403155"/>
                </a:moveTo>
                <a:cubicBezTo>
                  <a:pt x="2327968" y="2360767"/>
                  <a:pt x="2324666" y="4001780"/>
                  <a:pt x="2324931" y="4785099"/>
                </a:cubicBezTo>
                <a:cubicBezTo>
                  <a:pt x="2321552" y="4937375"/>
                  <a:pt x="2214114" y="4844655"/>
                  <a:pt x="2220267" y="4841488"/>
                </a:cubicBezTo>
                <a:cubicBezTo>
                  <a:pt x="1934243" y="4471710"/>
                  <a:pt x="788411" y="3040549"/>
                  <a:pt x="330313" y="2467744"/>
                </a:cubicBezTo>
                <a:cubicBezTo>
                  <a:pt x="-81862" y="1937583"/>
                  <a:pt x="-211970" y="817537"/>
                  <a:pt x="557162" y="195788"/>
                </a:cubicBezTo>
                <a:cubicBezTo>
                  <a:pt x="1466748" y="-393302"/>
                  <a:pt x="2315342" y="445543"/>
                  <a:pt x="2321655" y="140315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7720465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coraz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5" name="Marcador de posición de imagen 3">
            <a:extLst>
              <a:ext uri="{FF2B5EF4-FFF2-40B4-BE49-F238E27FC236}">
                <a16:creationId xmlns:a16="http://schemas.microsoft.com/office/drawing/2014/main" id="{0596DC85-28C2-0F4F-A744-8242E4BF0C4D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9091023" y="1325834"/>
            <a:ext cx="2648241" cy="4519122"/>
          </a:xfrm>
          <a:custGeom>
            <a:avLst/>
            <a:gdLst>
              <a:gd name="connsiteX0" fmla="*/ 1726784 w 3453568"/>
              <a:gd name="connsiteY0" fmla="*/ 761850 h 3047398"/>
              <a:gd name="connsiteX1" fmla="*/ 1726784 w 3453568"/>
              <a:gd name="connsiteY1" fmla="*/ 3047398 h 3047398"/>
              <a:gd name="connsiteX2" fmla="*/ 1726784 w 3453568"/>
              <a:gd name="connsiteY2" fmla="*/ 761850 h 3047398"/>
              <a:gd name="connsiteX0" fmla="*/ 323012 w 2062385"/>
              <a:gd name="connsiteY0" fmla="*/ 724098 h 3009646"/>
              <a:gd name="connsiteX1" fmla="*/ 323012 w 2062385"/>
              <a:gd name="connsiteY1" fmla="*/ 3009646 h 3009646"/>
              <a:gd name="connsiteX2" fmla="*/ 323012 w 2062385"/>
              <a:gd name="connsiteY2" fmla="*/ 724098 h 3009646"/>
              <a:gd name="connsiteX0" fmla="*/ 5073 w 1744446"/>
              <a:gd name="connsiteY0" fmla="*/ 724098 h 3009646"/>
              <a:gd name="connsiteX1" fmla="*/ 5073 w 1744446"/>
              <a:gd name="connsiteY1" fmla="*/ 3009646 h 3009646"/>
              <a:gd name="connsiteX2" fmla="*/ 5073 w 1744446"/>
              <a:gd name="connsiteY2" fmla="*/ 724098 h 3009646"/>
              <a:gd name="connsiteX0" fmla="*/ 0 w 1739373"/>
              <a:gd name="connsiteY0" fmla="*/ 724098 h 3009646"/>
              <a:gd name="connsiteX1" fmla="*/ 0 w 1739373"/>
              <a:gd name="connsiteY1" fmla="*/ 3009646 h 3009646"/>
              <a:gd name="connsiteX2" fmla="*/ 0 w 1739373"/>
              <a:gd name="connsiteY2" fmla="*/ 724098 h 3009646"/>
              <a:gd name="connsiteX0" fmla="*/ 0 w 1741571"/>
              <a:gd name="connsiteY0" fmla="*/ 741338 h 2941161"/>
              <a:gd name="connsiteX1" fmla="*/ 3175 w 1741571"/>
              <a:gd name="connsiteY1" fmla="*/ 2941161 h 2941161"/>
              <a:gd name="connsiteX2" fmla="*/ 0 w 1741571"/>
              <a:gd name="connsiteY2" fmla="*/ 741338 h 2941161"/>
              <a:gd name="connsiteX0" fmla="*/ 0 w 1662955"/>
              <a:gd name="connsiteY0" fmla="*/ 770826 h 2970649"/>
              <a:gd name="connsiteX1" fmla="*/ 3175 w 1662955"/>
              <a:gd name="connsiteY1" fmla="*/ 2970649 h 2970649"/>
              <a:gd name="connsiteX2" fmla="*/ 0 w 1662955"/>
              <a:gd name="connsiteY2" fmla="*/ 770826 h 2970649"/>
              <a:gd name="connsiteX0" fmla="*/ 0 w 1754580"/>
              <a:gd name="connsiteY0" fmla="*/ 790877 h 2990700"/>
              <a:gd name="connsiteX1" fmla="*/ 3175 w 1754580"/>
              <a:gd name="connsiteY1" fmla="*/ 2990700 h 2990700"/>
              <a:gd name="connsiteX2" fmla="*/ 0 w 1754580"/>
              <a:gd name="connsiteY2" fmla="*/ 790877 h 2990700"/>
              <a:gd name="connsiteX0" fmla="*/ 46 w 1754626"/>
              <a:gd name="connsiteY0" fmla="*/ 790877 h 3268319"/>
              <a:gd name="connsiteX1" fmla="*/ 3221 w 1754626"/>
              <a:gd name="connsiteY1" fmla="*/ 2990700 h 3268319"/>
              <a:gd name="connsiteX2" fmla="*/ 1457 w 1754626"/>
              <a:gd name="connsiteY2" fmla="*/ 2995379 h 3268319"/>
              <a:gd name="connsiteX3" fmla="*/ 46 w 1754626"/>
              <a:gd name="connsiteY3" fmla="*/ 790877 h 3268319"/>
              <a:gd name="connsiteX0" fmla="*/ 46 w 2123706"/>
              <a:gd name="connsiteY0" fmla="*/ 879416 h 3232836"/>
              <a:gd name="connsiteX1" fmla="*/ 504333 w 2123706"/>
              <a:gd name="connsiteY1" fmla="*/ 2702113 h 3232836"/>
              <a:gd name="connsiteX2" fmla="*/ 1457 w 2123706"/>
              <a:gd name="connsiteY2" fmla="*/ 3083918 h 3232836"/>
              <a:gd name="connsiteX3" fmla="*/ 46 w 2123706"/>
              <a:gd name="connsiteY3" fmla="*/ 879416 h 3232836"/>
              <a:gd name="connsiteX0" fmla="*/ 46 w 1814106"/>
              <a:gd name="connsiteY0" fmla="*/ 793104 h 3265479"/>
              <a:gd name="connsiteX1" fmla="*/ 85878 w 1814106"/>
              <a:gd name="connsiteY1" fmla="*/ 2982594 h 3265479"/>
              <a:gd name="connsiteX2" fmla="*/ 1457 w 1814106"/>
              <a:gd name="connsiteY2" fmla="*/ 2997606 h 3265479"/>
              <a:gd name="connsiteX3" fmla="*/ 46 w 1814106"/>
              <a:gd name="connsiteY3" fmla="*/ 793104 h 3265479"/>
              <a:gd name="connsiteX0" fmla="*/ 46 w 1814106"/>
              <a:gd name="connsiteY0" fmla="*/ 793104 h 3237717"/>
              <a:gd name="connsiteX1" fmla="*/ 85878 w 1814106"/>
              <a:gd name="connsiteY1" fmla="*/ 2982594 h 3237717"/>
              <a:gd name="connsiteX2" fmla="*/ 1457 w 1814106"/>
              <a:gd name="connsiteY2" fmla="*/ 2940456 h 3237717"/>
              <a:gd name="connsiteX3" fmla="*/ 46 w 1814106"/>
              <a:gd name="connsiteY3" fmla="*/ 793104 h 3237717"/>
              <a:gd name="connsiteX0" fmla="*/ 46 w 1766081"/>
              <a:gd name="connsiteY0" fmla="*/ 801401 h 3226052"/>
              <a:gd name="connsiteX1" fmla="*/ 19203 w 1766081"/>
              <a:gd name="connsiteY1" fmla="*/ 2952791 h 3226052"/>
              <a:gd name="connsiteX2" fmla="*/ 1457 w 1766081"/>
              <a:gd name="connsiteY2" fmla="*/ 2948753 h 3226052"/>
              <a:gd name="connsiteX3" fmla="*/ 46 w 1766081"/>
              <a:gd name="connsiteY3" fmla="*/ 801401 h 3226052"/>
              <a:gd name="connsiteX0" fmla="*/ 46 w 1825596"/>
              <a:gd name="connsiteY0" fmla="*/ 800705 h 3226963"/>
              <a:gd name="connsiteX1" fmla="*/ 101753 w 1825596"/>
              <a:gd name="connsiteY1" fmla="*/ 2955270 h 3226963"/>
              <a:gd name="connsiteX2" fmla="*/ 1457 w 1825596"/>
              <a:gd name="connsiteY2" fmla="*/ 2948057 h 3226963"/>
              <a:gd name="connsiteX3" fmla="*/ 46 w 1825596"/>
              <a:gd name="connsiteY3" fmla="*/ 800705 h 3226963"/>
              <a:gd name="connsiteX0" fmla="*/ 46 w 1825596"/>
              <a:gd name="connsiteY0" fmla="*/ 800705 h 3113418"/>
              <a:gd name="connsiteX1" fmla="*/ 101753 w 1825596"/>
              <a:gd name="connsiteY1" fmla="*/ 2955270 h 3113418"/>
              <a:gd name="connsiteX2" fmla="*/ 1457 w 1825596"/>
              <a:gd name="connsiteY2" fmla="*/ 2948057 h 3113418"/>
              <a:gd name="connsiteX3" fmla="*/ 46 w 1825596"/>
              <a:gd name="connsiteY3" fmla="*/ 800705 h 3113418"/>
              <a:gd name="connsiteX0" fmla="*/ 46 w 1825596"/>
              <a:gd name="connsiteY0" fmla="*/ 801401 h 3113272"/>
              <a:gd name="connsiteX1" fmla="*/ 101753 w 1825596"/>
              <a:gd name="connsiteY1" fmla="*/ 2952791 h 3113272"/>
              <a:gd name="connsiteX2" fmla="*/ 1457 w 1825596"/>
              <a:gd name="connsiteY2" fmla="*/ 2948753 h 3113272"/>
              <a:gd name="connsiteX3" fmla="*/ 46 w 1825596"/>
              <a:gd name="connsiteY3" fmla="*/ 801401 h 3113272"/>
              <a:gd name="connsiteX0" fmla="*/ 46 w 1825596"/>
              <a:gd name="connsiteY0" fmla="*/ 801401 h 2999004"/>
              <a:gd name="connsiteX1" fmla="*/ 101753 w 1825596"/>
              <a:gd name="connsiteY1" fmla="*/ 2952791 h 2999004"/>
              <a:gd name="connsiteX2" fmla="*/ 1457 w 1825596"/>
              <a:gd name="connsiteY2" fmla="*/ 2948753 h 2999004"/>
              <a:gd name="connsiteX3" fmla="*/ 46 w 1825596"/>
              <a:gd name="connsiteY3" fmla="*/ 801401 h 2999004"/>
              <a:gd name="connsiteX0" fmla="*/ 46 w 1825596"/>
              <a:gd name="connsiteY0" fmla="*/ 801401 h 3003762"/>
              <a:gd name="connsiteX1" fmla="*/ 101753 w 1825596"/>
              <a:gd name="connsiteY1" fmla="*/ 2952791 h 3003762"/>
              <a:gd name="connsiteX2" fmla="*/ 1457 w 1825596"/>
              <a:gd name="connsiteY2" fmla="*/ 2948753 h 3003762"/>
              <a:gd name="connsiteX3" fmla="*/ 46 w 1825596"/>
              <a:gd name="connsiteY3" fmla="*/ 801401 h 3003762"/>
              <a:gd name="connsiteX0" fmla="*/ 46 w 1751080"/>
              <a:gd name="connsiteY0" fmla="*/ 791490 h 2993851"/>
              <a:gd name="connsiteX1" fmla="*/ 101753 w 1751080"/>
              <a:gd name="connsiteY1" fmla="*/ 2942880 h 2993851"/>
              <a:gd name="connsiteX2" fmla="*/ 1457 w 1751080"/>
              <a:gd name="connsiteY2" fmla="*/ 2938842 h 2993851"/>
              <a:gd name="connsiteX3" fmla="*/ 46 w 1751080"/>
              <a:gd name="connsiteY3" fmla="*/ 791490 h 2993851"/>
              <a:gd name="connsiteX0" fmla="*/ 46 w 1754103"/>
              <a:gd name="connsiteY0" fmla="*/ 794198 h 2992817"/>
              <a:gd name="connsiteX1" fmla="*/ 105929 w 1754103"/>
              <a:gd name="connsiteY1" fmla="*/ 2933062 h 2992817"/>
              <a:gd name="connsiteX2" fmla="*/ 1457 w 1754103"/>
              <a:gd name="connsiteY2" fmla="*/ 2941550 h 2992817"/>
              <a:gd name="connsiteX3" fmla="*/ 46 w 1754103"/>
              <a:gd name="connsiteY3" fmla="*/ 794198 h 2992817"/>
              <a:gd name="connsiteX0" fmla="*/ 46 w 1754103"/>
              <a:gd name="connsiteY0" fmla="*/ 794198 h 3092665"/>
              <a:gd name="connsiteX1" fmla="*/ 105929 w 1754103"/>
              <a:gd name="connsiteY1" fmla="*/ 2933062 h 3092665"/>
              <a:gd name="connsiteX2" fmla="*/ 112493 w 1754103"/>
              <a:gd name="connsiteY2" fmla="*/ 2916042 h 3092665"/>
              <a:gd name="connsiteX3" fmla="*/ 1457 w 1754103"/>
              <a:gd name="connsiteY3" fmla="*/ 2941550 h 3092665"/>
              <a:gd name="connsiteX4" fmla="*/ 46 w 1754103"/>
              <a:gd name="connsiteY4" fmla="*/ 794198 h 3092665"/>
              <a:gd name="connsiteX0" fmla="*/ 46 w 1754103"/>
              <a:gd name="connsiteY0" fmla="*/ 794198 h 3137950"/>
              <a:gd name="connsiteX1" fmla="*/ 105929 w 1754103"/>
              <a:gd name="connsiteY1" fmla="*/ 2933062 h 3137950"/>
              <a:gd name="connsiteX2" fmla="*/ 49862 w 1754103"/>
              <a:gd name="connsiteY2" fmla="*/ 3062179 h 3137950"/>
              <a:gd name="connsiteX3" fmla="*/ 1457 w 1754103"/>
              <a:gd name="connsiteY3" fmla="*/ 2941550 h 3137950"/>
              <a:gd name="connsiteX4" fmla="*/ 46 w 1754103"/>
              <a:gd name="connsiteY4" fmla="*/ 794198 h 3137950"/>
              <a:gd name="connsiteX0" fmla="*/ 46 w 1947503"/>
              <a:gd name="connsiteY0" fmla="*/ 855901 h 3199653"/>
              <a:gd name="connsiteX1" fmla="*/ 368976 w 1947503"/>
              <a:gd name="connsiteY1" fmla="*/ 2727543 h 3199653"/>
              <a:gd name="connsiteX2" fmla="*/ 49862 w 1947503"/>
              <a:gd name="connsiteY2" fmla="*/ 3123882 h 3199653"/>
              <a:gd name="connsiteX3" fmla="*/ 1457 w 1947503"/>
              <a:gd name="connsiteY3" fmla="*/ 3003253 h 3199653"/>
              <a:gd name="connsiteX4" fmla="*/ 46 w 1947503"/>
              <a:gd name="connsiteY4" fmla="*/ 855901 h 3199653"/>
              <a:gd name="connsiteX0" fmla="*/ 46 w 1947503"/>
              <a:gd name="connsiteY0" fmla="*/ 855901 h 3157433"/>
              <a:gd name="connsiteX1" fmla="*/ 368976 w 1947503"/>
              <a:gd name="connsiteY1" fmla="*/ 2727543 h 3157433"/>
              <a:gd name="connsiteX2" fmla="*/ 125018 w 1947503"/>
              <a:gd name="connsiteY2" fmla="*/ 2990271 h 3157433"/>
              <a:gd name="connsiteX3" fmla="*/ 1457 w 1947503"/>
              <a:gd name="connsiteY3" fmla="*/ 3003253 h 3157433"/>
              <a:gd name="connsiteX4" fmla="*/ 46 w 1947503"/>
              <a:gd name="connsiteY4" fmla="*/ 855901 h 3157433"/>
              <a:gd name="connsiteX0" fmla="*/ 46 w 1947503"/>
              <a:gd name="connsiteY0" fmla="*/ 855901 h 3166659"/>
              <a:gd name="connsiteX1" fmla="*/ 368976 w 1947503"/>
              <a:gd name="connsiteY1" fmla="*/ 2727543 h 3166659"/>
              <a:gd name="connsiteX2" fmla="*/ 96443 w 1947503"/>
              <a:gd name="connsiteY2" fmla="*/ 3025196 h 3166659"/>
              <a:gd name="connsiteX3" fmla="*/ 1457 w 1947503"/>
              <a:gd name="connsiteY3" fmla="*/ 3003253 h 3166659"/>
              <a:gd name="connsiteX4" fmla="*/ 46 w 1947503"/>
              <a:gd name="connsiteY4" fmla="*/ 855901 h 3166659"/>
              <a:gd name="connsiteX0" fmla="*/ 46 w 1947503"/>
              <a:gd name="connsiteY0" fmla="*/ 855901 h 3154564"/>
              <a:gd name="connsiteX1" fmla="*/ 368976 w 1947503"/>
              <a:gd name="connsiteY1" fmla="*/ 2727543 h 3154564"/>
              <a:gd name="connsiteX2" fmla="*/ 96443 w 1947503"/>
              <a:gd name="connsiteY2" fmla="*/ 3025196 h 3154564"/>
              <a:gd name="connsiteX3" fmla="*/ 1457 w 1947503"/>
              <a:gd name="connsiteY3" fmla="*/ 3003253 h 3154564"/>
              <a:gd name="connsiteX4" fmla="*/ 46 w 1947503"/>
              <a:gd name="connsiteY4" fmla="*/ 855901 h 3154564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63511"/>
              <a:gd name="connsiteX1" fmla="*/ 368976 w 1947503"/>
              <a:gd name="connsiteY1" fmla="*/ 2727543 h 3063511"/>
              <a:gd name="connsiteX2" fmla="*/ 96443 w 1947503"/>
              <a:gd name="connsiteY2" fmla="*/ 3025196 h 3063511"/>
              <a:gd name="connsiteX3" fmla="*/ 1457 w 1947503"/>
              <a:gd name="connsiteY3" fmla="*/ 3003253 h 3063511"/>
              <a:gd name="connsiteX4" fmla="*/ 46 w 1947503"/>
              <a:gd name="connsiteY4" fmla="*/ 855901 h 3063511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748161"/>
              <a:gd name="connsiteY0" fmla="*/ 802155 h 3002262"/>
              <a:gd name="connsiteX1" fmla="*/ 368976 w 1748161"/>
              <a:gd name="connsiteY1" fmla="*/ 2673797 h 3002262"/>
              <a:gd name="connsiteX2" fmla="*/ 96443 w 1748161"/>
              <a:gd name="connsiteY2" fmla="*/ 2971450 h 3002262"/>
              <a:gd name="connsiteX3" fmla="*/ 1457 w 1748161"/>
              <a:gd name="connsiteY3" fmla="*/ 2949507 h 3002262"/>
              <a:gd name="connsiteX4" fmla="*/ 46 w 1748161"/>
              <a:gd name="connsiteY4" fmla="*/ 802155 h 3002262"/>
              <a:gd name="connsiteX0" fmla="*/ 46 w 1748161"/>
              <a:gd name="connsiteY0" fmla="*/ 802155 h 3002262"/>
              <a:gd name="connsiteX1" fmla="*/ 368976 w 1748161"/>
              <a:gd name="connsiteY1" fmla="*/ 2673797 h 3002262"/>
              <a:gd name="connsiteX2" fmla="*/ 96443 w 1748161"/>
              <a:gd name="connsiteY2" fmla="*/ 2971450 h 3002262"/>
              <a:gd name="connsiteX3" fmla="*/ 1457 w 1748161"/>
              <a:gd name="connsiteY3" fmla="*/ 2949507 h 3002262"/>
              <a:gd name="connsiteX4" fmla="*/ 46 w 1748161"/>
              <a:gd name="connsiteY4" fmla="*/ 802155 h 3002262"/>
              <a:gd name="connsiteX0" fmla="*/ 46 w 1752318"/>
              <a:gd name="connsiteY0" fmla="*/ 788682 h 2988789"/>
              <a:gd name="connsiteX1" fmla="*/ 368976 w 1752318"/>
              <a:gd name="connsiteY1" fmla="*/ 2660324 h 2988789"/>
              <a:gd name="connsiteX2" fmla="*/ 96443 w 1752318"/>
              <a:gd name="connsiteY2" fmla="*/ 2957977 h 2988789"/>
              <a:gd name="connsiteX3" fmla="*/ 1457 w 1752318"/>
              <a:gd name="connsiteY3" fmla="*/ 2936034 h 2988789"/>
              <a:gd name="connsiteX4" fmla="*/ 46 w 1752318"/>
              <a:gd name="connsiteY4" fmla="*/ 788682 h 2988789"/>
              <a:gd name="connsiteX0" fmla="*/ 46 w 1749822"/>
              <a:gd name="connsiteY0" fmla="*/ 793733 h 2993840"/>
              <a:gd name="connsiteX1" fmla="*/ 368976 w 1749822"/>
              <a:gd name="connsiteY1" fmla="*/ 2665375 h 2993840"/>
              <a:gd name="connsiteX2" fmla="*/ 96443 w 1749822"/>
              <a:gd name="connsiteY2" fmla="*/ 2963028 h 2993840"/>
              <a:gd name="connsiteX3" fmla="*/ 1457 w 1749822"/>
              <a:gd name="connsiteY3" fmla="*/ 2941085 h 2993840"/>
              <a:gd name="connsiteX4" fmla="*/ 46 w 1749822"/>
              <a:gd name="connsiteY4" fmla="*/ 793733 h 2993840"/>
              <a:gd name="connsiteX0" fmla="*/ 46 w 1749822"/>
              <a:gd name="connsiteY0" fmla="*/ 793733 h 2993840"/>
              <a:gd name="connsiteX1" fmla="*/ 368976 w 1749822"/>
              <a:gd name="connsiteY1" fmla="*/ 2665375 h 2993840"/>
              <a:gd name="connsiteX2" fmla="*/ 96443 w 1749822"/>
              <a:gd name="connsiteY2" fmla="*/ 2963028 h 2993840"/>
              <a:gd name="connsiteX3" fmla="*/ 1457 w 1749822"/>
              <a:gd name="connsiteY3" fmla="*/ 2941085 h 2993840"/>
              <a:gd name="connsiteX4" fmla="*/ 46 w 1749822"/>
              <a:gd name="connsiteY4" fmla="*/ 793733 h 2993840"/>
              <a:gd name="connsiteX0" fmla="*/ 46 w 404090"/>
              <a:gd name="connsiteY0" fmla="*/ 516228 h 2716335"/>
              <a:gd name="connsiteX1" fmla="*/ 368976 w 404090"/>
              <a:gd name="connsiteY1" fmla="*/ 2387870 h 2716335"/>
              <a:gd name="connsiteX2" fmla="*/ 96443 w 404090"/>
              <a:gd name="connsiteY2" fmla="*/ 2685523 h 2716335"/>
              <a:gd name="connsiteX3" fmla="*/ 1457 w 404090"/>
              <a:gd name="connsiteY3" fmla="*/ 2663580 h 2716335"/>
              <a:gd name="connsiteX4" fmla="*/ 46 w 404090"/>
              <a:gd name="connsiteY4" fmla="*/ 516228 h 2716335"/>
              <a:gd name="connsiteX0" fmla="*/ 777284 w 2211803"/>
              <a:gd name="connsiteY0" fmla="*/ 744448 h 3507127"/>
              <a:gd name="connsiteX1" fmla="*/ 1146214 w 2211803"/>
              <a:gd name="connsiteY1" fmla="*/ 2616090 h 3507127"/>
              <a:gd name="connsiteX2" fmla="*/ 873681 w 2211803"/>
              <a:gd name="connsiteY2" fmla="*/ 2913743 h 3507127"/>
              <a:gd name="connsiteX3" fmla="*/ 778695 w 2211803"/>
              <a:gd name="connsiteY3" fmla="*/ 2891800 h 3507127"/>
              <a:gd name="connsiteX4" fmla="*/ 777284 w 2211803"/>
              <a:gd name="connsiteY4" fmla="*/ 744448 h 3507127"/>
              <a:gd name="connsiteX0" fmla="*/ 1076399 w 2811144"/>
              <a:gd name="connsiteY0" fmla="*/ 804551 h 3708291"/>
              <a:gd name="connsiteX1" fmla="*/ 1445329 w 2811144"/>
              <a:gd name="connsiteY1" fmla="*/ 2676193 h 3708291"/>
              <a:gd name="connsiteX2" fmla="*/ 1172796 w 2811144"/>
              <a:gd name="connsiteY2" fmla="*/ 2973846 h 3708291"/>
              <a:gd name="connsiteX3" fmla="*/ 1077810 w 2811144"/>
              <a:gd name="connsiteY3" fmla="*/ 2951903 h 3708291"/>
              <a:gd name="connsiteX4" fmla="*/ 1076399 w 2811144"/>
              <a:gd name="connsiteY4" fmla="*/ 804551 h 3708291"/>
              <a:gd name="connsiteX0" fmla="*/ 47 w 399202"/>
              <a:gd name="connsiteY0" fmla="*/ 512681 h 2712788"/>
              <a:gd name="connsiteX1" fmla="*/ 368977 w 399202"/>
              <a:gd name="connsiteY1" fmla="*/ 2384323 h 2712788"/>
              <a:gd name="connsiteX2" fmla="*/ 96444 w 399202"/>
              <a:gd name="connsiteY2" fmla="*/ 2681976 h 2712788"/>
              <a:gd name="connsiteX3" fmla="*/ 1458 w 399202"/>
              <a:gd name="connsiteY3" fmla="*/ 2660033 h 2712788"/>
              <a:gd name="connsiteX4" fmla="*/ 47 w 399202"/>
              <a:gd name="connsiteY4" fmla="*/ 512681 h 2712788"/>
              <a:gd name="connsiteX0" fmla="*/ 47 w 544902"/>
              <a:gd name="connsiteY0" fmla="*/ 553542 h 2753649"/>
              <a:gd name="connsiteX1" fmla="*/ 368977 w 544902"/>
              <a:gd name="connsiteY1" fmla="*/ 2425184 h 2753649"/>
              <a:gd name="connsiteX2" fmla="*/ 96444 w 544902"/>
              <a:gd name="connsiteY2" fmla="*/ 2722837 h 2753649"/>
              <a:gd name="connsiteX3" fmla="*/ 1458 w 544902"/>
              <a:gd name="connsiteY3" fmla="*/ 2700894 h 2753649"/>
              <a:gd name="connsiteX4" fmla="*/ 47 w 544902"/>
              <a:gd name="connsiteY4" fmla="*/ 553542 h 2753649"/>
              <a:gd name="connsiteX0" fmla="*/ 736083 w 2129194"/>
              <a:gd name="connsiteY0" fmla="*/ 737259 h 3482022"/>
              <a:gd name="connsiteX1" fmla="*/ 1105013 w 2129194"/>
              <a:gd name="connsiteY1" fmla="*/ 2608901 h 3482022"/>
              <a:gd name="connsiteX2" fmla="*/ 832480 w 2129194"/>
              <a:gd name="connsiteY2" fmla="*/ 2906554 h 3482022"/>
              <a:gd name="connsiteX3" fmla="*/ 737494 w 2129194"/>
              <a:gd name="connsiteY3" fmla="*/ 2884611 h 3482022"/>
              <a:gd name="connsiteX4" fmla="*/ 736083 w 2129194"/>
              <a:gd name="connsiteY4" fmla="*/ 737259 h 3482022"/>
              <a:gd name="connsiteX0" fmla="*/ 47 w 511420"/>
              <a:gd name="connsiteY0" fmla="*/ 531224 h 2731331"/>
              <a:gd name="connsiteX1" fmla="*/ 368977 w 511420"/>
              <a:gd name="connsiteY1" fmla="*/ 2402866 h 2731331"/>
              <a:gd name="connsiteX2" fmla="*/ 96444 w 511420"/>
              <a:gd name="connsiteY2" fmla="*/ 2700519 h 2731331"/>
              <a:gd name="connsiteX3" fmla="*/ 1458 w 511420"/>
              <a:gd name="connsiteY3" fmla="*/ 2678576 h 2731331"/>
              <a:gd name="connsiteX4" fmla="*/ 47 w 511420"/>
              <a:gd name="connsiteY4" fmla="*/ 531224 h 2731331"/>
              <a:gd name="connsiteX0" fmla="*/ 47 w 730958"/>
              <a:gd name="connsiteY0" fmla="*/ 555697 h 2755804"/>
              <a:gd name="connsiteX1" fmla="*/ 631066 w 730958"/>
              <a:gd name="connsiteY1" fmla="*/ 2217668 h 2755804"/>
              <a:gd name="connsiteX2" fmla="*/ 96444 w 730958"/>
              <a:gd name="connsiteY2" fmla="*/ 2724992 h 2755804"/>
              <a:gd name="connsiteX3" fmla="*/ 1458 w 730958"/>
              <a:gd name="connsiteY3" fmla="*/ 2703049 h 2755804"/>
              <a:gd name="connsiteX4" fmla="*/ 47 w 730958"/>
              <a:gd name="connsiteY4" fmla="*/ 555697 h 2755804"/>
              <a:gd name="connsiteX0" fmla="*/ 47 w 928515"/>
              <a:gd name="connsiteY0" fmla="*/ 653539 h 2950202"/>
              <a:gd name="connsiteX1" fmla="*/ 631066 w 928515"/>
              <a:gd name="connsiteY1" fmla="*/ 2315510 h 2950202"/>
              <a:gd name="connsiteX2" fmla="*/ 96444 w 928515"/>
              <a:gd name="connsiteY2" fmla="*/ 2822834 h 2950202"/>
              <a:gd name="connsiteX3" fmla="*/ 1458 w 928515"/>
              <a:gd name="connsiteY3" fmla="*/ 2800891 h 2950202"/>
              <a:gd name="connsiteX4" fmla="*/ 47 w 928515"/>
              <a:gd name="connsiteY4" fmla="*/ 653539 h 2950202"/>
              <a:gd name="connsiteX0" fmla="*/ 705076 w 2447495"/>
              <a:gd name="connsiteY0" fmla="*/ 796906 h 3438718"/>
              <a:gd name="connsiteX1" fmla="*/ 1336095 w 2447495"/>
              <a:gd name="connsiteY1" fmla="*/ 2458877 h 3438718"/>
              <a:gd name="connsiteX2" fmla="*/ 801473 w 2447495"/>
              <a:gd name="connsiteY2" fmla="*/ 2966201 h 3438718"/>
              <a:gd name="connsiteX3" fmla="*/ 706487 w 2447495"/>
              <a:gd name="connsiteY3" fmla="*/ 2944258 h 3438718"/>
              <a:gd name="connsiteX4" fmla="*/ 705076 w 2447495"/>
              <a:gd name="connsiteY4" fmla="*/ 796906 h 3438718"/>
              <a:gd name="connsiteX0" fmla="*/ 750894 w 2539724"/>
              <a:gd name="connsiteY0" fmla="*/ 791191 h 3420519"/>
              <a:gd name="connsiteX1" fmla="*/ 1381913 w 2539724"/>
              <a:gd name="connsiteY1" fmla="*/ 2453162 h 3420519"/>
              <a:gd name="connsiteX2" fmla="*/ 847291 w 2539724"/>
              <a:gd name="connsiteY2" fmla="*/ 2960486 h 3420519"/>
              <a:gd name="connsiteX3" fmla="*/ 752305 w 2539724"/>
              <a:gd name="connsiteY3" fmla="*/ 2938543 h 3420519"/>
              <a:gd name="connsiteX4" fmla="*/ 750894 w 2539724"/>
              <a:gd name="connsiteY4" fmla="*/ 791191 h 3420519"/>
              <a:gd name="connsiteX0" fmla="*/ 738161 w 2514098"/>
              <a:gd name="connsiteY0" fmla="*/ 798057 h 3442368"/>
              <a:gd name="connsiteX1" fmla="*/ 1369180 w 2514098"/>
              <a:gd name="connsiteY1" fmla="*/ 2460028 h 3442368"/>
              <a:gd name="connsiteX2" fmla="*/ 834558 w 2514098"/>
              <a:gd name="connsiteY2" fmla="*/ 2967352 h 3442368"/>
              <a:gd name="connsiteX3" fmla="*/ 739572 w 2514098"/>
              <a:gd name="connsiteY3" fmla="*/ 2945409 h 3442368"/>
              <a:gd name="connsiteX4" fmla="*/ 738161 w 2514098"/>
              <a:gd name="connsiteY4" fmla="*/ 798057 h 3442368"/>
              <a:gd name="connsiteX0" fmla="*/ 722887 w 2483353"/>
              <a:gd name="connsiteY0" fmla="*/ 798057 h 3442368"/>
              <a:gd name="connsiteX1" fmla="*/ 1353906 w 2483353"/>
              <a:gd name="connsiteY1" fmla="*/ 2460028 h 3442368"/>
              <a:gd name="connsiteX2" fmla="*/ 819284 w 2483353"/>
              <a:gd name="connsiteY2" fmla="*/ 2967352 h 3442368"/>
              <a:gd name="connsiteX3" fmla="*/ 724298 w 2483353"/>
              <a:gd name="connsiteY3" fmla="*/ 2945409 h 3442368"/>
              <a:gd name="connsiteX4" fmla="*/ 722887 w 2483353"/>
              <a:gd name="connsiteY4" fmla="*/ 798057 h 3442368"/>
              <a:gd name="connsiteX0" fmla="*/ 395918 w 2572118"/>
              <a:gd name="connsiteY0" fmla="*/ 953184 h 3278390"/>
              <a:gd name="connsiteX1" fmla="*/ 1551115 w 2572118"/>
              <a:gd name="connsiteY1" fmla="*/ 2026911 h 3278390"/>
              <a:gd name="connsiteX2" fmla="*/ 492315 w 2572118"/>
              <a:gd name="connsiteY2" fmla="*/ 3122479 h 3278390"/>
              <a:gd name="connsiteX3" fmla="*/ 397329 w 2572118"/>
              <a:gd name="connsiteY3" fmla="*/ 3100536 h 3278390"/>
              <a:gd name="connsiteX4" fmla="*/ 395918 w 2572118"/>
              <a:gd name="connsiteY4" fmla="*/ 953184 h 3278390"/>
              <a:gd name="connsiteX0" fmla="*/ 30230 w 1788185"/>
              <a:gd name="connsiteY0" fmla="*/ 831274 h 3031381"/>
              <a:gd name="connsiteX1" fmla="*/ 1185427 w 1788185"/>
              <a:gd name="connsiteY1" fmla="*/ 1905001 h 3031381"/>
              <a:gd name="connsiteX2" fmla="*/ 126627 w 1788185"/>
              <a:gd name="connsiteY2" fmla="*/ 3000569 h 3031381"/>
              <a:gd name="connsiteX3" fmla="*/ 31641 w 1788185"/>
              <a:gd name="connsiteY3" fmla="*/ 2978626 h 3031381"/>
              <a:gd name="connsiteX4" fmla="*/ 30230 w 1788185"/>
              <a:gd name="connsiteY4" fmla="*/ 831274 h 3031381"/>
              <a:gd name="connsiteX0" fmla="*/ 47 w 1256820"/>
              <a:gd name="connsiteY0" fmla="*/ 681223 h 2881330"/>
              <a:gd name="connsiteX1" fmla="*/ 1155244 w 1256820"/>
              <a:gd name="connsiteY1" fmla="*/ 1754950 h 2881330"/>
              <a:gd name="connsiteX2" fmla="*/ 96444 w 1256820"/>
              <a:gd name="connsiteY2" fmla="*/ 2850518 h 2881330"/>
              <a:gd name="connsiteX3" fmla="*/ 1458 w 1256820"/>
              <a:gd name="connsiteY3" fmla="*/ 2828575 h 2881330"/>
              <a:gd name="connsiteX4" fmla="*/ 47 w 1256820"/>
              <a:gd name="connsiteY4" fmla="*/ 681223 h 2881330"/>
              <a:gd name="connsiteX0" fmla="*/ 47 w 1256820"/>
              <a:gd name="connsiteY0" fmla="*/ 681223 h 2881330"/>
              <a:gd name="connsiteX1" fmla="*/ 1155244 w 1256820"/>
              <a:gd name="connsiteY1" fmla="*/ 1754950 h 2881330"/>
              <a:gd name="connsiteX2" fmla="*/ 96444 w 1256820"/>
              <a:gd name="connsiteY2" fmla="*/ 2850518 h 2881330"/>
              <a:gd name="connsiteX3" fmla="*/ 1458 w 1256820"/>
              <a:gd name="connsiteY3" fmla="*/ 2828575 h 2881330"/>
              <a:gd name="connsiteX4" fmla="*/ 47 w 1256820"/>
              <a:gd name="connsiteY4" fmla="*/ 681223 h 2881330"/>
              <a:gd name="connsiteX0" fmla="*/ 47 w 1760471"/>
              <a:gd name="connsiteY0" fmla="*/ 813967 h 3014074"/>
              <a:gd name="connsiteX1" fmla="*/ 1155244 w 1760471"/>
              <a:gd name="connsiteY1" fmla="*/ 1887694 h 3014074"/>
              <a:gd name="connsiteX2" fmla="*/ 96444 w 1760471"/>
              <a:gd name="connsiteY2" fmla="*/ 2983262 h 3014074"/>
              <a:gd name="connsiteX3" fmla="*/ 1458 w 1760471"/>
              <a:gd name="connsiteY3" fmla="*/ 2961319 h 3014074"/>
              <a:gd name="connsiteX4" fmla="*/ 47 w 1760471"/>
              <a:gd name="connsiteY4" fmla="*/ 813967 h 3014074"/>
              <a:gd name="connsiteX0" fmla="*/ 47 w 1675680"/>
              <a:gd name="connsiteY0" fmla="*/ 865670 h 3065777"/>
              <a:gd name="connsiteX1" fmla="*/ 1155244 w 1675680"/>
              <a:gd name="connsiteY1" fmla="*/ 1939397 h 3065777"/>
              <a:gd name="connsiteX2" fmla="*/ 96444 w 1675680"/>
              <a:gd name="connsiteY2" fmla="*/ 3034965 h 3065777"/>
              <a:gd name="connsiteX3" fmla="*/ 1458 w 1675680"/>
              <a:gd name="connsiteY3" fmla="*/ 3013022 h 3065777"/>
              <a:gd name="connsiteX4" fmla="*/ 47 w 1675680"/>
              <a:gd name="connsiteY4" fmla="*/ 865670 h 3065777"/>
              <a:gd name="connsiteX0" fmla="*/ 47 w 1754273"/>
              <a:gd name="connsiteY0" fmla="*/ 834667 h 3034774"/>
              <a:gd name="connsiteX1" fmla="*/ 1155244 w 1754273"/>
              <a:gd name="connsiteY1" fmla="*/ 1908394 h 3034774"/>
              <a:gd name="connsiteX2" fmla="*/ 96444 w 1754273"/>
              <a:gd name="connsiteY2" fmla="*/ 3003962 h 3034774"/>
              <a:gd name="connsiteX3" fmla="*/ 1458 w 1754273"/>
              <a:gd name="connsiteY3" fmla="*/ 2982019 h 3034774"/>
              <a:gd name="connsiteX4" fmla="*/ 47 w 1754273"/>
              <a:gd name="connsiteY4" fmla="*/ 834667 h 3034774"/>
              <a:gd name="connsiteX0" fmla="*/ 47 w 1712428"/>
              <a:gd name="connsiteY0" fmla="*/ 860399 h 3060506"/>
              <a:gd name="connsiteX1" fmla="*/ 1155244 w 1712428"/>
              <a:gd name="connsiteY1" fmla="*/ 1934126 h 3060506"/>
              <a:gd name="connsiteX2" fmla="*/ 96444 w 1712428"/>
              <a:gd name="connsiteY2" fmla="*/ 3029694 h 3060506"/>
              <a:gd name="connsiteX3" fmla="*/ 1458 w 1712428"/>
              <a:gd name="connsiteY3" fmla="*/ 3007751 h 3060506"/>
              <a:gd name="connsiteX4" fmla="*/ 47 w 1712428"/>
              <a:gd name="connsiteY4" fmla="*/ 860399 h 3060506"/>
              <a:gd name="connsiteX0" fmla="*/ 47 w 1749340"/>
              <a:gd name="connsiteY0" fmla="*/ 813600 h 3013707"/>
              <a:gd name="connsiteX1" fmla="*/ 1155244 w 1749340"/>
              <a:gd name="connsiteY1" fmla="*/ 1887327 h 3013707"/>
              <a:gd name="connsiteX2" fmla="*/ 96444 w 1749340"/>
              <a:gd name="connsiteY2" fmla="*/ 2982895 h 3013707"/>
              <a:gd name="connsiteX3" fmla="*/ 1458 w 1749340"/>
              <a:gd name="connsiteY3" fmla="*/ 2960952 h 3013707"/>
              <a:gd name="connsiteX4" fmla="*/ 47 w 1749340"/>
              <a:gd name="connsiteY4" fmla="*/ 813600 h 3013707"/>
              <a:gd name="connsiteX0" fmla="*/ 47 w 2123694"/>
              <a:gd name="connsiteY0" fmla="*/ 939789 h 3139896"/>
              <a:gd name="connsiteX1" fmla="*/ 1592060 w 2123694"/>
              <a:gd name="connsiteY1" fmla="*/ 1553404 h 3139896"/>
              <a:gd name="connsiteX2" fmla="*/ 96444 w 2123694"/>
              <a:gd name="connsiteY2" fmla="*/ 3109084 h 3139896"/>
              <a:gd name="connsiteX3" fmla="*/ 1458 w 2123694"/>
              <a:gd name="connsiteY3" fmla="*/ 3087141 h 3139896"/>
              <a:gd name="connsiteX4" fmla="*/ 47 w 2123694"/>
              <a:gd name="connsiteY4" fmla="*/ 939789 h 3139896"/>
              <a:gd name="connsiteX0" fmla="*/ 47 w 1761213"/>
              <a:gd name="connsiteY0" fmla="*/ 891556 h 3091663"/>
              <a:gd name="connsiteX1" fmla="*/ 1592060 w 1761213"/>
              <a:gd name="connsiteY1" fmla="*/ 1505171 h 3091663"/>
              <a:gd name="connsiteX2" fmla="*/ 96444 w 1761213"/>
              <a:gd name="connsiteY2" fmla="*/ 3060851 h 3091663"/>
              <a:gd name="connsiteX3" fmla="*/ 1458 w 1761213"/>
              <a:gd name="connsiteY3" fmla="*/ 3038908 h 3091663"/>
              <a:gd name="connsiteX4" fmla="*/ 47 w 1761213"/>
              <a:gd name="connsiteY4" fmla="*/ 891556 h 3091663"/>
              <a:gd name="connsiteX0" fmla="*/ 47 w 1765403"/>
              <a:gd name="connsiteY0" fmla="*/ 808980 h 3009087"/>
              <a:gd name="connsiteX1" fmla="*/ 1592060 w 1765403"/>
              <a:gd name="connsiteY1" fmla="*/ 1422595 h 3009087"/>
              <a:gd name="connsiteX2" fmla="*/ 96444 w 1765403"/>
              <a:gd name="connsiteY2" fmla="*/ 2978275 h 3009087"/>
              <a:gd name="connsiteX3" fmla="*/ 1458 w 1765403"/>
              <a:gd name="connsiteY3" fmla="*/ 2956332 h 3009087"/>
              <a:gd name="connsiteX4" fmla="*/ 47 w 1765403"/>
              <a:gd name="connsiteY4" fmla="*/ 808980 h 3009087"/>
              <a:gd name="connsiteX0" fmla="*/ 47 w 1814671"/>
              <a:gd name="connsiteY0" fmla="*/ 781904 h 2982011"/>
              <a:gd name="connsiteX1" fmla="*/ 1592060 w 1814671"/>
              <a:gd name="connsiteY1" fmla="*/ 1395519 h 2982011"/>
              <a:gd name="connsiteX2" fmla="*/ 96444 w 1814671"/>
              <a:gd name="connsiteY2" fmla="*/ 2951199 h 2982011"/>
              <a:gd name="connsiteX3" fmla="*/ 1458 w 1814671"/>
              <a:gd name="connsiteY3" fmla="*/ 2929256 h 2982011"/>
              <a:gd name="connsiteX4" fmla="*/ 47 w 1814671"/>
              <a:gd name="connsiteY4" fmla="*/ 781904 h 2982011"/>
              <a:gd name="connsiteX0" fmla="*/ 47 w 1669744"/>
              <a:gd name="connsiteY0" fmla="*/ 678598 h 2878705"/>
              <a:gd name="connsiteX1" fmla="*/ 1304433 w 1669744"/>
              <a:gd name="connsiteY1" fmla="*/ 20356 h 2878705"/>
              <a:gd name="connsiteX2" fmla="*/ 1592060 w 1669744"/>
              <a:gd name="connsiteY2" fmla="*/ 1292213 h 2878705"/>
              <a:gd name="connsiteX3" fmla="*/ 96444 w 1669744"/>
              <a:gd name="connsiteY3" fmla="*/ 2847893 h 2878705"/>
              <a:gd name="connsiteX4" fmla="*/ 1458 w 1669744"/>
              <a:gd name="connsiteY4" fmla="*/ 2825950 h 2878705"/>
              <a:gd name="connsiteX5" fmla="*/ 47 w 1669744"/>
              <a:gd name="connsiteY5" fmla="*/ 678598 h 2878705"/>
              <a:gd name="connsiteX0" fmla="*/ 47 w 1669744"/>
              <a:gd name="connsiteY0" fmla="*/ 797492 h 2997599"/>
              <a:gd name="connsiteX1" fmla="*/ 1304433 w 1669744"/>
              <a:gd name="connsiteY1" fmla="*/ 139250 h 2997599"/>
              <a:gd name="connsiteX2" fmla="*/ 1592060 w 1669744"/>
              <a:gd name="connsiteY2" fmla="*/ 1411107 h 2997599"/>
              <a:gd name="connsiteX3" fmla="*/ 96444 w 1669744"/>
              <a:gd name="connsiteY3" fmla="*/ 2966787 h 2997599"/>
              <a:gd name="connsiteX4" fmla="*/ 1458 w 1669744"/>
              <a:gd name="connsiteY4" fmla="*/ 2944844 h 2997599"/>
              <a:gd name="connsiteX5" fmla="*/ 47 w 1669744"/>
              <a:gd name="connsiteY5" fmla="*/ 797492 h 2997599"/>
              <a:gd name="connsiteX0" fmla="*/ 47 w 1669744"/>
              <a:gd name="connsiteY0" fmla="*/ 796759 h 2996866"/>
              <a:gd name="connsiteX1" fmla="*/ 1304433 w 1669744"/>
              <a:gd name="connsiteY1" fmla="*/ 138517 h 2996866"/>
              <a:gd name="connsiteX2" fmla="*/ 1592060 w 1669744"/>
              <a:gd name="connsiteY2" fmla="*/ 1410374 h 2996866"/>
              <a:gd name="connsiteX3" fmla="*/ 96444 w 1669744"/>
              <a:gd name="connsiteY3" fmla="*/ 2966054 h 2996866"/>
              <a:gd name="connsiteX4" fmla="*/ 1458 w 1669744"/>
              <a:gd name="connsiteY4" fmla="*/ 2944111 h 2996866"/>
              <a:gd name="connsiteX5" fmla="*/ 47 w 1669744"/>
              <a:gd name="connsiteY5" fmla="*/ 796759 h 2996866"/>
              <a:gd name="connsiteX0" fmla="*/ 47 w 1674254"/>
              <a:gd name="connsiteY0" fmla="*/ 816902 h 3017009"/>
              <a:gd name="connsiteX1" fmla="*/ 1321905 w 1674254"/>
              <a:gd name="connsiteY1" fmla="*/ 135363 h 3017009"/>
              <a:gd name="connsiteX2" fmla="*/ 1592060 w 1674254"/>
              <a:gd name="connsiteY2" fmla="*/ 1430517 h 3017009"/>
              <a:gd name="connsiteX3" fmla="*/ 96444 w 1674254"/>
              <a:gd name="connsiteY3" fmla="*/ 2986197 h 3017009"/>
              <a:gd name="connsiteX4" fmla="*/ 1458 w 1674254"/>
              <a:gd name="connsiteY4" fmla="*/ 2964254 h 3017009"/>
              <a:gd name="connsiteX5" fmla="*/ 47 w 1674254"/>
              <a:gd name="connsiteY5" fmla="*/ 816902 h 3017009"/>
              <a:gd name="connsiteX0" fmla="*/ 47 w 1674254"/>
              <a:gd name="connsiteY0" fmla="*/ 795700 h 2995807"/>
              <a:gd name="connsiteX1" fmla="*/ 1321905 w 1674254"/>
              <a:gd name="connsiteY1" fmla="*/ 114161 h 2995807"/>
              <a:gd name="connsiteX2" fmla="*/ 1592060 w 1674254"/>
              <a:gd name="connsiteY2" fmla="*/ 1409315 h 2995807"/>
              <a:gd name="connsiteX3" fmla="*/ 96444 w 1674254"/>
              <a:gd name="connsiteY3" fmla="*/ 2964995 h 2995807"/>
              <a:gd name="connsiteX4" fmla="*/ 1458 w 1674254"/>
              <a:gd name="connsiteY4" fmla="*/ 2943052 h 2995807"/>
              <a:gd name="connsiteX5" fmla="*/ 47 w 1674254"/>
              <a:gd name="connsiteY5" fmla="*/ 795700 h 2995807"/>
              <a:gd name="connsiteX0" fmla="*/ 47 w 1689928"/>
              <a:gd name="connsiteY0" fmla="*/ 795700 h 2995807"/>
              <a:gd name="connsiteX1" fmla="*/ 1321905 w 1689928"/>
              <a:gd name="connsiteY1" fmla="*/ 114161 h 2995807"/>
              <a:gd name="connsiteX2" fmla="*/ 1592060 w 1689928"/>
              <a:gd name="connsiteY2" fmla="*/ 1409315 h 2995807"/>
              <a:gd name="connsiteX3" fmla="*/ 96444 w 1689928"/>
              <a:gd name="connsiteY3" fmla="*/ 2964995 h 2995807"/>
              <a:gd name="connsiteX4" fmla="*/ 1458 w 1689928"/>
              <a:gd name="connsiteY4" fmla="*/ 2943052 h 2995807"/>
              <a:gd name="connsiteX5" fmla="*/ 47 w 1689928"/>
              <a:gd name="connsiteY5" fmla="*/ 795700 h 2995807"/>
              <a:gd name="connsiteX0" fmla="*/ 47 w 1746860"/>
              <a:gd name="connsiteY0" fmla="*/ 795700 h 2995807"/>
              <a:gd name="connsiteX1" fmla="*/ 1321905 w 1746860"/>
              <a:gd name="connsiteY1" fmla="*/ 114161 h 2995807"/>
              <a:gd name="connsiteX2" fmla="*/ 1592060 w 1746860"/>
              <a:gd name="connsiteY2" fmla="*/ 1409315 h 2995807"/>
              <a:gd name="connsiteX3" fmla="*/ 96444 w 1746860"/>
              <a:gd name="connsiteY3" fmla="*/ 2964995 h 2995807"/>
              <a:gd name="connsiteX4" fmla="*/ 1458 w 1746860"/>
              <a:gd name="connsiteY4" fmla="*/ 2943052 h 2995807"/>
              <a:gd name="connsiteX5" fmla="*/ 47 w 1746860"/>
              <a:gd name="connsiteY5" fmla="*/ 795700 h 2995807"/>
              <a:gd name="connsiteX0" fmla="*/ 47 w 1817082"/>
              <a:gd name="connsiteY0" fmla="*/ 795700 h 2995807"/>
              <a:gd name="connsiteX1" fmla="*/ 1321905 w 1817082"/>
              <a:gd name="connsiteY1" fmla="*/ 114161 h 2995807"/>
              <a:gd name="connsiteX2" fmla="*/ 1592060 w 1817082"/>
              <a:gd name="connsiteY2" fmla="*/ 1409315 h 2995807"/>
              <a:gd name="connsiteX3" fmla="*/ 96444 w 1817082"/>
              <a:gd name="connsiteY3" fmla="*/ 2964995 h 2995807"/>
              <a:gd name="connsiteX4" fmla="*/ 1458 w 1817082"/>
              <a:gd name="connsiteY4" fmla="*/ 2943052 h 2995807"/>
              <a:gd name="connsiteX5" fmla="*/ 47 w 1817082"/>
              <a:gd name="connsiteY5" fmla="*/ 795700 h 2995807"/>
              <a:gd name="connsiteX0" fmla="*/ 47 w 1765318"/>
              <a:gd name="connsiteY0" fmla="*/ 795700 h 2995807"/>
              <a:gd name="connsiteX1" fmla="*/ 1321905 w 1765318"/>
              <a:gd name="connsiteY1" fmla="*/ 114161 h 2995807"/>
              <a:gd name="connsiteX2" fmla="*/ 1592060 w 1765318"/>
              <a:gd name="connsiteY2" fmla="*/ 1409315 h 2995807"/>
              <a:gd name="connsiteX3" fmla="*/ 96444 w 1765318"/>
              <a:gd name="connsiteY3" fmla="*/ 2964995 h 2995807"/>
              <a:gd name="connsiteX4" fmla="*/ 1458 w 1765318"/>
              <a:gd name="connsiteY4" fmla="*/ 2943052 h 2995807"/>
              <a:gd name="connsiteX5" fmla="*/ 47 w 1765318"/>
              <a:gd name="connsiteY5" fmla="*/ 795700 h 2995807"/>
              <a:gd name="connsiteX0" fmla="*/ 47 w 1773136"/>
              <a:gd name="connsiteY0" fmla="*/ 795700 h 2995807"/>
              <a:gd name="connsiteX1" fmla="*/ 1321905 w 1773136"/>
              <a:gd name="connsiteY1" fmla="*/ 114161 h 2995807"/>
              <a:gd name="connsiteX2" fmla="*/ 1592060 w 1773136"/>
              <a:gd name="connsiteY2" fmla="*/ 1409315 h 2995807"/>
              <a:gd name="connsiteX3" fmla="*/ 96444 w 1773136"/>
              <a:gd name="connsiteY3" fmla="*/ 2964995 h 2995807"/>
              <a:gd name="connsiteX4" fmla="*/ 1458 w 1773136"/>
              <a:gd name="connsiteY4" fmla="*/ 2943052 h 2995807"/>
              <a:gd name="connsiteX5" fmla="*/ 47 w 1773136"/>
              <a:gd name="connsiteY5" fmla="*/ 795700 h 2995807"/>
              <a:gd name="connsiteX0" fmla="*/ 47 w 1812096"/>
              <a:gd name="connsiteY0" fmla="*/ 795700 h 2995807"/>
              <a:gd name="connsiteX1" fmla="*/ 1321905 w 1812096"/>
              <a:gd name="connsiteY1" fmla="*/ 114161 h 2995807"/>
              <a:gd name="connsiteX2" fmla="*/ 1592060 w 1812096"/>
              <a:gd name="connsiteY2" fmla="*/ 1409315 h 2995807"/>
              <a:gd name="connsiteX3" fmla="*/ 96444 w 1812096"/>
              <a:gd name="connsiteY3" fmla="*/ 2964995 h 2995807"/>
              <a:gd name="connsiteX4" fmla="*/ 1458 w 1812096"/>
              <a:gd name="connsiteY4" fmla="*/ 2943052 h 2995807"/>
              <a:gd name="connsiteX5" fmla="*/ 47 w 1812096"/>
              <a:gd name="connsiteY5" fmla="*/ 795700 h 2995807"/>
              <a:gd name="connsiteX0" fmla="*/ 47 w 1759473"/>
              <a:gd name="connsiteY0" fmla="*/ 795700 h 2995807"/>
              <a:gd name="connsiteX1" fmla="*/ 1321905 w 1759473"/>
              <a:gd name="connsiteY1" fmla="*/ 114161 h 2995807"/>
              <a:gd name="connsiteX2" fmla="*/ 1592060 w 1759473"/>
              <a:gd name="connsiteY2" fmla="*/ 1409315 h 2995807"/>
              <a:gd name="connsiteX3" fmla="*/ 96444 w 1759473"/>
              <a:gd name="connsiteY3" fmla="*/ 2964995 h 2995807"/>
              <a:gd name="connsiteX4" fmla="*/ 1458 w 1759473"/>
              <a:gd name="connsiteY4" fmla="*/ 2943052 h 2995807"/>
              <a:gd name="connsiteX5" fmla="*/ 47 w 1759473"/>
              <a:gd name="connsiteY5" fmla="*/ 795700 h 2995807"/>
              <a:gd name="connsiteX0" fmla="*/ 47 w 1747100"/>
              <a:gd name="connsiteY0" fmla="*/ 795700 h 2995807"/>
              <a:gd name="connsiteX1" fmla="*/ 1321905 w 1747100"/>
              <a:gd name="connsiteY1" fmla="*/ 114161 h 2995807"/>
              <a:gd name="connsiteX2" fmla="*/ 1592060 w 1747100"/>
              <a:gd name="connsiteY2" fmla="*/ 1409315 h 2995807"/>
              <a:gd name="connsiteX3" fmla="*/ 96444 w 1747100"/>
              <a:gd name="connsiteY3" fmla="*/ 2964995 h 2995807"/>
              <a:gd name="connsiteX4" fmla="*/ 1458 w 1747100"/>
              <a:gd name="connsiteY4" fmla="*/ 2943052 h 2995807"/>
              <a:gd name="connsiteX5" fmla="*/ 47 w 1747100"/>
              <a:gd name="connsiteY5" fmla="*/ 795700 h 2995807"/>
              <a:gd name="connsiteX0" fmla="*/ 47 w 1747100"/>
              <a:gd name="connsiteY0" fmla="*/ 801068 h 3001175"/>
              <a:gd name="connsiteX1" fmla="*/ 1321905 w 1747100"/>
              <a:gd name="connsiteY1" fmla="*/ 119529 h 3001175"/>
              <a:gd name="connsiteX2" fmla="*/ 1592060 w 1747100"/>
              <a:gd name="connsiteY2" fmla="*/ 1414683 h 3001175"/>
              <a:gd name="connsiteX3" fmla="*/ 96444 w 1747100"/>
              <a:gd name="connsiteY3" fmla="*/ 2970363 h 3001175"/>
              <a:gd name="connsiteX4" fmla="*/ 1458 w 1747100"/>
              <a:gd name="connsiteY4" fmla="*/ 2948420 h 3001175"/>
              <a:gd name="connsiteX5" fmla="*/ 47 w 1747100"/>
              <a:gd name="connsiteY5" fmla="*/ 801068 h 3001175"/>
              <a:gd name="connsiteX0" fmla="*/ 47 w 1747100"/>
              <a:gd name="connsiteY0" fmla="*/ 859428 h 2992860"/>
              <a:gd name="connsiteX1" fmla="*/ 1321905 w 1747100"/>
              <a:gd name="connsiteY1" fmla="*/ 111214 h 2992860"/>
              <a:gd name="connsiteX2" fmla="*/ 1592060 w 1747100"/>
              <a:gd name="connsiteY2" fmla="*/ 1406368 h 2992860"/>
              <a:gd name="connsiteX3" fmla="*/ 96444 w 1747100"/>
              <a:gd name="connsiteY3" fmla="*/ 2962048 h 2992860"/>
              <a:gd name="connsiteX4" fmla="*/ 1458 w 1747100"/>
              <a:gd name="connsiteY4" fmla="*/ 2940105 h 2992860"/>
              <a:gd name="connsiteX5" fmla="*/ 47 w 1747100"/>
              <a:gd name="connsiteY5" fmla="*/ 859428 h 2992860"/>
              <a:gd name="connsiteX0" fmla="*/ 317 w 1747370"/>
              <a:gd name="connsiteY0" fmla="*/ 863993 h 2997425"/>
              <a:gd name="connsiteX1" fmla="*/ 1322175 w 1747370"/>
              <a:gd name="connsiteY1" fmla="*/ 115779 h 2997425"/>
              <a:gd name="connsiteX2" fmla="*/ 1592330 w 1747370"/>
              <a:gd name="connsiteY2" fmla="*/ 1410933 h 2997425"/>
              <a:gd name="connsiteX3" fmla="*/ 96714 w 1747370"/>
              <a:gd name="connsiteY3" fmla="*/ 2966613 h 2997425"/>
              <a:gd name="connsiteX4" fmla="*/ 1728 w 1747370"/>
              <a:gd name="connsiteY4" fmla="*/ 2944670 h 2997425"/>
              <a:gd name="connsiteX5" fmla="*/ 317 w 1747370"/>
              <a:gd name="connsiteY5" fmla="*/ 863993 h 2997425"/>
              <a:gd name="connsiteX0" fmla="*/ 317 w 1758362"/>
              <a:gd name="connsiteY0" fmla="*/ 863993 h 2997425"/>
              <a:gd name="connsiteX1" fmla="*/ 1322175 w 1758362"/>
              <a:gd name="connsiteY1" fmla="*/ 115779 h 2997425"/>
              <a:gd name="connsiteX2" fmla="*/ 1592330 w 1758362"/>
              <a:gd name="connsiteY2" fmla="*/ 1410933 h 2997425"/>
              <a:gd name="connsiteX3" fmla="*/ 96714 w 1758362"/>
              <a:gd name="connsiteY3" fmla="*/ 2966613 h 2997425"/>
              <a:gd name="connsiteX4" fmla="*/ 1728 w 1758362"/>
              <a:gd name="connsiteY4" fmla="*/ 2944670 h 2997425"/>
              <a:gd name="connsiteX5" fmla="*/ 317 w 1758362"/>
              <a:gd name="connsiteY5" fmla="*/ 863993 h 2997425"/>
              <a:gd name="connsiteX0" fmla="*/ 317 w 1753088"/>
              <a:gd name="connsiteY0" fmla="*/ 863993 h 2997425"/>
              <a:gd name="connsiteX1" fmla="*/ 1322175 w 1753088"/>
              <a:gd name="connsiteY1" fmla="*/ 115779 h 2997425"/>
              <a:gd name="connsiteX2" fmla="*/ 1592330 w 1753088"/>
              <a:gd name="connsiteY2" fmla="*/ 1410933 h 2997425"/>
              <a:gd name="connsiteX3" fmla="*/ 96714 w 1753088"/>
              <a:gd name="connsiteY3" fmla="*/ 2966613 h 2997425"/>
              <a:gd name="connsiteX4" fmla="*/ 1728 w 1753088"/>
              <a:gd name="connsiteY4" fmla="*/ 2944670 h 2997425"/>
              <a:gd name="connsiteX5" fmla="*/ 317 w 1753088"/>
              <a:gd name="connsiteY5" fmla="*/ 863993 h 2997425"/>
              <a:gd name="connsiteX0" fmla="*/ 317 w 1756975"/>
              <a:gd name="connsiteY0" fmla="*/ 863993 h 2997425"/>
              <a:gd name="connsiteX1" fmla="*/ 1322175 w 1756975"/>
              <a:gd name="connsiteY1" fmla="*/ 115779 h 2997425"/>
              <a:gd name="connsiteX2" fmla="*/ 1592330 w 1756975"/>
              <a:gd name="connsiteY2" fmla="*/ 1410933 h 2997425"/>
              <a:gd name="connsiteX3" fmla="*/ 96714 w 1756975"/>
              <a:gd name="connsiteY3" fmla="*/ 2966613 h 2997425"/>
              <a:gd name="connsiteX4" fmla="*/ 1728 w 1756975"/>
              <a:gd name="connsiteY4" fmla="*/ 2944670 h 2997425"/>
              <a:gd name="connsiteX5" fmla="*/ 317 w 1756975"/>
              <a:gd name="connsiteY5" fmla="*/ 863993 h 2997425"/>
              <a:gd name="connsiteX0" fmla="*/ 317 w 1756975"/>
              <a:gd name="connsiteY0" fmla="*/ 863993 h 3004928"/>
              <a:gd name="connsiteX1" fmla="*/ 1322175 w 1756975"/>
              <a:gd name="connsiteY1" fmla="*/ 115779 h 3004928"/>
              <a:gd name="connsiteX2" fmla="*/ 1592330 w 1756975"/>
              <a:gd name="connsiteY2" fmla="*/ 1410933 h 3004928"/>
              <a:gd name="connsiteX3" fmla="*/ 96714 w 1756975"/>
              <a:gd name="connsiteY3" fmla="*/ 2966613 h 3004928"/>
              <a:gd name="connsiteX4" fmla="*/ 1728 w 1756975"/>
              <a:gd name="connsiteY4" fmla="*/ 2944670 h 3004928"/>
              <a:gd name="connsiteX5" fmla="*/ 317 w 1756975"/>
              <a:gd name="connsiteY5" fmla="*/ 863993 h 3004928"/>
              <a:gd name="connsiteX0" fmla="*/ 317 w 1756975"/>
              <a:gd name="connsiteY0" fmla="*/ 863993 h 3009727"/>
              <a:gd name="connsiteX1" fmla="*/ 1322175 w 1756975"/>
              <a:gd name="connsiteY1" fmla="*/ 115779 h 3009727"/>
              <a:gd name="connsiteX2" fmla="*/ 1592330 w 1756975"/>
              <a:gd name="connsiteY2" fmla="*/ 1410933 h 3009727"/>
              <a:gd name="connsiteX3" fmla="*/ 96714 w 1756975"/>
              <a:gd name="connsiteY3" fmla="*/ 2966613 h 3009727"/>
              <a:gd name="connsiteX4" fmla="*/ 1728 w 1756975"/>
              <a:gd name="connsiteY4" fmla="*/ 2944670 h 3009727"/>
              <a:gd name="connsiteX5" fmla="*/ 317 w 1756975"/>
              <a:gd name="connsiteY5" fmla="*/ 863993 h 3009727"/>
              <a:gd name="connsiteX0" fmla="*/ 317 w 1756975"/>
              <a:gd name="connsiteY0" fmla="*/ 863993 h 2995855"/>
              <a:gd name="connsiteX1" fmla="*/ 1322175 w 1756975"/>
              <a:gd name="connsiteY1" fmla="*/ 115779 h 2995855"/>
              <a:gd name="connsiteX2" fmla="*/ 1592330 w 1756975"/>
              <a:gd name="connsiteY2" fmla="*/ 1410933 h 2995855"/>
              <a:gd name="connsiteX3" fmla="*/ 96714 w 1756975"/>
              <a:gd name="connsiteY3" fmla="*/ 2966613 h 2995855"/>
              <a:gd name="connsiteX4" fmla="*/ 1728 w 1756975"/>
              <a:gd name="connsiteY4" fmla="*/ 2944670 h 2995855"/>
              <a:gd name="connsiteX5" fmla="*/ 317 w 1756975"/>
              <a:gd name="connsiteY5" fmla="*/ 863993 h 2995855"/>
              <a:gd name="connsiteX0" fmla="*/ 317 w 1756975"/>
              <a:gd name="connsiteY0" fmla="*/ 863993 h 2995855"/>
              <a:gd name="connsiteX1" fmla="*/ 1322175 w 1756975"/>
              <a:gd name="connsiteY1" fmla="*/ 115779 h 2995855"/>
              <a:gd name="connsiteX2" fmla="*/ 1592330 w 1756975"/>
              <a:gd name="connsiteY2" fmla="*/ 1410933 h 2995855"/>
              <a:gd name="connsiteX3" fmla="*/ 96714 w 1756975"/>
              <a:gd name="connsiteY3" fmla="*/ 2966613 h 2995855"/>
              <a:gd name="connsiteX4" fmla="*/ 1728 w 1756975"/>
              <a:gd name="connsiteY4" fmla="*/ 2944670 h 2995855"/>
              <a:gd name="connsiteX5" fmla="*/ 317 w 1756975"/>
              <a:gd name="connsiteY5" fmla="*/ 863993 h 2995855"/>
              <a:gd name="connsiteX0" fmla="*/ 317 w 1756975"/>
              <a:gd name="connsiteY0" fmla="*/ 861441 h 2993303"/>
              <a:gd name="connsiteX1" fmla="*/ 1322175 w 1756975"/>
              <a:gd name="connsiteY1" fmla="*/ 113227 h 2993303"/>
              <a:gd name="connsiteX2" fmla="*/ 1592330 w 1756975"/>
              <a:gd name="connsiteY2" fmla="*/ 1408381 h 2993303"/>
              <a:gd name="connsiteX3" fmla="*/ 96714 w 1756975"/>
              <a:gd name="connsiteY3" fmla="*/ 2964061 h 2993303"/>
              <a:gd name="connsiteX4" fmla="*/ 1728 w 1756975"/>
              <a:gd name="connsiteY4" fmla="*/ 2942118 h 2993303"/>
              <a:gd name="connsiteX5" fmla="*/ 317 w 1756975"/>
              <a:gd name="connsiteY5" fmla="*/ 861441 h 2993303"/>
              <a:gd name="connsiteX0" fmla="*/ 317 w 1749504"/>
              <a:gd name="connsiteY0" fmla="*/ 861441 h 2993303"/>
              <a:gd name="connsiteX1" fmla="*/ 1322175 w 1749504"/>
              <a:gd name="connsiteY1" fmla="*/ 113227 h 2993303"/>
              <a:gd name="connsiteX2" fmla="*/ 1579626 w 1749504"/>
              <a:gd name="connsiteY2" fmla="*/ 1430606 h 2993303"/>
              <a:gd name="connsiteX3" fmla="*/ 96714 w 1749504"/>
              <a:gd name="connsiteY3" fmla="*/ 2964061 h 2993303"/>
              <a:gd name="connsiteX4" fmla="*/ 1728 w 1749504"/>
              <a:gd name="connsiteY4" fmla="*/ 2942118 h 2993303"/>
              <a:gd name="connsiteX5" fmla="*/ 317 w 1749504"/>
              <a:gd name="connsiteY5" fmla="*/ 861441 h 2993303"/>
              <a:gd name="connsiteX0" fmla="*/ 317 w 1751386"/>
              <a:gd name="connsiteY0" fmla="*/ 861441 h 2993303"/>
              <a:gd name="connsiteX1" fmla="*/ 1322175 w 1751386"/>
              <a:gd name="connsiteY1" fmla="*/ 113227 h 2993303"/>
              <a:gd name="connsiteX2" fmla="*/ 1579626 w 1751386"/>
              <a:gd name="connsiteY2" fmla="*/ 1430606 h 2993303"/>
              <a:gd name="connsiteX3" fmla="*/ 96714 w 1751386"/>
              <a:gd name="connsiteY3" fmla="*/ 2964061 h 2993303"/>
              <a:gd name="connsiteX4" fmla="*/ 1728 w 1751386"/>
              <a:gd name="connsiteY4" fmla="*/ 2942118 h 2993303"/>
              <a:gd name="connsiteX5" fmla="*/ 317 w 1751386"/>
              <a:gd name="connsiteY5" fmla="*/ 861441 h 2993303"/>
              <a:gd name="connsiteX0" fmla="*/ 317 w 1754160"/>
              <a:gd name="connsiteY0" fmla="*/ 861441 h 2993303"/>
              <a:gd name="connsiteX1" fmla="*/ 1322175 w 1754160"/>
              <a:gd name="connsiteY1" fmla="*/ 113227 h 2993303"/>
              <a:gd name="connsiteX2" fmla="*/ 1584360 w 1754160"/>
              <a:gd name="connsiteY2" fmla="*/ 1416408 h 2993303"/>
              <a:gd name="connsiteX3" fmla="*/ 96714 w 1754160"/>
              <a:gd name="connsiteY3" fmla="*/ 2964061 h 2993303"/>
              <a:gd name="connsiteX4" fmla="*/ 1728 w 1754160"/>
              <a:gd name="connsiteY4" fmla="*/ 2942118 h 2993303"/>
              <a:gd name="connsiteX5" fmla="*/ 317 w 1754160"/>
              <a:gd name="connsiteY5" fmla="*/ 861441 h 2993303"/>
              <a:gd name="connsiteX0" fmla="*/ 97212 w 1840728"/>
              <a:gd name="connsiteY0" fmla="*/ 851039 h 2982901"/>
              <a:gd name="connsiteX1" fmla="*/ 1414336 w 1840728"/>
              <a:gd name="connsiteY1" fmla="*/ 105192 h 2982901"/>
              <a:gd name="connsiteX2" fmla="*/ 1681255 w 1840728"/>
              <a:gd name="connsiteY2" fmla="*/ 1406006 h 2982901"/>
              <a:gd name="connsiteX3" fmla="*/ 193609 w 1840728"/>
              <a:gd name="connsiteY3" fmla="*/ 2953659 h 2982901"/>
              <a:gd name="connsiteX4" fmla="*/ 98623 w 1840728"/>
              <a:gd name="connsiteY4" fmla="*/ 2931716 h 2982901"/>
              <a:gd name="connsiteX5" fmla="*/ 97212 w 1840728"/>
              <a:gd name="connsiteY5" fmla="*/ 851039 h 2982901"/>
              <a:gd name="connsiteX0" fmla="*/ 97212 w 1850529"/>
              <a:gd name="connsiteY0" fmla="*/ 851039 h 2982901"/>
              <a:gd name="connsiteX1" fmla="*/ 1414336 w 1850529"/>
              <a:gd name="connsiteY1" fmla="*/ 105192 h 2982901"/>
              <a:gd name="connsiteX2" fmla="*/ 1681255 w 1850529"/>
              <a:gd name="connsiteY2" fmla="*/ 1406006 h 2982901"/>
              <a:gd name="connsiteX3" fmla="*/ 193609 w 1850529"/>
              <a:gd name="connsiteY3" fmla="*/ 2953659 h 2982901"/>
              <a:gd name="connsiteX4" fmla="*/ 98623 w 1850529"/>
              <a:gd name="connsiteY4" fmla="*/ 2931716 h 2982901"/>
              <a:gd name="connsiteX5" fmla="*/ 97212 w 1850529"/>
              <a:gd name="connsiteY5" fmla="*/ 851039 h 2982901"/>
              <a:gd name="connsiteX0" fmla="*/ 13 w 1753330"/>
              <a:gd name="connsiteY0" fmla="*/ 858319 h 2990181"/>
              <a:gd name="connsiteX1" fmla="*/ 1317137 w 1753330"/>
              <a:gd name="connsiteY1" fmla="*/ 112472 h 2990181"/>
              <a:gd name="connsiteX2" fmla="*/ 1584056 w 1753330"/>
              <a:gd name="connsiteY2" fmla="*/ 1413286 h 2990181"/>
              <a:gd name="connsiteX3" fmla="*/ 96410 w 1753330"/>
              <a:gd name="connsiteY3" fmla="*/ 2960939 h 2990181"/>
              <a:gd name="connsiteX4" fmla="*/ 1424 w 1753330"/>
              <a:gd name="connsiteY4" fmla="*/ 2938996 h 2990181"/>
              <a:gd name="connsiteX5" fmla="*/ 13 w 1753330"/>
              <a:gd name="connsiteY5" fmla="*/ 858319 h 2990181"/>
              <a:gd name="connsiteX0" fmla="*/ 13 w 1760528"/>
              <a:gd name="connsiteY0" fmla="*/ 858319 h 2990181"/>
              <a:gd name="connsiteX1" fmla="*/ 1317137 w 1760528"/>
              <a:gd name="connsiteY1" fmla="*/ 112472 h 2990181"/>
              <a:gd name="connsiteX2" fmla="*/ 1584056 w 1760528"/>
              <a:gd name="connsiteY2" fmla="*/ 1413286 h 2990181"/>
              <a:gd name="connsiteX3" fmla="*/ 96410 w 1760528"/>
              <a:gd name="connsiteY3" fmla="*/ 2960939 h 2990181"/>
              <a:gd name="connsiteX4" fmla="*/ 1424 w 1760528"/>
              <a:gd name="connsiteY4" fmla="*/ 2938996 h 2990181"/>
              <a:gd name="connsiteX5" fmla="*/ 13 w 1760528"/>
              <a:gd name="connsiteY5" fmla="*/ 858319 h 2990181"/>
              <a:gd name="connsiteX0" fmla="*/ 13 w 1751658"/>
              <a:gd name="connsiteY0" fmla="*/ 858319 h 2990181"/>
              <a:gd name="connsiteX1" fmla="*/ 1317137 w 1751658"/>
              <a:gd name="connsiteY1" fmla="*/ 112472 h 2990181"/>
              <a:gd name="connsiteX2" fmla="*/ 1584056 w 1751658"/>
              <a:gd name="connsiteY2" fmla="*/ 1413286 h 2990181"/>
              <a:gd name="connsiteX3" fmla="*/ 96410 w 1751658"/>
              <a:gd name="connsiteY3" fmla="*/ 2960939 h 2990181"/>
              <a:gd name="connsiteX4" fmla="*/ 1424 w 1751658"/>
              <a:gd name="connsiteY4" fmla="*/ 2938996 h 2990181"/>
              <a:gd name="connsiteX5" fmla="*/ 13 w 1751658"/>
              <a:gd name="connsiteY5" fmla="*/ 858319 h 2990181"/>
              <a:gd name="connsiteX0" fmla="*/ 13 w 1759584"/>
              <a:gd name="connsiteY0" fmla="*/ 858319 h 2990181"/>
              <a:gd name="connsiteX1" fmla="*/ 1317137 w 1759584"/>
              <a:gd name="connsiteY1" fmla="*/ 112472 h 2990181"/>
              <a:gd name="connsiteX2" fmla="*/ 1584056 w 1759584"/>
              <a:gd name="connsiteY2" fmla="*/ 1413286 h 2990181"/>
              <a:gd name="connsiteX3" fmla="*/ 96410 w 1759584"/>
              <a:gd name="connsiteY3" fmla="*/ 2960939 h 2990181"/>
              <a:gd name="connsiteX4" fmla="*/ 1424 w 1759584"/>
              <a:gd name="connsiteY4" fmla="*/ 2938996 h 2990181"/>
              <a:gd name="connsiteX5" fmla="*/ 13 w 1759584"/>
              <a:gd name="connsiteY5" fmla="*/ 858319 h 2990181"/>
              <a:gd name="connsiteX0" fmla="*/ 13 w 1714478"/>
              <a:gd name="connsiteY0" fmla="*/ 858319 h 2990181"/>
              <a:gd name="connsiteX1" fmla="*/ 1317137 w 1714478"/>
              <a:gd name="connsiteY1" fmla="*/ 112472 h 2990181"/>
              <a:gd name="connsiteX2" fmla="*/ 1503572 w 1714478"/>
              <a:gd name="connsiteY2" fmla="*/ 1515045 h 2990181"/>
              <a:gd name="connsiteX3" fmla="*/ 96410 w 1714478"/>
              <a:gd name="connsiteY3" fmla="*/ 2960939 h 2990181"/>
              <a:gd name="connsiteX4" fmla="*/ 1424 w 1714478"/>
              <a:gd name="connsiteY4" fmla="*/ 2938996 h 2990181"/>
              <a:gd name="connsiteX5" fmla="*/ 13 w 1714478"/>
              <a:gd name="connsiteY5" fmla="*/ 858319 h 2990181"/>
              <a:gd name="connsiteX0" fmla="*/ 13 w 1755639"/>
              <a:gd name="connsiteY0" fmla="*/ 858319 h 2990181"/>
              <a:gd name="connsiteX1" fmla="*/ 1317137 w 1755639"/>
              <a:gd name="connsiteY1" fmla="*/ 112472 h 2990181"/>
              <a:gd name="connsiteX2" fmla="*/ 1503572 w 1755639"/>
              <a:gd name="connsiteY2" fmla="*/ 1515045 h 2990181"/>
              <a:gd name="connsiteX3" fmla="*/ 96410 w 1755639"/>
              <a:gd name="connsiteY3" fmla="*/ 2960939 h 2990181"/>
              <a:gd name="connsiteX4" fmla="*/ 1424 w 1755639"/>
              <a:gd name="connsiteY4" fmla="*/ 2938996 h 2990181"/>
              <a:gd name="connsiteX5" fmla="*/ 13 w 1755639"/>
              <a:gd name="connsiteY5" fmla="*/ 858319 h 2990181"/>
              <a:gd name="connsiteX0" fmla="*/ 13 w 1748972"/>
              <a:gd name="connsiteY0" fmla="*/ 858319 h 2990181"/>
              <a:gd name="connsiteX1" fmla="*/ 1317137 w 1748972"/>
              <a:gd name="connsiteY1" fmla="*/ 112472 h 2990181"/>
              <a:gd name="connsiteX2" fmla="*/ 1503572 w 1748972"/>
              <a:gd name="connsiteY2" fmla="*/ 1515045 h 2990181"/>
              <a:gd name="connsiteX3" fmla="*/ 96410 w 1748972"/>
              <a:gd name="connsiteY3" fmla="*/ 2960939 h 2990181"/>
              <a:gd name="connsiteX4" fmla="*/ 1424 w 1748972"/>
              <a:gd name="connsiteY4" fmla="*/ 2938996 h 2990181"/>
              <a:gd name="connsiteX5" fmla="*/ 13 w 1748972"/>
              <a:gd name="connsiteY5" fmla="*/ 858319 h 2990181"/>
              <a:gd name="connsiteX0" fmla="*/ 13 w 1754684"/>
              <a:gd name="connsiteY0" fmla="*/ 858319 h 2990181"/>
              <a:gd name="connsiteX1" fmla="*/ 1317137 w 1754684"/>
              <a:gd name="connsiteY1" fmla="*/ 112472 h 2990181"/>
              <a:gd name="connsiteX2" fmla="*/ 1503572 w 1754684"/>
              <a:gd name="connsiteY2" fmla="*/ 1515045 h 2990181"/>
              <a:gd name="connsiteX3" fmla="*/ 96410 w 1754684"/>
              <a:gd name="connsiteY3" fmla="*/ 2960939 h 2990181"/>
              <a:gd name="connsiteX4" fmla="*/ 1424 w 1754684"/>
              <a:gd name="connsiteY4" fmla="*/ 2938996 h 2990181"/>
              <a:gd name="connsiteX5" fmla="*/ 13 w 1754684"/>
              <a:gd name="connsiteY5" fmla="*/ 858319 h 2990181"/>
              <a:gd name="connsiteX0" fmla="*/ 13 w 1753730"/>
              <a:gd name="connsiteY0" fmla="*/ 858319 h 2990181"/>
              <a:gd name="connsiteX1" fmla="*/ 1317137 w 1753730"/>
              <a:gd name="connsiteY1" fmla="*/ 112472 h 2990181"/>
              <a:gd name="connsiteX2" fmla="*/ 1503572 w 1753730"/>
              <a:gd name="connsiteY2" fmla="*/ 1515045 h 2990181"/>
              <a:gd name="connsiteX3" fmla="*/ 96410 w 1753730"/>
              <a:gd name="connsiteY3" fmla="*/ 2960939 h 2990181"/>
              <a:gd name="connsiteX4" fmla="*/ 1424 w 1753730"/>
              <a:gd name="connsiteY4" fmla="*/ 2938996 h 2990181"/>
              <a:gd name="connsiteX5" fmla="*/ 13 w 1753730"/>
              <a:gd name="connsiteY5" fmla="*/ 858319 h 2990181"/>
              <a:gd name="connsiteX0" fmla="*/ 13 w 1700318"/>
              <a:gd name="connsiteY0" fmla="*/ 858319 h 2991855"/>
              <a:gd name="connsiteX1" fmla="*/ 1317137 w 1700318"/>
              <a:gd name="connsiteY1" fmla="*/ 112472 h 2991855"/>
              <a:gd name="connsiteX2" fmla="*/ 1503572 w 1700318"/>
              <a:gd name="connsiteY2" fmla="*/ 1515045 h 2991855"/>
              <a:gd name="connsiteX3" fmla="*/ 86941 w 1700318"/>
              <a:gd name="connsiteY3" fmla="*/ 2965672 h 2991855"/>
              <a:gd name="connsiteX4" fmla="*/ 1424 w 1700318"/>
              <a:gd name="connsiteY4" fmla="*/ 2938996 h 2991855"/>
              <a:gd name="connsiteX5" fmla="*/ 13 w 1700318"/>
              <a:gd name="connsiteY5" fmla="*/ 858319 h 2991855"/>
              <a:gd name="connsiteX0" fmla="*/ 13 w 1763120"/>
              <a:gd name="connsiteY0" fmla="*/ 858319 h 2991855"/>
              <a:gd name="connsiteX1" fmla="*/ 1317137 w 1763120"/>
              <a:gd name="connsiteY1" fmla="*/ 112472 h 2991855"/>
              <a:gd name="connsiteX2" fmla="*/ 1503572 w 1763120"/>
              <a:gd name="connsiteY2" fmla="*/ 1515045 h 2991855"/>
              <a:gd name="connsiteX3" fmla="*/ 86941 w 1763120"/>
              <a:gd name="connsiteY3" fmla="*/ 2965672 h 2991855"/>
              <a:gd name="connsiteX4" fmla="*/ 1424 w 1763120"/>
              <a:gd name="connsiteY4" fmla="*/ 2938996 h 2991855"/>
              <a:gd name="connsiteX5" fmla="*/ 13 w 1763120"/>
              <a:gd name="connsiteY5" fmla="*/ 858319 h 2991855"/>
              <a:gd name="connsiteX0" fmla="*/ 13 w 1745944"/>
              <a:gd name="connsiteY0" fmla="*/ 858319 h 2991855"/>
              <a:gd name="connsiteX1" fmla="*/ 1317137 w 1745944"/>
              <a:gd name="connsiteY1" fmla="*/ 112472 h 2991855"/>
              <a:gd name="connsiteX2" fmla="*/ 1503572 w 1745944"/>
              <a:gd name="connsiteY2" fmla="*/ 1515045 h 2991855"/>
              <a:gd name="connsiteX3" fmla="*/ 86941 w 1745944"/>
              <a:gd name="connsiteY3" fmla="*/ 2965672 h 2991855"/>
              <a:gd name="connsiteX4" fmla="*/ 1424 w 1745944"/>
              <a:gd name="connsiteY4" fmla="*/ 2938996 h 2991855"/>
              <a:gd name="connsiteX5" fmla="*/ 13 w 1745944"/>
              <a:gd name="connsiteY5" fmla="*/ 858319 h 2991855"/>
              <a:gd name="connsiteX0" fmla="*/ 13 w 1752593"/>
              <a:gd name="connsiteY0" fmla="*/ 858319 h 2991855"/>
              <a:gd name="connsiteX1" fmla="*/ 1317137 w 1752593"/>
              <a:gd name="connsiteY1" fmla="*/ 112472 h 2991855"/>
              <a:gd name="connsiteX2" fmla="*/ 1503572 w 1752593"/>
              <a:gd name="connsiteY2" fmla="*/ 1515045 h 2991855"/>
              <a:gd name="connsiteX3" fmla="*/ 86941 w 1752593"/>
              <a:gd name="connsiteY3" fmla="*/ 2965672 h 2991855"/>
              <a:gd name="connsiteX4" fmla="*/ 1424 w 1752593"/>
              <a:gd name="connsiteY4" fmla="*/ 2938996 h 2991855"/>
              <a:gd name="connsiteX5" fmla="*/ 13 w 1752593"/>
              <a:gd name="connsiteY5" fmla="*/ 858319 h 2991855"/>
              <a:gd name="connsiteX0" fmla="*/ 13 w 1752593"/>
              <a:gd name="connsiteY0" fmla="*/ 858319 h 2984818"/>
              <a:gd name="connsiteX1" fmla="*/ 1317137 w 1752593"/>
              <a:gd name="connsiteY1" fmla="*/ 112472 h 2984818"/>
              <a:gd name="connsiteX2" fmla="*/ 1503572 w 1752593"/>
              <a:gd name="connsiteY2" fmla="*/ 1515045 h 2984818"/>
              <a:gd name="connsiteX3" fmla="*/ 86941 w 1752593"/>
              <a:gd name="connsiteY3" fmla="*/ 2965672 h 2984818"/>
              <a:gd name="connsiteX4" fmla="*/ 1424 w 1752593"/>
              <a:gd name="connsiteY4" fmla="*/ 2938996 h 2984818"/>
              <a:gd name="connsiteX5" fmla="*/ 13 w 1752593"/>
              <a:gd name="connsiteY5" fmla="*/ 858319 h 2984818"/>
              <a:gd name="connsiteX0" fmla="*/ 13 w 1701062"/>
              <a:gd name="connsiteY0" fmla="*/ 858319 h 2994906"/>
              <a:gd name="connsiteX1" fmla="*/ 1317137 w 1701062"/>
              <a:gd name="connsiteY1" fmla="*/ 112472 h 2994906"/>
              <a:gd name="connsiteX2" fmla="*/ 1503572 w 1701062"/>
              <a:gd name="connsiteY2" fmla="*/ 1515045 h 2994906"/>
              <a:gd name="connsiteX3" fmla="*/ 75105 w 1701062"/>
              <a:gd name="connsiteY3" fmla="*/ 2986970 h 2994906"/>
              <a:gd name="connsiteX4" fmla="*/ 1424 w 1701062"/>
              <a:gd name="connsiteY4" fmla="*/ 2938996 h 2994906"/>
              <a:gd name="connsiteX5" fmla="*/ 13 w 1701062"/>
              <a:gd name="connsiteY5" fmla="*/ 858319 h 2994906"/>
              <a:gd name="connsiteX0" fmla="*/ 13 w 1700318"/>
              <a:gd name="connsiteY0" fmla="*/ 858319 h 2984818"/>
              <a:gd name="connsiteX1" fmla="*/ 1317137 w 1700318"/>
              <a:gd name="connsiteY1" fmla="*/ 112472 h 2984818"/>
              <a:gd name="connsiteX2" fmla="*/ 1503572 w 1700318"/>
              <a:gd name="connsiteY2" fmla="*/ 1515045 h 2984818"/>
              <a:gd name="connsiteX3" fmla="*/ 86941 w 1700318"/>
              <a:gd name="connsiteY3" fmla="*/ 2965672 h 2984818"/>
              <a:gd name="connsiteX4" fmla="*/ 1424 w 1700318"/>
              <a:gd name="connsiteY4" fmla="*/ 2938996 h 2984818"/>
              <a:gd name="connsiteX5" fmla="*/ 13 w 1700318"/>
              <a:gd name="connsiteY5" fmla="*/ 858319 h 2984818"/>
              <a:gd name="connsiteX0" fmla="*/ 13 w 1700318"/>
              <a:gd name="connsiteY0" fmla="*/ 858319 h 2984818"/>
              <a:gd name="connsiteX1" fmla="*/ 1317137 w 1700318"/>
              <a:gd name="connsiteY1" fmla="*/ 112472 h 2984818"/>
              <a:gd name="connsiteX2" fmla="*/ 1503572 w 1700318"/>
              <a:gd name="connsiteY2" fmla="*/ 1515045 h 2984818"/>
              <a:gd name="connsiteX3" fmla="*/ 86941 w 1700318"/>
              <a:gd name="connsiteY3" fmla="*/ 2965672 h 2984818"/>
              <a:gd name="connsiteX4" fmla="*/ 1424 w 1700318"/>
              <a:gd name="connsiteY4" fmla="*/ 2938996 h 2984818"/>
              <a:gd name="connsiteX5" fmla="*/ 13 w 1700318"/>
              <a:gd name="connsiteY5" fmla="*/ 858319 h 2984818"/>
              <a:gd name="connsiteX0" fmla="*/ 13 w 1699425"/>
              <a:gd name="connsiteY0" fmla="*/ 858319 h 3009727"/>
              <a:gd name="connsiteX1" fmla="*/ 1317137 w 1699425"/>
              <a:gd name="connsiteY1" fmla="*/ 112472 h 3009727"/>
              <a:gd name="connsiteX2" fmla="*/ 1503572 w 1699425"/>
              <a:gd name="connsiteY2" fmla="*/ 1515045 h 3009727"/>
              <a:gd name="connsiteX3" fmla="*/ 101144 w 1699425"/>
              <a:gd name="connsiteY3" fmla="*/ 3008269 h 3009727"/>
              <a:gd name="connsiteX4" fmla="*/ 1424 w 1699425"/>
              <a:gd name="connsiteY4" fmla="*/ 2938996 h 3009727"/>
              <a:gd name="connsiteX5" fmla="*/ 13 w 1699425"/>
              <a:gd name="connsiteY5" fmla="*/ 858319 h 3009727"/>
              <a:gd name="connsiteX0" fmla="*/ 13 w 1699425"/>
              <a:gd name="connsiteY0" fmla="*/ 858319 h 3045227"/>
              <a:gd name="connsiteX1" fmla="*/ 1317137 w 1699425"/>
              <a:gd name="connsiteY1" fmla="*/ 112472 h 3045227"/>
              <a:gd name="connsiteX2" fmla="*/ 1503572 w 1699425"/>
              <a:gd name="connsiteY2" fmla="*/ 1515045 h 3045227"/>
              <a:gd name="connsiteX3" fmla="*/ 101144 w 1699425"/>
              <a:gd name="connsiteY3" fmla="*/ 3008269 h 3045227"/>
              <a:gd name="connsiteX4" fmla="*/ 1424 w 1699425"/>
              <a:gd name="connsiteY4" fmla="*/ 2938996 h 3045227"/>
              <a:gd name="connsiteX5" fmla="*/ 13 w 1699425"/>
              <a:gd name="connsiteY5" fmla="*/ 858319 h 3045227"/>
              <a:gd name="connsiteX0" fmla="*/ 13 w 1698831"/>
              <a:gd name="connsiteY0" fmla="*/ 858319 h 3004841"/>
              <a:gd name="connsiteX1" fmla="*/ 1317137 w 1698831"/>
              <a:gd name="connsiteY1" fmla="*/ 112472 h 3004841"/>
              <a:gd name="connsiteX2" fmla="*/ 1503572 w 1698831"/>
              <a:gd name="connsiteY2" fmla="*/ 1515045 h 3004841"/>
              <a:gd name="connsiteX3" fmla="*/ 110613 w 1698831"/>
              <a:gd name="connsiteY3" fmla="*/ 2946741 h 3004841"/>
              <a:gd name="connsiteX4" fmla="*/ 1424 w 1698831"/>
              <a:gd name="connsiteY4" fmla="*/ 2938996 h 3004841"/>
              <a:gd name="connsiteX5" fmla="*/ 13 w 1698831"/>
              <a:gd name="connsiteY5" fmla="*/ 858319 h 3004841"/>
              <a:gd name="connsiteX0" fmla="*/ 13 w 1698831"/>
              <a:gd name="connsiteY0" fmla="*/ 858319 h 3007635"/>
              <a:gd name="connsiteX1" fmla="*/ 1317137 w 1698831"/>
              <a:gd name="connsiteY1" fmla="*/ 112472 h 3007635"/>
              <a:gd name="connsiteX2" fmla="*/ 1503572 w 1698831"/>
              <a:gd name="connsiteY2" fmla="*/ 1515045 h 3007635"/>
              <a:gd name="connsiteX3" fmla="*/ 110613 w 1698831"/>
              <a:gd name="connsiteY3" fmla="*/ 2946741 h 3007635"/>
              <a:gd name="connsiteX4" fmla="*/ 1424 w 1698831"/>
              <a:gd name="connsiteY4" fmla="*/ 2938996 h 3007635"/>
              <a:gd name="connsiteX5" fmla="*/ 13 w 1698831"/>
              <a:gd name="connsiteY5" fmla="*/ 858319 h 3007635"/>
              <a:gd name="connsiteX0" fmla="*/ 13 w 1698979"/>
              <a:gd name="connsiteY0" fmla="*/ 858319 h 3005098"/>
              <a:gd name="connsiteX1" fmla="*/ 1317137 w 1698979"/>
              <a:gd name="connsiteY1" fmla="*/ 112472 h 3005098"/>
              <a:gd name="connsiteX2" fmla="*/ 1503572 w 1698979"/>
              <a:gd name="connsiteY2" fmla="*/ 1515045 h 3005098"/>
              <a:gd name="connsiteX3" fmla="*/ 108246 w 1698979"/>
              <a:gd name="connsiteY3" fmla="*/ 2942008 h 3005098"/>
              <a:gd name="connsiteX4" fmla="*/ 1424 w 1698979"/>
              <a:gd name="connsiteY4" fmla="*/ 2938996 h 3005098"/>
              <a:gd name="connsiteX5" fmla="*/ 13 w 1698979"/>
              <a:gd name="connsiteY5" fmla="*/ 858319 h 3005098"/>
              <a:gd name="connsiteX0" fmla="*/ 13 w 1701077"/>
              <a:gd name="connsiteY0" fmla="*/ 858319 h 3022766"/>
              <a:gd name="connsiteX1" fmla="*/ 1317137 w 1701077"/>
              <a:gd name="connsiteY1" fmla="*/ 112472 h 3022766"/>
              <a:gd name="connsiteX2" fmla="*/ 1503572 w 1701077"/>
              <a:gd name="connsiteY2" fmla="*/ 1515045 h 3022766"/>
              <a:gd name="connsiteX3" fmla="*/ 74876 w 1701077"/>
              <a:gd name="connsiteY3" fmla="*/ 2972033 h 3022766"/>
              <a:gd name="connsiteX4" fmla="*/ 1424 w 1701077"/>
              <a:gd name="connsiteY4" fmla="*/ 2938996 h 3022766"/>
              <a:gd name="connsiteX5" fmla="*/ 13 w 1701077"/>
              <a:gd name="connsiteY5" fmla="*/ 858319 h 3022766"/>
              <a:gd name="connsiteX0" fmla="*/ 13 w 1701077"/>
              <a:gd name="connsiteY0" fmla="*/ 858319 h 2995037"/>
              <a:gd name="connsiteX1" fmla="*/ 1317137 w 1701077"/>
              <a:gd name="connsiteY1" fmla="*/ 112472 h 2995037"/>
              <a:gd name="connsiteX2" fmla="*/ 1503572 w 1701077"/>
              <a:gd name="connsiteY2" fmla="*/ 1515045 h 2995037"/>
              <a:gd name="connsiteX3" fmla="*/ 74876 w 1701077"/>
              <a:gd name="connsiteY3" fmla="*/ 2972033 h 2995037"/>
              <a:gd name="connsiteX4" fmla="*/ 1424 w 1701077"/>
              <a:gd name="connsiteY4" fmla="*/ 2938996 h 2995037"/>
              <a:gd name="connsiteX5" fmla="*/ 13 w 1701077"/>
              <a:gd name="connsiteY5" fmla="*/ 858319 h 2995037"/>
              <a:gd name="connsiteX0" fmla="*/ 13 w 1760182"/>
              <a:gd name="connsiteY0" fmla="*/ 858319 h 2995037"/>
              <a:gd name="connsiteX1" fmla="*/ 1317137 w 1760182"/>
              <a:gd name="connsiteY1" fmla="*/ 112472 h 2995037"/>
              <a:gd name="connsiteX2" fmla="*/ 1503572 w 1760182"/>
              <a:gd name="connsiteY2" fmla="*/ 1515045 h 2995037"/>
              <a:gd name="connsiteX3" fmla="*/ 74876 w 1760182"/>
              <a:gd name="connsiteY3" fmla="*/ 2972033 h 2995037"/>
              <a:gd name="connsiteX4" fmla="*/ 1424 w 1760182"/>
              <a:gd name="connsiteY4" fmla="*/ 2938996 h 2995037"/>
              <a:gd name="connsiteX5" fmla="*/ 13 w 1760182"/>
              <a:gd name="connsiteY5" fmla="*/ 858319 h 2995037"/>
              <a:gd name="connsiteX0" fmla="*/ 13 w 1760182"/>
              <a:gd name="connsiteY0" fmla="*/ 858319 h 3003213"/>
              <a:gd name="connsiteX1" fmla="*/ 1317137 w 1760182"/>
              <a:gd name="connsiteY1" fmla="*/ 112472 h 3003213"/>
              <a:gd name="connsiteX2" fmla="*/ 1503572 w 1760182"/>
              <a:gd name="connsiteY2" fmla="*/ 1515045 h 3003213"/>
              <a:gd name="connsiteX3" fmla="*/ 74876 w 1760182"/>
              <a:gd name="connsiteY3" fmla="*/ 2972033 h 3003213"/>
              <a:gd name="connsiteX4" fmla="*/ 1424 w 1760182"/>
              <a:gd name="connsiteY4" fmla="*/ 2938996 h 3003213"/>
              <a:gd name="connsiteX5" fmla="*/ 13 w 1760182"/>
              <a:gd name="connsiteY5" fmla="*/ 858319 h 3003213"/>
              <a:gd name="connsiteX0" fmla="*/ 13 w 1699398"/>
              <a:gd name="connsiteY0" fmla="*/ 858319 h 2990793"/>
              <a:gd name="connsiteX1" fmla="*/ 1317137 w 1699398"/>
              <a:gd name="connsiteY1" fmla="*/ 112472 h 2990793"/>
              <a:gd name="connsiteX2" fmla="*/ 1503572 w 1699398"/>
              <a:gd name="connsiteY2" fmla="*/ 1515045 h 2990793"/>
              <a:gd name="connsiteX3" fmla="*/ 101572 w 1699398"/>
              <a:gd name="connsiteY3" fmla="*/ 2947397 h 2990793"/>
              <a:gd name="connsiteX4" fmla="*/ 1424 w 1699398"/>
              <a:gd name="connsiteY4" fmla="*/ 2938996 h 2990793"/>
              <a:gd name="connsiteX5" fmla="*/ 13 w 1699398"/>
              <a:gd name="connsiteY5" fmla="*/ 858319 h 2990793"/>
              <a:gd name="connsiteX0" fmla="*/ 13 w 1699398"/>
              <a:gd name="connsiteY0" fmla="*/ 858319 h 2992199"/>
              <a:gd name="connsiteX1" fmla="*/ 1317137 w 1699398"/>
              <a:gd name="connsiteY1" fmla="*/ 112472 h 2992199"/>
              <a:gd name="connsiteX2" fmla="*/ 1503572 w 1699398"/>
              <a:gd name="connsiteY2" fmla="*/ 1515045 h 2992199"/>
              <a:gd name="connsiteX3" fmla="*/ 101572 w 1699398"/>
              <a:gd name="connsiteY3" fmla="*/ 2947397 h 2992199"/>
              <a:gd name="connsiteX4" fmla="*/ 1424 w 1699398"/>
              <a:gd name="connsiteY4" fmla="*/ 2938996 h 2992199"/>
              <a:gd name="connsiteX5" fmla="*/ 13 w 1699398"/>
              <a:gd name="connsiteY5" fmla="*/ 858319 h 2992199"/>
              <a:gd name="connsiteX0" fmla="*/ 13 w 1701077"/>
              <a:gd name="connsiteY0" fmla="*/ 858319 h 3006121"/>
              <a:gd name="connsiteX1" fmla="*/ 1317137 w 1701077"/>
              <a:gd name="connsiteY1" fmla="*/ 112472 h 3006121"/>
              <a:gd name="connsiteX2" fmla="*/ 1503572 w 1701077"/>
              <a:gd name="connsiteY2" fmla="*/ 1515045 h 3006121"/>
              <a:gd name="connsiteX3" fmla="*/ 74876 w 1701077"/>
              <a:gd name="connsiteY3" fmla="*/ 2974086 h 3006121"/>
              <a:gd name="connsiteX4" fmla="*/ 1424 w 1701077"/>
              <a:gd name="connsiteY4" fmla="*/ 2938996 h 3006121"/>
              <a:gd name="connsiteX5" fmla="*/ 13 w 1701077"/>
              <a:gd name="connsiteY5" fmla="*/ 858319 h 3006121"/>
              <a:gd name="connsiteX0" fmla="*/ 13 w 1701077"/>
              <a:gd name="connsiteY0" fmla="*/ 858319 h 2994525"/>
              <a:gd name="connsiteX1" fmla="*/ 1317137 w 1701077"/>
              <a:gd name="connsiteY1" fmla="*/ 112472 h 2994525"/>
              <a:gd name="connsiteX2" fmla="*/ 1503572 w 1701077"/>
              <a:gd name="connsiteY2" fmla="*/ 1515045 h 2994525"/>
              <a:gd name="connsiteX3" fmla="*/ 74876 w 1701077"/>
              <a:gd name="connsiteY3" fmla="*/ 2974086 h 2994525"/>
              <a:gd name="connsiteX4" fmla="*/ 1424 w 1701077"/>
              <a:gd name="connsiteY4" fmla="*/ 2938996 h 2994525"/>
              <a:gd name="connsiteX5" fmla="*/ 13 w 1701077"/>
              <a:gd name="connsiteY5" fmla="*/ 858319 h 2994525"/>
              <a:gd name="connsiteX0" fmla="*/ 13 w 1761447"/>
              <a:gd name="connsiteY0" fmla="*/ 858319 h 2994525"/>
              <a:gd name="connsiteX1" fmla="*/ 1317137 w 1761447"/>
              <a:gd name="connsiteY1" fmla="*/ 112472 h 2994525"/>
              <a:gd name="connsiteX2" fmla="*/ 1503572 w 1761447"/>
              <a:gd name="connsiteY2" fmla="*/ 1515045 h 2994525"/>
              <a:gd name="connsiteX3" fmla="*/ 74876 w 1761447"/>
              <a:gd name="connsiteY3" fmla="*/ 2974086 h 2994525"/>
              <a:gd name="connsiteX4" fmla="*/ 1424 w 1761447"/>
              <a:gd name="connsiteY4" fmla="*/ 2938996 h 2994525"/>
              <a:gd name="connsiteX5" fmla="*/ 13 w 1761447"/>
              <a:gd name="connsiteY5" fmla="*/ 858319 h 2994525"/>
              <a:gd name="connsiteX0" fmla="*/ 13 w 1753976"/>
              <a:gd name="connsiteY0" fmla="*/ 858319 h 2994525"/>
              <a:gd name="connsiteX1" fmla="*/ 1317137 w 1753976"/>
              <a:gd name="connsiteY1" fmla="*/ 112472 h 2994525"/>
              <a:gd name="connsiteX2" fmla="*/ 1503572 w 1753976"/>
              <a:gd name="connsiteY2" fmla="*/ 1515045 h 2994525"/>
              <a:gd name="connsiteX3" fmla="*/ 74876 w 1753976"/>
              <a:gd name="connsiteY3" fmla="*/ 2974086 h 2994525"/>
              <a:gd name="connsiteX4" fmla="*/ 1424 w 1753976"/>
              <a:gd name="connsiteY4" fmla="*/ 2938996 h 2994525"/>
              <a:gd name="connsiteX5" fmla="*/ 13 w 1753976"/>
              <a:gd name="connsiteY5" fmla="*/ 858319 h 2994525"/>
              <a:gd name="connsiteX0" fmla="*/ 13 w 1753976"/>
              <a:gd name="connsiteY0" fmla="*/ 858319 h 2994525"/>
              <a:gd name="connsiteX1" fmla="*/ 1317137 w 1753976"/>
              <a:gd name="connsiteY1" fmla="*/ 112472 h 2994525"/>
              <a:gd name="connsiteX2" fmla="*/ 1503572 w 1753976"/>
              <a:gd name="connsiteY2" fmla="*/ 1515045 h 2994525"/>
              <a:gd name="connsiteX3" fmla="*/ 74876 w 1753976"/>
              <a:gd name="connsiteY3" fmla="*/ 2974086 h 2994525"/>
              <a:gd name="connsiteX4" fmla="*/ 1424 w 1753976"/>
              <a:gd name="connsiteY4" fmla="*/ 2938996 h 2994525"/>
              <a:gd name="connsiteX5" fmla="*/ 13 w 1753976"/>
              <a:gd name="connsiteY5" fmla="*/ 858319 h 2994525"/>
              <a:gd name="connsiteX0" fmla="*/ 13 w 1753976"/>
              <a:gd name="connsiteY0" fmla="*/ 858319 h 2995168"/>
              <a:gd name="connsiteX1" fmla="*/ 1317137 w 1753976"/>
              <a:gd name="connsiteY1" fmla="*/ 112472 h 2995168"/>
              <a:gd name="connsiteX2" fmla="*/ 1503572 w 1753976"/>
              <a:gd name="connsiteY2" fmla="*/ 1515045 h 2995168"/>
              <a:gd name="connsiteX3" fmla="*/ 74876 w 1753976"/>
              <a:gd name="connsiteY3" fmla="*/ 2974086 h 2995168"/>
              <a:gd name="connsiteX4" fmla="*/ 1424 w 1753976"/>
              <a:gd name="connsiteY4" fmla="*/ 2938996 h 2995168"/>
              <a:gd name="connsiteX5" fmla="*/ 13 w 1753976"/>
              <a:gd name="connsiteY5" fmla="*/ 858319 h 2995168"/>
              <a:gd name="connsiteX0" fmla="*/ 13 w 1753976"/>
              <a:gd name="connsiteY0" fmla="*/ 858319 h 2992234"/>
              <a:gd name="connsiteX1" fmla="*/ 1317137 w 1753976"/>
              <a:gd name="connsiteY1" fmla="*/ 112472 h 2992234"/>
              <a:gd name="connsiteX2" fmla="*/ 1503572 w 1753976"/>
              <a:gd name="connsiteY2" fmla="*/ 1515045 h 2992234"/>
              <a:gd name="connsiteX3" fmla="*/ 74876 w 1753976"/>
              <a:gd name="connsiteY3" fmla="*/ 2974086 h 2992234"/>
              <a:gd name="connsiteX4" fmla="*/ 1424 w 1753976"/>
              <a:gd name="connsiteY4" fmla="*/ 2938996 h 2992234"/>
              <a:gd name="connsiteX5" fmla="*/ 13 w 1753976"/>
              <a:gd name="connsiteY5" fmla="*/ 858319 h 29922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53976" h="2992234">
                <a:moveTo>
                  <a:pt x="13" y="858319"/>
                </a:moveTo>
                <a:cubicBezTo>
                  <a:pt x="-3215" y="318604"/>
                  <a:pt x="626118" y="-245536"/>
                  <a:pt x="1317137" y="112472"/>
                </a:cubicBezTo>
                <a:cubicBezTo>
                  <a:pt x="1885310" y="453554"/>
                  <a:pt x="1845745" y="1161058"/>
                  <a:pt x="1503572" y="1515045"/>
                </a:cubicBezTo>
                <a:cubicBezTo>
                  <a:pt x="1211764" y="1816929"/>
                  <a:pt x="93646" y="2954272"/>
                  <a:pt x="74876" y="2974086"/>
                </a:cubicBezTo>
                <a:cubicBezTo>
                  <a:pt x="56106" y="2993900"/>
                  <a:pt x="3595" y="3013732"/>
                  <a:pt x="1424" y="2938996"/>
                </a:cubicBezTo>
                <a:cubicBezTo>
                  <a:pt x="895" y="2572359"/>
                  <a:pt x="3241" y="1398034"/>
                  <a:pt x="13" y="85831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s-ES_tradnl" dirty="0"/>
          </a:p>
        </p:txBody>
      </p:sp>
      <p:sp>
        <p:nvSpPr>
          <p:cNvPr id="6" name="Marcador de posición de imagen 4">
            <a:extLst>
              <a:ext uri="{FF2B5EF4-FFF2-40B4-BE49-F238E27FC236}">
                <a16:creationId xmlns:a16="http://schemas.microsoft.com/office/drawing/2014/main" id="{418A1D84-B11B-7043-8271-321ACCA9684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251936" y="1327310"/>
            <a:ext cx="2648283" cy="4518780"/>
          </a:xfrm>
          <a:custGeom>
            <a:avLst/>
            <a:gdLst>
              <a:gd name="connsiteX0" fmla="*/ 2432050 w 4864100"/>
              <a:gd name="connsiteY0" fmla="*/ 1423800 h 5695200"/>
              <a:gd name="connsiteX1" fmla="*/ 2432050 w 4864100"/>
              <a:gd name="connsiteY1" fmla="*/ 5695200 h 5695200"/>
              <a:gd name="connsiteX2" fmla="*/ 2432050 w 4864100"/>
              <a:gd name="connsiteY2" fmla="*/ 1423800 h 5695200"/>
              <a:gd name="connsiteX0" fmla="*/ 2217600 w 4435199"/>
              <a:gd name="connsiteY0" fmla="*/ 632423 h 4903823"/>
              <a:gd name="connsiteX1" fmla="*/ 2217600 w 4435199"/>
              <a:gd name="connsiteY1" fmla="*/ 4903823 h 4903823"/>
              <a:gd name="connsiteX2" fmla="*/ 2217600 w 4435199"/>
              <a:gd name="connsiteY2" fmla="*/ 632423 h 4903823"/>
              <a:gd name="connsiteX0" fmla="*/ 2217600 w 2259560"/>
              <a:gd name="connsiteY0" fmla="*/ 632423 h 4903823"/>
              <a:gd name="connsiteX1" fmla="*/ 2217600 w 2259560"/>
              <a:gd name="connsiteY1" fmla="*/ 4903823 h 4903823"/>
              <a:gd name="connsiteX2" fmla="*/ 2217600 w 2259560"/>
              <a:gd name="connsiteY2" fmla="*/ 632423 h 4903823"/>
              <a:gd name="connsiteX0" fmla="*/ 2217600 w 2238943"/>
              <a:gd name="connsiteY0" fmla="*/ 632423 h 4903823"/>
              <a:gd name="connsiteX1" fmla="*/ 2217600 w 2238943"/>
              <a:gd name="connsiteY1" fmla="*/ 4903823 h 4903823"/>
              <a:gd name="connsiteX2" fmla="*/ 2217600 w 2238943"/>
              <a:gd name="connsiteY2" fmla="*/ 632423 h 4903823"/>
              <a:gd name="connsiteX0" fmla="*/ 2216202 w 2237545"/>
              <a:gd name="connsiteY0" fmla="*/ 219464 h 4495351"/>
              <a:gd name="connsiteX1" fmla="*/ 2216202 w 2237545"/>
              <a:gd name="connsiteY1" fmla="*/ 4490864 h 4495351"/>
              <a:gd name="connsiteX2" fmla="*/ 0 w 2237545"/>
              <a:gd name="connsiteY2" fmla="*/ 1021473 h 4495351"/>
              <a:gd name="connsiteX3" fmla="*/ 2216202 w 2237545"/>
              <a:gd name="connsiteY3" fmla="*/ 219464 h 4495351"/>
              <a:gd name="connsiteX0" fmla="*/ 2218054 w 2239397"/>
              <a:gd name="connsiteY0" fmla="*/ 219464 h 4872422"/>
              <a:gd name="connsiteX1" fmla="*/ 2218054 w 2239397"/>
              <a:gd name="connsiteY1" fmla="*/ 4490864 h 4872422"/>
              <a:gd name="connsiteX2" fmla="*/ 1843352 w 2239397"/>
              <a:gd name="connsiteY2" fmla="*/ 4272672 h 4872422"/>
              <a:gd name="connsiteX3" fmla="*/ 1852 w 2239397"/>
              <a:gd name="connsiteY3" fmla="*/ 1021473 h 4872422"/>
              <a:gd name="connsiteX4" fmla="*/ 2218054 w 2239397"/>
              <a:gd name="connsiteY4" fmla="*/ 219464 h 4872422"/>
              <a:gd name="connsiteX0" fmla="*/ 2303891 w 2325234"/>
              <a:gd name="connsiteY0" fmla="*/ 219464 h 4872422"/>
              <a:gd name="connsiteX1" fmla="*/ 2303891 w 2325234"/>
              <a:gd name="connsiteY1" fmla="*/ 4490864 h 4872422"/>
              <a:gd name="connsiteX2" fmla="*/ 1929189 w 2325234"/>
              <a:gd name="connsiteY2" fmla="*/ 4272672 h 4872422"/>
              <a:gd name="connsiteX3" fmla="*/ 587749 w 2325234"/>
              <a:gd name="connsiteY3" fmla="*/ 2272196 h 4872422"/>
              <a:gd name="connsiteX4" fmla="*/ 87689 w 2325234"/>
              <a:gd name="connsiteY4" fmla="*/ 1021473 h 4872422"/>
              <a:gd name="connsiteX5" fmla="*/ 2303891 w 2325234"/>
              <a:gd name="connsiteY5" fmla="*/ 219464 h 4872422"/>
              <a:gd name="connsiteX0" fmla="*/ 2303891 w 2475206"/>
              <a:gd name="connsiteY0" fmla="*/ 238803 h 5082435"/>
              <a:gd name="connsiteX1" fmla="*/ 2324987 w 2475206"/>
              <a:gd name="connsiteY1" fmla="*/ 4779604 h 5082435"/>
              <a:gd name="connsiteX2" fmla="*/ 1929189 w 2475206"/>
              <a:gd name="connsiteY2" fmla="*/ 4292011 h 5082435"/>
              <a:gd name="connsiteX3" fmla="*/ 587749 w 2475206"/>
              <a:gd name="connsiteY3" fmla="*/ 2291535 h 5082435"/>
              <a:gd name="connsiteX4" fmla="*/ 87689 w 2475206"/>
              <a:gd name="connsiteY4" fmla="*/ 1040812 h 5082435"/>
              <a:gd name="connsiteX5" fmla="*/ 2303891 w 2475206"/>
              <a:gd name="connsiteY5" fmla="*/ 238803 h 5082435"/>
              <a:gd name="connsiteX0" fmla="*/ 2303891 w 2475206"/>
              <a:gd name="connsiteY0" fmla="*/ 240665 h 5104077"/>
              <a:gd name="connsiteX1" fmla="*/ 2324987 w 2475206"/>
              <a:gd name="connsiteY1" fmla="*/ 4807370 h 5104077"/>
              <a:gd name="connsiteX2" fmla="*/ 1929189 w 2475206"/>
              <a:gd name="connsiteY2" fmla="*/ 4293873 h 5104077"/>
              <a:gd name="connsiteX3" fmla="*/ 587749 w 2475206"/>
              <a:gd name="connsiteY3" fmla="*/ 2293397 h 5104077"/>
              <a:gd name="connsiteX4" fmla="*/ 87689 w 2475206"/>
              <a:gd name="connsiteY4" fmla="*/ 1042674 h 5104077"/>
              <a:gd name="connsiteX5" fmla="*/ 2303891 w 2475206"/>
              <a:gd name="connsiteY5" fmla="*/ 240665 h 5104077"/>
              <a:gd name="connsiteX0" fmla="*/ 2303891 w 2475206"/>
              <a:gd name="connsiteY0" fmla="*/ 240665 h 4905038"/>
              <a:gd name="connsiteX1" fmla="*/ 2324987 w 2475206"/>
              <a:gd name="connsiteY1" fmla="*/ 4807370 h 4905038"/>
              <a:gd name="connsiteX2" fmla="*/ 1929189 w 2475206"/>
              <a:gd name="connsiteY2" fmla="*/ 4293873 h 4905038"/>
              <a:gd name="connsiteX3" fmla="*/ 587749 w 2475206"/>
              <a:gd name="connsiteY3" fmla="*/ 2293397 h 4905038"/>
              <a:gd name="connsiteX4" fmla="*/ 87689 w 2475206"/>
              <a:gd name="connsiteY4" fmla="*/ 1042674 h 4905038"/>
              <a:gd name="connsiteX5" fmla="*/ 2303891 w 2475206"/>
              <a:gd name="connsiteY5" fmla="*/ 240665 h 4905038"/>
              <a:gd name="connsiteX0" fmla="*/ 2303891 w 2475206"/>
              <a:gd name="connsiteY0" fmla="*/ 240665 h 5162840"/>
              <a:gd name="connsiteX1" fmla="*/ 2324987 w 2475206"/>
              <a:gd name="connsiteY1" fmla="*/ 4807370 h 5162840"/>
              <a:gd name="connsiteX2" fmla="*/ 2224542 w 2475206"/>
              <a:gd name="connsiteY2" fmla="*/ 4868940 h 5162840"/>
              <a:gd name="connsiteX3" fmla="*/ 587749 w 2475206"/>
              <a:gd name="connsiteY3" fmla="*/ 2293397 h 5162840"/>
              <a:gd name="connsiteX4" fmla="*/ 87689 w 2475206"/>
              <a:gd name="connsiteY4" fmla="*/ 1042674 h 5162840"/>
              <a:gd name="connsiteX5" fmla="*/ 2303891 w 2475206"/>
              <a:gd name="connsiteY5" fmla="*/ 240665 h 5162840"/>
              <a:gd name="connsiteX0" fmla="*/ 2303891 w 2475206"/>
              <a:gd name="connsiteY0" fmla="*/ 240665 h 4894959"/>
              <a:gd name="connsiteX1" fmla="*/ 2324987 w 2475206"/>
              <a:gd name="connsiteY1" fmla="*/ 4807370 h 4894959"/>
              <a:gd name="connsiteX2" fmla="*/ 2224542 w 2475206"/>
              <a:gd name="connsiteY2" fmla="*/ 4868940 h 4894959"/>
              <a:gd name="connsiteX3" fmla="*/ 587749 w 2475206"/>
              <a:gd name="connsiteY3" fmla="*/ 2293397 h 4894959"/>
              <a:gd name="connsiteX4" fmla="*/ 87689 w 2475206"/>
              <a:gd name="connsiteY4" fmla="*/ 1042674 h 4894959"/>
              <a:gd name="connsiteX5" fmla="*/ 2303891 w 2475206"/>
              <a:gd name="connsiteY5" fmla="*/ 240665 h 4894959"/>
              <a:gd name="connsiteX0" fmla="*/ 2303891 w 2475206"/>
              <a:gd name="connsiteY0" fmla="*/ 240665 h 4893879"/>
              <a:gd name="connsiteX1" fmla="*/ 2324987 w 2475206"/>
              <a:gd name="connsiteY1" fmla="*/ 4807370 h 4893879"/>
              <a:gd name="connsiteX2" fmla="*/ 2220323 w 2475206"/>
              <a:gd name="connsiteY2" fmla="*/ 4863759 h 4893879"/>
              <a:gd name="connsiteX3" fmla="*/ 587749 w 2475206"/>
              <a:gd name="connsiteY3" fmla="*/ 2293397 h 4893879"/>
              <a:gd name="connsiteX4" fmla="*/ 87689 w 2475206"/>
              <a:gd name="connsiteY4" fmla="*/ 1042674 h 4893879"/>
              <a:gd name="connsiteX5" fmla="*/ 2303891 w 2475206"/>
              <a:gd name="connsiteY5" fmla="*/ 240665 h 4893879"/>
              <a:gd name="connsiteX0" fmla="*/ 2303891 w 2475206"/>
              <a:gd name="connsiteY0" fmla="*/ 240665 h 4925253"/>
              <a:gd name="connsiteX1" fmla="*/ 2324987 w 2475206"/>
              <a:gd name="connsiteY1" fmla="*/ 4807370 h 4925253"/>
              <a:gd name="connsiteX2" fmla="*/ 2220323 w 2475206"/>
              <a:gd name="connsiteY2" fmla="*/ 4863759 h 4925253"/>
              <a:gd name="connsiteX3" fmla="*/ 587749 w 2475206"/>
              <a:gd name="connsiteY3" fmla="*/ 2293397 h 4925253"/>
              <a:gd name="connsiteX4" fmla="*/ 87689 w 2475206"/>
              <a:gd name="connsiteY4" fmla="*/ 1042674 h 4925253"/>
              <a:gd name="connsiteX5" fmla="*/ 2303891 w 2475206"/>
              <a:gd name="connsiteY5" fmla="*/ 240665 h 4925253"/>
              <a:gd name="connsiteX0" fmla="*/ 2303891 w 2475206"/>
              <a:gd name="connsiteY0" fmla="*/ 240665 h 4894595"/>
              <a:gd name="connsiteX1" fmla="*/ 2324987 w 2475206"/>
              <a:gd name="connsiteY1" fmla="*/ 4807370 h 4894595"/>
              <a:gd name="connsiteX2" fmla="*/ 2220323 w 2475206"/>
              <a:gd name="connsiteY2" fmla="*/ 4863759 h 4894595"/>
              <a:gd name="connsiteX3" fmla="*/ 587749 w 2475206"/>
              <a:gd name="connsiteY3" fmla="*/ 2293397 h 4894595"/>
              <a:gd name="connsiteX4" fmla="*/ 87689 w 2475206"/>
              <a:gd name="connsiteY4" fmla="*/ 1042674 h 4894595"/>
              <a:gd name="connsiteX5" fmla="*/ 2303891 w 2475206"/>
              <a:gd name="connsiteY5" fmla="*/ 240665 h 4894595"/>
              <a:gd name="connsiteX0" fmla="*/ 2348673 w 2519988"/>
              <a:gd name="connsiteY0" fmla="*/ 240665 h 4894595"/>
              <a:gd name="connsiteX1" fmla="*/ 2369769 w 2519988"/>
              <a:gd name="connsiteY1" fmla="*/ 4807370 h 4894595"/>
              <a:gd name="connsiteX2" fmla="*/ 2265105 w 2519988"/>
              <a:gd name="connsiteY2" fmla="*/ 4863759 h 4894595"/>
              <a:gd name="connsiteX3" fmla="*/ 375151 w 2519988"/>
              <a:gd name="connsiteY3" fmla="*/ 2495447 h 4894595"/>
              <a:gd name="connsiteX4" fmla="*/ 132471 w 2519988"/>
              <a:gd name="connsiteY4" fmla="*/ 1042674 h 4894595"/>
              <a:gd name="connsiteX5" fmla="*/ 2348673 w 2519988"/>
              <a:gd name="connsiteY5" fmla="*/ 240665 h 4894595"/>
              <a:gd name="connsiteX0" fmla="*/ 2348673 w 2519988"/>
              <a:gd name="connsiteY0" fmla="*/ 240665 h 4894595"/>
              <a:gd name="connsiteX1" fmla="*/ 2369769 w 2519988"/>
              <a:gd name="connsiteY1" fmla="*/ 4807370 h 4894595"/>
              <a:gd name="connsiteX2" fmla="*/ 2265105 w 2519988"/>
              <a:gd name="connsiteY2" fmla="*/ 4863759 h 4894595"/>
              <a:gd name="connsiteX3" fmla="*/ 375151 w 2519988"/>
              <a:gd name="connsiteY3" fmla="*/ 2490015 h 4894595"/>
              <a:gd name="connsiteX4" fmla="*/ 132471 w 2519988"/>
              <a:gd name="connsiteY4" fmla="*/ 1042674 h 4894595"/>
              <a:gd name="connsiteX5" fmla="*/ 2348673 w 2519988"/>
              <a:gd name="connsiteY5" fmla="*/ 240665 h 4894595"/>
              <a:gd name="connsiteX0" fmla="*/ 2421455 w 2599645"/>
              <a:gd name="connsiteY0" fmla="*/ 164761 h 4818691"/>
              <a:gd name="connsiteX1" fmla="*/ 2442551 w 2599645"/>
              <a:gd name="connsiteY1" fmla="*/ 4731466 h 4818691"/>
              <a:gd name="connsiteX2" fmla="*/ 2337887 w 2599645"/>
              <a:gd name="connsiteY2" fmla="*/ 4787855 h 4818691"/>
              <a:gd name="connsiteX3" fmla="*/ 447933 w 2599645"/>
              <a:gd name="connsiteY3" fmla="*/ 2414111 h 4818691"/>
              <a:gd name="connsiteX4" fmla="*/ 112340 w 2599645"/>
              <a:gd name="connsiteY4" fmla="*/ 1330756 h 4818691"/>
              <a:gd name="connsiteX5" fmla="*/ 2421455 w 2599645"/>
              <a:gd name="connsiteY5" fmla="*/ 164761 h 4818691"/>
              <a:gd name="connsiteX0" fmla="*/ 2416076 w 2593775"/>
              <a:gd name="connsiteY0" fmla="*/ 164295 h 4818225"/>
              <a:gd name="connsiteX1" fmla="*/ 2437172 w 2593775"/>
              <a:gd name="connsiteY1" fmla="*/ 4731000 h 4818225"/>
              <a:gd name="connsiteX2" fmla="*/ 2332508 w 2593775"/>
              <a:gd name="connsiteY2" fmla="*/ 4787389 h 4818225"/>
              <a:gd name="connsiteX3" fmla="*/ 442554 w 2593775"/>
              <a:gd name="connsiteY3" fmla="*/ 2413645 h 4818225"/>
              <a:gd name="connsiteX4" fmla="*/ 113598 w 2593775"/>
              <a:gd name="connsiteY4" fmla="*/ 1333006 h 4818225"/>
              <a:gd name="connsiteX5" fmla="*/ 2416076 w 2593775"/>
              <a:gd name="connsiteY5" fmla="*/ 164295 h 4818225"/>
              <a:gd name="connsiteX0" fmla="*/ 2059909 w 2437172"/>
              <a:gd name="connsiteY0" fmla="*/ 171220 h 4762674"/>
              <a:gd name="connsiteX1" fmla="*/ 2437172 w 2437172"/>
              <a:gd name="connsiteY1" fmla="*/ 4675449 h 4762674"/>
              <a:gd name="connsiteX2" fmla="*/ 2332508 w 2437172"/>
              <a:gd name="connsiteY2" fmla="*/ 4731838 h 4762674"/>
              <a:gd name="connsiteX3" fmla="*/ 442554 w 2437172"/>
              <a:gd name="connsiteY3" fmla="*/ 2358094 h 4762674"/>
              <a:gd name="connsiteX4" fmla="*/ 113598 w 2437172"/>
              <a:gd name="connsiteY4" fmla="*/ 1277455 h 4762674"/>
              <a:gd name="connsiteX5" fmla="*/ 2059909 w 2437172"/>
              <a:gd name="connsiteY5" fmla="*/ 171220 h 4762674"/>
              <a:gd name="connsiteX0" fmla="*/ 1757412 w 2134675"/>
              <a:gd name="connsiteY0" fmla="*/ 598810 h 5190264"/>
              <a:gd name="connsiteX1" fmla="*/ 2134675 w 2134675"/>
              <a:gd name="connsiteY1" fmla="*/ 5103039 h 5190264"/>
              <a:gd name="connsiteX2" fmla="*/ 2030011 w 2134675"/>
              <a:gd name="connsiteY2" fmla="*/ 5159428 h 5190264"/>
              <a:gd name="connsiteX3" fmla="*/ 140057 w 2134675"/>
              <a:gd name="connsiteY3" fmla="*/ 2785684 h 5190264"/>
              <a:gd name="connsiteX4" fmla="*/ 371574 w 2134675"/>
              <a:gd name="connsiteY4" fmla="*/ 511011 h 5190264"/>
              <a:gd name="connsiteX5" fmla="*/ 1757412 w 2134675"/>
              <a:gd name="connsiteY5" fmla="*/ 598810 h 5190264"/>
              <a:gd name="connsiteX0" fmla="*/ 1756869 w 2134132"/>
              <a:gd name="connsiteY0" fmla="*/ 603638 h 5195092"/>
              <a:gd name="connsiteX1" fmla="*/ 2134132 w 2134132"/>
              <a:gd name="connsiteY1" fmla="*/ 5107867 h 5195092"/>
              <a:gd name="connsiteX2" fmla="*/ 2029468 w 2134132"/>
              <a:gd name="connsiteY2" fmla="*/ 5164256 h 5195092"/>
              <a:gd name="connsiteX3" fmla="*/ 139514 w 2134132"/>
              <a:gd name="connsiteY3" fmla="*/ 2790512 h 5195092"/>
              <a:gd name="connsiteX4" fmla="*/ 373243 w 2134132"/>
              <a:gd name="connsiteY4" fmla="*/ 507691 h 5195092"/>
              <a:gd name="connsiteX5" fmla="*/ 1756869 w 2134132"/>
              <a:gd name="connsiteY5" fmla="*/ 603638 h 5195092"/>
              <a:gd name="connsiteX0" fmla="*/ 1757411 w 2134674"/>
              <a:gd name="connsiteY0" fmla="*/ 597207 h 5188661"/>
              <a:gd name="connsiteX1" fmla="*/ 2134674 w 2134674"/>
              <a:gd name="connsiteY1" fmla="*/ 5101436 h 5188661"/>
              <a:gd name="connsiteX2" fmla="*/ 2030010 w 2134674"/>
              <a:gd name="connsiteY2" fmla="*/ 5157825 h 5188661"/>
              <a:gd name="connsiteX3" fmla="*/ 140056 w 2134674"/>
              <a:gd name="connsiteY3" fmla="*/ 2784081 h 5188661"/>
              <a:gd name="connsiteX4" fmla="*/ 371573 w 2134674"/>
              <a:gd name="connsiteY4" fmla="*/ 512125 h 5188661"/>
              <a:gd name="connsiteX5" fmla="*/ 1757411 w 2134674"/>
              <a:gd name="connsiteY5" fmla="*/ 597207 h 5188661"/>
              <a:gd name="connsiteX0" fmla="*/ 2069334 w 2219253"/>
              <a:gd name="connsiteY0" fmla="*/ 1066529 h 4968040"/>
              <a:gd name="connsiteX1" fmla="*/ 2134674 w 2219253"/>
              <a:gd name="connsiteY1" fmla="*/ 4880815 h 4968040"/>
              <a:gd name="connsiteX2" fmla="*/ 2030010 w 2219253"/>
              <a:gd name="connsiteY2" fmla="*/ 4937204 h 4968040"/>
              <a:gd name="connsiteX3" fmla="*/ 140056 w 2219253"/>
              <a:gd name="connsiteY3" fmla="*/ 2563460 h 4968040"/>
              <a:gd name="connsiteX4" fmla="*/ 371573 w 2219253"/>
              <a:gd name="connsiteY4" fmla="*/ 291504 h 4968040"/>
              <a:gd name="connsiteX5" fmla="*/ 2069334 w 2219253"/>
              <a:gd name="connsiteY5" fmla="*/ 1066529 h 4968040"/>
              <a:gd name="connsiteX0" fmla="*/ 2129064 w 2261074"/>
              <a:gd name="connsiteY0" fmla="*/ 1422730 h 4900496"/>
              <a:gd name="connsiteX1" fmla="*/ 2134674 w 2261074"/>
              <a:gd name="connsiteY1" fmla="*/ 4813271 h 4900496"/>
              <a:gd name="connsiteX2" fmla="*/ 2030010 w 2261074"/>
              <a:gd name="connsiteY2" fmla="*/ 4869660 h 4900496"/>
              <a:gd name="connsiteX3" fmla="*/ 140056 w 2261074"/>
              <a:gd name="connsiteY3" fmla="*/ 2495916 h 4900496"/>
              <a:gd name="connsiteX4" fmla="*/ 371573 w 2261074"/>
              <a:gd name="connsiteY4" fmla="*/ 223960 h 4900496"/>
              <a:gd name="connsiteX5" fmla="*/ 2129064 w 2261074"/>
              <a:gd name="connsiteY5" fmla="*/ 1422730 h 4900496"/>
              <a:gd name="connsiteX0" fmla="*/ 2129064 w 2134674"/>
              <a:gd name="connsiteY0" fmla="*/ 1426308 h 4904074"/>
              <a:gd name="connsiteX1" fmla="*/ 2134674 w 2134674"/>
              <a:gd name="connsiteY1" fmla="*/ 4816849 h 4904074"/>
              <a:gd name="connsiteX2" fmla="*/ 2030010 w 2134674"/>
              <a:gd name="connsiteY2" fmla="*/ 4873238 h 4904074"/>
              <a:gd name="connsiteX3" fmla="*/ 140056 w 2134674"/>
              <a:gd name="connsiteY3" fmla="*/ 2499494 h 4904074"/>
              <a:gd name="connsiteX4" fmla="*/ 371573 w 2134674"/>
              <a:gd name="connsiteY4" fmla="*/ 227538 h 4904074"/>
              <a:gd name="connsiteX5" fmla="*/ 2129064 w 2134674"/>
              <a:gd name="connsiteY5" fmla="*/ 1426308 h 4904074"/>
              <a:gd name="connsiteX0" fmla="*/ 2129064 w 2134674"/>
              <a:gd name="connsiteY0" fmla="*/ 1426308 h 4904074"/>
              <a:gd name="connsiteX1" fmla="*/ 2134674 w 2134674"/>
              <a:gd name="connsiteY1" fmla="*/ 4816849 h 4904074"/>
              <a:gd name="connsiteX2" fmla="*/ 2030010 w 2134674"/>
              <a:gd name="connsiteY2" fmla="*/ 4873238 h 4904074"/>
              <a:gd name="connsiteX3" fmla="*/ 140056 w 2134674"/>
              <a:gd name="connsiteY3" fmla="*/ 2499494 h 4904074"/>
              <a:gd name="connsiteX4" fmla="*/ 371573 w 2134674"/>
              <a:gd name="connsiteY4" fmla="*/ 227538 h 4904074"/>
              <a:gd name="connsiteX5" fmla="*/ 2129064 w 2134674"/>
              <a:gd name="connsiteY5" fmla="*/ 1426308 h 4904074"/>
              <a:gd name="connsiteX0" fmla="*/ 2129064 w 2134674"/>
              <a:gd name="connsiteY0" fmla="*/ 1394334 h 4872100"/>
              <a:gd name="connsiteX1" fmla="*/ 2134674 w 2134674"/>
              <a:gd name="connsiteY1" fmla="*/ 4784875 h 4872100"/>
              <a:gd name="connsiteX2" fmla="*/ 2030010 w 2134674"/>
              <a:gd name="connsiteY2" fmla="*/ 4841264 h 4872100"/>
              <a:gd name="connsiteX3" fmla="*/ 140056 w 2134674"/>
              <a:gd name="connsiteY3" fmla="*/ 2467520 h 4872100"/>
              <a:gd name="connsiteX4" fmla="*/ 371573 w 2134674"/>
              <a:gd name="connsiteY4" fmla="*/ 195564 h 4872100"/>
              <a:gd name="connsiteX5" fmla="*/ 2129064 w 2134674"/>
              <a:gd name="connsiteY5" fmla="*/ 1394334 h 4872100"/>
              <a:gd name="connsiteX0" fmla="*/ 2299717 w 2305327"/>
              <a:gd name="connsiteY0" fmla="*/ 1394334 h 4872100"/>
              <a:gd name="connsiteX1" fmla="*/ 2305327 w 2305327"/>
              <a:gd name="connsiteY1" fmla="*/ 4784875 h 4872100"/>
              <a:gd name="connsiteX2" fmla="*/ 2200663 w 2305327"/>
              <a:gd name="connsiteY2" fmla="*/ 4841264 h 4872100"/>
              <a:gd name="connsiteX3" fmla="*/ 310709 w 2305327"/>
              <a:gd name="connsiteY3" fmla="*/ 2467520 h 4872100"/>
              <a:gd name="connsiteX4" fmla="*/ 542226 w 2305327"/>
              <a:gd name="connsiteY4" fmla="*/ 195564 h 4872100"/>
              <a:gd name="connsiteX5" fmla="*/ 2299717 w 2305327"/>
              <a:gd name="connsiteY5" fmla="*/ 1394334 h 4872100"/>
              <a:gd name="connsiteX0" fmla="*/ 2308970 w 2314580"/>
              <a:gd name="connsiteY0" fmla="*/ 1394334 h 4872100"/>
              <a:gd name="connsiteX1" fmla="*/ 2314580 w 2314580"/>
              <a:gd name="connsiteY1" fmla="*/ 4784875 h 4872100"/>
              <a:gd name="connsiteX2" fmla="*/ 2209916 w 2314580"/>
              <a:gd name="connsiteY2" fmla="*/ 4841264 h 4872100"/>
              <a:gd name="connsiteX3" fmla="*/ 319962 w 2314580"/>
              <a:gd name="connsiteY3" fmla="*/ 2467520 h 4872100"/>
              <a:gd name="connsiteX4" fmla="*/ 551479 w 2314580"/>
              <a:gd name="connsiteY4" fmla="*/ 195564 h 4872100"/>
              <a:gd name="connsiteX5" fmla="*/ 2308970 w 2314580"/>
              <a:gd name="connsiteY5" fmla="*/ 1394334 h 4872100"/>
              <a:gd name="connsiteX0" fmla="*/ 2334610 w 2340220"/>
              <a:gd name="connsiteY0" fmla="*/ 1394334 h 4872100"/>
              <a:gd name="connsiteX1" fmla="*/ 2340220 w 2340220"/>
              <a:gd name="connsiteY1" fmla="*/ 4784875 h 4872100"/>
              <a:gd name="connsiteX2" fmla="*/ 2235556 w 2340220"/>
              <a:gd name="connsiteY2" fmla="*/ 4841264 h 4872100"/>
              <a:gd name="connsiteX3" fmla="*/ 345602 w 2340220"/>
              <a:gd name="connsiteY3" fmla="*/ 2467520 h 4872100"/>
              <a:gd name="connsiteX4" fmla="*/ 577119 w 2340220"/>
              <a:gd name="connsiteY4" fmla="*/ 195564 h 4872100"/>
              <a:gd name="connsiteX5" fmla="*/ 2334610 w 2340220"/>
              <a:gd name="connsiteY5" fmla="*/ 1394334 h 4872100"/>
              <a:gd name="connsiteX0" fmla="*/ 2317496 w 2323106"/>
              <a:gd name="connsiteY0" fmla="*/ 1394334 h 4872100"/>
              <a:gd name="connsiteX1" fmla="*/ 2323106 w 2323106"/>
              <a:gd name="connsiteY1" fmla="*/ 4784875 h 4872100"/>
              <a:gd name="connsiteX2" fmla="*/ 2218442 w 2323106"/>
              <a:gd name="connsiteY2" fmla="*/ 4841264 h 4872100"/>
              <a:gd name="connsiteX3" fmla="*/ 328488 w 2323106"/>
              <a:gd name="connsiteY3" fmla="*/ 2467520 h 4872100"/>
              <a:gd name="connsiteX4" fmla="*/ 560005 w 2323106"/>
              <a:gd name="connsiteY4" fmla="*/ 195564 h 4872100"/>
              <a:gd name="connsiteX5" fmla="*/ 2317496 w 2323106"/>
              <a:gd name="connsiteY5" fmla="*/ 1394334 h 4872100"/>
              <a:gd name="connsiteX0" fmla="*/ 2317496 w 2323106"/>
              <a:gd name="connsiteY0" fmla="*/ 1396095 h 4873861"/>
              <a:gd name="connsiteX1" fmla="*/ 2323106 w 2323106"/>
              <a:gd name="connsiteY1" fmla="*/ 4786636 h 4873861"/>
              <a:gd name="connsiteX2" fmla="*/ 2218442 w 2323106"/>
              <a:gd name="connsiteY2" fmla="*/ 4843025 h 4873861"/>
              <a:gd name="connsiteX3" fmla="*/ 328488 w 2323106"/>
              <a:gd name="connsiteY3" fmla="*/ 2469281 h 4873861"/>
              <a:gd name="connsiteX4" fmla="*/ 560005 w 2323106"/>
              <a:gd name="connsiteY4" fmla="*/ 197325 h 4873861"/>
              <a:gd name="connsiteX5" fmla="*/ 2317496 w 2323106"/>
              <a:gd name="connsiteY5" fmla="*/ 1396095 h 4873861"/>
              <a:gd name="connsiteX0" fmla="*/ 2317496 w 2323106"/>
              <a:gd name="connsiteY0" fmla="*/ 1398561 h 4876327"/>
              <a:gd name="connsiteX1" fmla="*/ 2323106 w 2323106"/>
              <a:gd name="connsiteY1" fmla="*/ 4789102 h 4876327"/>
              <a:gd name="connsiteX2" fmla="*/ 2218442 w 2323106"/>
              <a:gd name="connsiteY2" fmla="*/ 4845491 h 4876327"/>
              <a:gd name="connsiteX3" fmla="*/ 328488 w 2323106"/>
              <a:gd name="connsiteY3" fmla="*/ 2471747 h 4876327"/>
              <a:gd name="connsiteX4" fmla="*/ 560005 w 2323106"/>
              <a:gd name="connsiteY4" fmla="*/ 199791 h 4876327"/>
              <a:gd name="connsiteX5" fmla="*/ 2317496 w 2323106"/>
              <a:gd name="connsiteY5" fmla="*/ 1398561 h 4876327"/>
              <a:gd name="connsiteX0" fmla="*/ 2317496 w 2323106"/>
              <a:gd name="connsiteY0" fmla="*/ 1389720 h 4867486"/>
              <a:gd name="connsiteX1" fmla="*/ 2323106 w 2323106"/>
              <a:gd name="connsiteY1" fmla="*/ 4780261 h 4867486"/>
              <a:gd name="connsiteX2" fmla="*/ 2218442 w 2323106"/>
              <a:gd name="connsiteY2" fmla="*/ 4836650 h 4867486"/>
              <a:gd name="connsiteX3" fmla="*/ 328488 w 2323106"/>
              <a:gd name="connsiteY3" fmla="*/ 2462906 h 4867486"/>
              <a:gd name="connsiteX4" fmla="*/ 560005 w 2323106"/>
              <a:gd name="connsiteY4" fmla="*/ 190950 h 4867486"/>
              <a:gd name="connsiteX5" fmla="*/ 2317496 w 2323106"/>
              <a:gd name="connsiteY5" fmla="*/ 1389720 h 4867486"/>
              <a:gd name="connsiteX0" fmla="*/ 2317496 w 2323106"/>
              <a:gd name="connsiteY0" fmla="*/ 1392690 h 4870456"/>
              <a:gd name="connsiteX1" fmla="*/ 2323106 w 2323106"/>
              <a:gd name="connsiteY1" fmla="*/ 4783231 h 4870456"/>
              <a:gd name="connsiteX2" fmla="*/ 2218442 w 2323106"/>
              <a:gd name="connsiteY2" fmla="*/ 4839620 h 4870456"/>
              <a:gd name="connsiteX3" fmla="*/ 328488 w 2323106"/>
              <a:gd name="connsiteY3" fmla="*/ 2465876 h 4870456"/>
              <a:gd name="connsiteX4" fmla="*/ 560005 w 2323106"/>
              <a:gd name="connsiteY4" fmla="*/ 193920 h 4870456"/>
              <a:gd name="connsiteX5" fmla="*/ 2317496 w 2323106"/>
              <a:gd name="connsiteY5" fmla="*/ 1392690 h 4870456"/>
              <a:gd name="connsiteX0" fmla="*/ 2317496 w 2323106"/>
              <a:gd name="connsiteY0" fmla="*/ 1392690 h 4870456"/>
              <a:gd name="connsiteX1" fmla="*/ 2323106 w 2323106"/>
              <a:gd name="connsiteY1" fmla="*/ 4783231 h 4870456"/>
              <a:gd name="connsiteX2" fmla="*/ 2218442 w 2323106"/>
              <a:gd name="connsiteY2" fmla="*/ 4839620 h 4870456"/>
              <a:gd name="connsiteX3" fmla="*/ 328488 w 2323106"/>
              <a:gd name="connsiteY3" fmla="*/ 2465876 h 4870456"/>
              <a:gd name="connsiteX4" fmla="*/ 560005 w 2323106"/>
              <a:gd name="connsiteY4" fmla="*/ 193920 h 4870456"/>
              <a:gd name="connsiteX5" fmla="*/ 2317496 w 2323106"/>
              <a:gd name="connsiteY5" fmla="*/ 1392690 h 4870456"/>
              <a:gd name="connsiteX0" fmla="*/ 2317496 w 2323106"/>
              <a:gd name="connsiteY0" fmla="*/ 1398024 h 4875790"/>
              <a:gd name="connsiteX1" fmla="*/ 2323106 w 2323106"/>
              <a:gd name="connsiteY1" fmla="*/ 4788565 h 4875790"/>
              <a:gd name="connsiteX2" fmla="*/ 2218442 w 2323106"/>
              <a:gd name="connsiteY2" fmla="*/ 4844954 h 4875790"/>
              <a:gd name="connsiteX3" fmla="*/ 328488 w 2323106"/>
              <a:gd name="connsiteY3" fmla="*/ 2471210 h 4875790"/>
              <a:gd name="connsiteX4" fmla="*/ 560005 w 2323106"/>
              <a:gd name="connsiteY4" fmla="*/ 199254 h 4875790"/>
              <a:gd name="connsiteX5" fmla="*/ 2317496 w 2323106"/>
              <a:gd name="connsiteY5" fmla="*/ 1398024 h 4875790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9806 h 4877572"/>
              <a:gd name="connsiteX1" fmla="*/ 2323106 w 2323106"/>
              <a:gd name="connsiteY1" fmla="*/ 4790347 h 4877572"/>
              <a:gd name="connsiteX2" fmla="*/ 2218442 w 2323106"/>
              <a:gd name="connsiteY2" fmla="*/ 4846736 h 4877572"/>
              <a:gd name="connsiteX3" fmla="*/ 328488 w 2323106"/>
              <a:gd name="connsiteY3" fmla="*/ 2472992 h 4877572"/>
              <a:gd name="connsiteX4" fmla="*/ 560005 w 2323106"/>
              <a:gd name="connsiteY4" fmla="*/ 201036 h 4877572"/>
              <a:gd name="connsiteX5" fmla="*/ 2317496 w 2323106"/>
              <a:gd name="connsiteY5" fmla="*/ 1399806 h 4877572"/>
              <a:gd name="connsiteX0" fmla="*/ 2317496 w 2323106"/>
              <a:gd name="connsiteY0" fmla="*/ 1399806 h 4877572"/>
              <a:gd name="connsiteX1" fmla="*/ 2323106 w 2323106"/>
              <a:gd name="connsiteY1" fmla="*/ 4790347 h 4877572"/>
              <a:gd name="connsiteX2" fmla="*/ 2218442 w 2323106"/>
              <a:gd name="connsiteY2" fmla="*/ 4846736 h 4877572"/>
              <a:gd name="connsiteX3" fmla="*/ 328488 w 2323106"/>
              <a:gd name="connsiteY3" fmla="*/ 2472992 h 4877572"/>
              <a:gd name="connsiteX4" fmla="*/ 560005 w 2323106"/>
              <a:gd name="connsiteY4" fmla="*/ 201036 h 4877572"/>
              <a:gd name="connsiteX5" fmla="*/ 2317496 w 2323106"/>
              <a:gd name="connsiteY5" fmla="*/ 1399806 h 4877572"/>
              <a:gd name="connsiteX0" fmla="*/ 2317496 w 2323106"/>
              <a:gd name="connsiteY0" fmla="*/ 1396245 h 4874011"/>
              <a:gd name="connsiteX1" fmla="*/ 2323106 w 2323106"/>
              <a:gd name="connsiteY1" fmla="*/ 4786786 h 4874011"/>
              <a:gd name="connsiteX2" fmla="*/ 2218442 w 2323106"/>
              <a:gd name="connsiteY2" fmla="*/ 4843175 h 4874011"/>
              <a:gd name="connsiteX3" fmla="*/ 328488 w 2323106"/>
              <a:gd name="connsiteY3" fmla="*/ 2469431 h 4874011"/>
              <a:gd name="connsiteX4" fmla="*/ 560005 w 2323106"/>
              <a:gd name="connsiteY4" fmla="*/ 197475 h 4874011"/>
              <a:gd name="connsiteX5" fmla="*/ 2317496 w 2323106"/>
              <a:gd name="connsiteY5" fmla="*/ 1396245 h 4874011"/>
              <a:gd name="connsiteX0" fmla="*/ 2317496 w 2323106"/>
              <a:gd name="connsiteY0" fmla="*/ 1399314 h 4877080"/>
              <a:gd name="connsiteX1" fmla="*/ 2323106 w 2323106"/>
              <a:gd name="connsiteY1" fmla="*/ 4789855 h 4877080"/>
              <a:gd name="connsiteX2" fmla="*/ 2218442 w 2323106"/>
              <a:gd name="connsiteY2" fmla="*/ 4846244 h 4877080"/>
              <a:gd name="connsiteX3" fmla="*/ 328488 w 2323106"/>
              <a:gd name="connsiteY3" fmla="*/ 2472500 h 4877080"/>
              <a:gd name="connsiteX4" fmla="*/ 560005 w 2323106"/>
              <a:gd name="connsiteY4" fmla="*/ 200544 h 4877080"/>
              <a:gd name="connsiteX5" fmla="*/ 2317496 w 2323106"/>
              <a:gd name="connsiteY5" fmla="*/ 1399314 h 4877080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9830 w 2323106"/>
              <a:gd name="connsiteY0" fmla="*/ 1399683 h 4868852"/>
              <a:gd name="connsiteX1" fmla="*/ 2323106 w 2323106"/>
              <a:gd name="connsiteY1" fmla="*/ 4781627 h 4868852"/>
              <a:gd name="connsiteX2" fmla="*/ 2218442 w 2323106"/>
              <a:gd name="connsiteY2" fmla="*/ 4838016 h 4868852"/>
              <a:gd name="connsiteX3" fmla="*/ 328488 w 2323106"/>
              <a:gd name="connsiteY3" fmla="*/ 2464272 h 4868852"/>
              <a:gd name="connsiteX4" fmla="*/ 560005 w 2323106"/>
              <a:gd name="connsiteY4" fmla="*/ 192316 h 4868852"/>
              <a:gd name="connsiteX5" fmla="*/ 2319830 w 2323106"/>
              <a:gd name="connsiteY5" fmla="*/ 1399683 h 4868852"/>
              <a:gd name="connsiteX0" fmla="*/ 2319830 w 2323106"/>
              <a:gd name="connsiteY0" fmla="*/ 1402669 h 4871838"/>
              <a:gd name="connsiteX1" fmla="*/ 2323106 w 2323106"/>
              <a:gd name="connsiteY1" fmla="*/ 4784613 h 4871838"/>
              <a:gd name="connsiteX2" fmla="*/ 2218442 w 2323106"/>
              <a:gd name="connsiteY2" fmla="*/ 4841002 h 4871838"/>
              <a:gd name="connsiteX3" fmla="*/ 328488 w 2323106"/>
              <a:gd name="connsiteY3" fmla="*/ 2467258 h 4871838"/>
              <a:gd name="connsiteX4" fmla="*/ 560005 w 2323106"/>
              <a:gd name="connsiteY4" fmla="*/ 195302 h 4871838"/>
              <a:gd name="connsiteX5" fmla="*/ 2319830 w 2323106"/>
              <a:gd name="connsiteY5" fmla="*/ 1402669 h 4871838"/>
              <a:gd name="connsiteX0" fmla="*/ 2319830 w 2323106"/>
              <a:gd name="connsiteY0" fmla="*/ 1403343 h 4872512"/>
              <a:gd name="connsiteX1" fmla="*/ 2323106 w 2323106"/>
              <a:gd name="connsiteY1" fmla="*/ 4785287 h 4872512"/>
              <a:gd name="connsiteX2" fmla="*/ 2218442 w 2323106"/>
              <a:gd name="connsiteY2" fmla="*/ 4841676 h 4872512"/>
              <a:gd name="connsiteX3" fmla="*/ 328488 w 2323106"/>
              <a:gd name="connsiteY3" fmla="*/ 2467932 h 4872512"/>
              <a:gd name="connsiteX4" fmla="*/ 560005 w 2323106"/>
              <a:gd name="connsiteY4" fmla="*/ 195976 h 4872512"/>
              <a:gd name="connsiteX5" fmla="*/ 2319830 w 2323106"/>
              <a:gd name="connsiteY5" fmla="*/ 1403343 h 4872512"/>
              <a:gd name="connsiteX0" fmla="*/ 2324359 w 2327635"/>
              <a:gd name="connsiteY0" fmla="*/ 1403343 h 4872512"/>
              <a:gd name="connsiteX1" fmla="*/ 2327635 w 2327635"/>
              <a:gd name="connsiteY1" fmla="*/ 4785287 h 4872512"/>
              <a:gd name="connsiteX2" fmla="*/ 2222971 w 2327635"/>
              <a:gd name="connsiteY2" fmla="*/ 4841676 h 4872512"/>
              <a:gd name="connsiteX3" fmla="*/ 333017 w 2327635"/>
              <a:gd name="connsiteY3" fmla="*/ 2467932 h 4872512"/>
              <a:gd name="connsiteX4" fmla="*/ 564534 w 2327635"/>
              <a:gd name="connsiteY4" fmla="*/ 195976 h 4872512"/>
              <a:gd name="connsiteX5" fmla="*/ 2324359 w 2327635"/>
              <a:gd name="connsiteY5" fmla="*/ 1403343 h 4872512"/>
              <a:gd name="connsiteX0" fmla="*/ 2326563 w 2458304"/>
              <a:gd name="connsiteY0" fmla="*/ 1388146 h 4857315"/>
              <a:gd name="connsiteX1" fmla="*/ 2329839 w 2458304"/>
              <a:gd name="connsiteY1" fmla="*/ 4770090 h 4857315"/>
              <a:gd name="connsiteX2" fmla="*/ 2225175 w 2458304"/>
              <a:gd name="connsiteY2" fmla="*/ 4826479 h 4857315"/>
              <a:gd name="connsiteX3" fmla="*/ 335221 w 2458304"/>
              <a:gd name="connsiteY3" fmla="*/ 2452735 h 4857315"/>
              <a:gd name="connsiteX4" fmla="*/ 562070 w 2458304"/>
              <a:gd name="connsiteY4" fmla="*/ 180779 h 4857315"/>
              <a:gd name="connsiteX5" fmla="*/ 2326563 w 2458304"/>
              <a:gd name="connsiteY5" fmla="*/ 1388146 h 4857315"/>
              <a:gd name="connsiteX0" fmla="*/ 2326563 w 2329839"/>
              <a:gd name="connsiteY0" fmla="*/ 1396124 h 4865293"/>
              <a:gd name="connsiteX1" fmla="*/ 2329839 w 2329839"/>
              <a:gd name="connsiteY1" fmla="*/ 4778068 h 4865293"/>
              <a:gd name="connsiteX2" fmla="*/ 2225175 w 2329839"/>
              <a:gd name="connsiteY2" fmla="*/ 4834457 h 4865293"/>
              <a:gd name="connsiteX3" fmla="*/ 335221 w 2329839"/>
              <a:gd name="connsiteY3" fmla="*/ 2460713 h 4865293"/>
              <a:gd name="connsiteX4" fmla="*/ 562070 w 2329839"/>
              <a:gd name="connsiteY4" fmla="*/ 188757 h 4865293"/>
              <a:gd name="connsiteX5" fmla="*/ 2326563 w 2329839"/>
              <a:gd name="connsiteY5" fmla="*/ 1396124 h 4865293"/>
              <a:gd name="connsiteX0" fmla="*/ 2326563 w 2329839"/>
              <a:gd name="connsiteY0" fmla="*/ 1394861 h 4864030"/>
              <a:gd name="connsiteX1" fmla="*/ 2329839 w 2329839"/>
              <a:gd name="connsiteY1" fmla="*/ 4776805 h 4864030"/>
              <a:gd name="connsiteX2" fmla="*/ 2225175 w 2329839"/>
              <a:gd name="connsiteY2" fmla="*/ 4833194 h 4864030"/>
              <a:gd name="connsiteX3" fmla="*/ 335221 w 2329839"/>
              <a:gd name="connsiteY3" fmla="*/ 2459450 h 4864030"/>
              <a:gd name="connsiteX4" fmla="*/ 562070 w 2329839"/>
              <a:gd name="connsiteY4" fmla="*/ 187494 h 4864030"/>
              <a:gd name="connsiteX5" fmla="*/ 2326563 w 2329839"/>
              <a:gd name="connsiteY5" fmla="*/ 1394861 h 4864030"/>
              <a:gd name="connsiteX0" fmla="*/ 2326563 w 2329839"/>
              <a:gd name="connsiteY0" fmla="*/ 1401537 h 4870706"/>
              <a:gd name="connsiteX1" fmla="*/ 2329839 w 2329839"/>
              <a:gd name="connsiteY1" fmla="*/ 4783481 h 4870706"/>
              <a:gd name="connsiteX2" fmla="*/ 2225175 w 2329839"/>
              <a:gd name="connsiteY2" fmla="*/ 4839870 h 4870706"/>
              <a:gd name="connsiteX3" fmla="*/ 335221 w 2329839"/>
              <a:gd name="connsiteY3" fmla="*/ 2466126 h 4870706"/>
              <a:gd name="connsiteX4" fmla="*/ 562070 w 2329839"/>
              <a:gd name="connsiteY4" fmla="*/ 194170 h 4870706"/>
              <a:gd name="connsiteX5" fmla="*/ 2326563 w 2329839"/>
              <a:gd name="connsiteY5" fmla="*/ 1401537 h 4870706"/>
              <a:gd name="connsiteX0" fmla="*/ 2326563 w 2329839"/>
              <a:gd name="connsiteY0" fmla="*/ 1403211 h 4872380"/>
              <a:gd name="connsiteX1" fmla="*/ 2329839 w 2329839"/>
              <a:gd name="connsiteY1" fmla="*/ 4785155 h 4872380"/>
              <a:gd name="connsiteX2" fmla="*/ 2225175 w 2329839"/>
              <a:gd name="connsiteY2" fmla="*/ 4841544 h 4872380"/>
              <a:gd name="connsiteX3" fmla="*/ 335221 w 2329839"/>
              <a:gd name="connsiteY3" fmla="*/ 2467800 h 4872380"/>
              <a:gd name="connsiteX4" fmla="*/ 562070 w 2329839"/>
              <a:gd name="connsiteY4" fmla="*/ 195844 h 4872380"/>
              <a:gd name="connsiteX5" fmla="*/ 2326563 w 2329839"/>
              <a:gd name="connsiteY5" fmla="*/ 1403211 h 4872380"/>
              <a:gd name="connsiteX0" fmla="*/ 2326563 w 2330469"/>
              <a:gd name="connsiteY0" fmla="*/ 1418627 h 4887796"/>
              <a:gd name="connsiteX1" fmla="*/ 2329839 w 2330469"/>
              <a:gd name="connsiteY1" fmla="*/ 4800571 h 4887796"/>
              <a:gd name="connsiteX2" fmla="*/ 2225175 w 2330469"/>
              <a:gd name="connsiteY2" fmla="*/ 4856960 h 4887796"/>
              <a:gd name="connsiteX3" fmla="*/ 335221 w 2330469"/>
              <a:gd name="connsiteY3" fmla="*/ 2483216 h 4887796"/>
              <a:gd name="connsiteX4" fmla="*/ 562070 w 2330469"/>
              <a:gd name="connsiteY4" fmla="*/ 211260 h 4887796"/>
              <a:gd name="connsiteX5" fmla="*/ 2326563 w 2330469"/>
              <a:gd name="connsiteY5" fmla="*/ 1418627 h 4887796"/>
              <a:gd name="connsiteX0" fmla="*/ 2326563 w 2330469"/>
              <a:gd name="connsiteY0" fmla="*/ 1403156 h 4872325"/>
              <a:gd name="connsiteX1" fmla="*/ 2329839 w 2330469"/>
              <a:gd name="connsiteY1" fmla="*/ 4785100 h 4872325"/>
              <a:gd name="connsiteX2" fmla="*/ 2225175 w 2330469"/>
              <a:gd name="connsiteY2" fmla="*/ 4841489 h 4872325"/>
              <a:gd name="connsiteX3" fmla="*/ 335221 w 2330469"/>
              <a:gd name="connsiteY3" fmla="*/ 2467745 h 4872325"/>
              <a:gd name="connsiteX4" fmla="*/ 562070 w 2330469"/>
              <a:gd name="connsiteY4" fmla="*/ 195789 h 4872325"/>
              <a:gd name="connsiteX5" fmla="*/ 2326563 w 2330469"/>
              <a:gd name="connsiteY5" fmla="*/ 1403156 h 4872325"/>
              <a:gd name="connsiteX0" fmla="*/ 2326563 w 2330469"/>
              <a:gd name="connsiteY0" fmla="*/ 1377614 h 4846783"/>
              <a:gd name="connsiteX1" fmla="*/ 2329839 w 2330469"/>
              <a:gd name="connsiteY1" fmla="*/ 4759558 h 4846783"/>
              <a:gd name="connsiteX2" fmla="*/ 2225175 w 2330469"/>
              <a:gd name="connsiteY2" fmla="*/ 4815947 h 4846783"/>
              <a:gd name="connsiteX3" fmla="*/ 335221 w 2330469"/>
              <a:gd name="connsiteY3" fmla="*/ 2442203 h 4846783"/>
              <a:gd name="connsiteX4" fmla="*/ 562070 w 2330469"/>
              <a:gd name="connsiteY4" fmla="*/ 170247 h 4846783"/>
              <a:gd name="connsiteX5" fmla="*/ 2326563 w 2330469"/>
              <a:gd name="connsiteY5" fmla="*/ 1377614 h 4846783"/>
              <a:gd name="connsiteX0" fmla="*/ 2326563 w 2330469"/>
              <a:gd name="connsiteY0" fmla="*/ 1403155 h 4872324"/>
              <a:gd name="connsiteX1" fmla="*/ 2329839 w 2330469"/>
              <a:gd name="connsiteY1" fmla="*/ 4785099 h 4872324"/>
              <a:gd name="connsiteX2" fmla="*/ 2225175 w 2330469"/>
              <a:gd name="connsiteY2" fmla="*/ 4841488 h 4872324"/>
              <a:gd name="connsiteX3" fmla="*/ 335221 w 2330469"/>
              <a:gd name="connsiteY3" fmla="*/ 2467744 h 4872324"/>
              <a:gd name="connsiteX4" fmla="*/ 562070 w 2330469"/>
              <a:gd name="connsiteY4" fmla="*/ 195788 h 4872324"/>
              <a:gd name="connsiteX5" fmla="*/ 2326563 w 2330469"/>
              <a:gd name="connsiteY5" fmla="*/ 1403155 h 4872324"/>
              <a:gd name="connsiteX0" fmla="*/ 2278081 w 2281987"/>
              <a:gd name="connsiteY0" fmla="*/ 1403155 h 4872324"/>
              <a:gd name="connsiteX1" fmla="*/ 2281357 w 2281987"/>
              <a:gd name="connsiteY1" fmla="*/ 4785099 h 4872324"/>
              <a:gd name="connsiteX2" fmla="*/ 2176693 w 2281987"/>
              <a:gd name="connsiteY2" fmla="*/ 4841488 h 4872324"/>
              <a:gd name="connsiteX3" fmla="*/ 286739 w 2281987"/>
              <a:gd name="connsiteY3" fmla="*/ 2467744 h 4872324"/>
              <a:gd name="connsiteX4" fmla="*/ 513588 w 2281987"/>
              <a:gd name="connsiteY4" fmla="*/ 195788 h 4872324"/>
              <a:gd name="connsiteX5" fmla="*/ 2278081 w 2281987"/>
              <a:gd name="connsiteY5" fmla="*/ 1403155 h 4872324"/>
              <a:gd name="connsiteX0" fmla="*/ 2321655 w 2325561"/>
              <a:gd name="connsiteY0" fmla="*/ 1403155 h 4872324"/>
              <a:gd name="connsiteX1" fmla="*/ 2324931 w 2325561"/>
              <a:gd name="connsiteY1" fmla="*/ 4785099 h 4872324"/>
              <a:gd name="connsiteX2" fmla="*/ 2220267 w 2325561"/>
              <a:gd name="connsiteY2" fmla="*/ 4841488 h 4872324"/>
              <a:gd name="connsiteX3" fmla="*/ 330313 w 2325561"/>
              <a:gd name="connsiteY3" fmla="*/ 2467744 h 4872324"/>
              <a:gd name="connsiteX4" fmla="*/ 557162 w 2325561"/>
              <a:gd name="connsiteY4" fmla="*/ 195788 h 4872324"/>
              <a:gd name="connsiteX5" fmla="*/ 2321655 w 2325561"/>
              <a:gd name="connsiteY5" fmla="*/ 1403155 h 4872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25561" h="4872324">
                <a:moveTo>
                  <a:pt x="2321655" y="1403155"/>
                </a:moveTo>
                <a:cubicBezTo>
                  <a:pt x="2327968" y="2360767"/>
                  <a:pt x="2324666" y="4001780"/>
                  <a:pt x="2324931" y="4785099"/>
                </a:cubicBezTo>
                <a:cubicBezTo>
                  <a:pt x="2321552" y="4937375"/>
                  <a:pt x="2214114" y="4844655"/>
                  <a:pt x="2220267" y="4841488"/>
                </a:cubicBezTo>
                <a:cubicBezTo>
                  <a:pt x="1934243" y="4471710"/>
                  <a:pt x="788411" y="3040549"/>
                  <a:pt x="330313" y="2467744"/>
                </a:cubicBezTo>
                <a:cubicBezTo>
                  <a:pt x="-81862" y="1937583"/>
                  <a:pt x="-211970" y="817537"/>
                  <a:pt x="557162" y="195788"/>
                </a:cubicBezTo>
                <a:cubicBezTo>
                  <a:pt x="1466748" y="-393302"/>
                  <a:pt x="2315342" y="445543"/>
                  <a:pt x="2321655" y="140315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475981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corazó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0FE2949F-D708-7142-B7D4-EAA79B6DBB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032" y="5994110"/>
            <a:ext cx="3512082" cy="709633"/>
          </a:xfrm>
          <a:prstGeom prst="rect">
            <a:avLst/>
          </a:prstGeom>
        </p:spPr>
      </p:pic>
      <p:sp>
        <p:nvSpPr>
          <p:cNvPr id="6" name="Marcador de posición de imagen 3">
            <a:extLst>
              <a:ext uri="{FF2B5EF4-FFF2-40B4-BE49-F238E27FC236}">
                <a16:creationId xmlns:a16="http://schemas.microsoft.com/office/drawing/2014/main" id="{668D0BBD-40A6-B341-BA30-1C7607ABCB7B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9091023" y="1325834"/>
            <a:ext cx="2648241" cy="4519122"/>
          </a:xfrm>
          <a:custGeom>
            <a:avLst/>
            <a:gdLst>
              <a:gd name="connsiteX0" fmla="*/ 1726784 w 3453568"/>
              <a:gd name="connsiteY0" fmla="*/ 761850 h 3047398"/>
              <a:gd name="connsiteX1" fmla="*/ 1726784 w 3453568"/>
              <a:gd name="connsiteY1" fmla="*/ 3047398 h 3047398"/>
              <a:gd name="connsiteX2" fmla="*/ 1726784 w 3453568"/>
              <a:gd name="connsiteY2" fmla="*/ 761850 h 3047398"/>
              <a:gd name="connsiteX0" fmla="*/ 323012 w 2062385"/>
              <a:gd name="connsiteY0" fmla="*/ 724098 h 3009646"/>
              <a:gd name="connsiteX1" fmla="*/ 323012 w 2062385"/>
              <a:gd name="connsiteY1" fmla="*/ 3009646 h 3009646"/>
              <a:gd name="connsiteX2" fmla="*/ 323012 w 2062385"/>
              <a:gd name="connsiteY2" fmla="*/ 724098 h 3009646"/>
              <a:gd name="connsiteX0" fmla="*/ 5073 w 1744446"/>
              <a:gd name="connsiteY0" fmla="*/ 724098 h 3009646"/>
              <a:gd name="connsiteX1" fmla="*/ 5073 w 1744446"/>
              <a:gd name="connsiteY1" fmla="*/ 3009646 h 3009646"/>
              <a:gd name="connsiteX2" fmla="*/ 5073 w 1744446"/>
              <a:gd name="connsiteY2" fmla="*/ 724098 h 3009646"/>
              <a:gd name="connsiteX0" fmla="*/ 0 w 1739373"/>
              <a:gd name="connsiteY0" fmla="*/ 724098 h 3009646"/>
              <a:gd name="connsiteX1" fmla="*/ 0 w 1739373"/>
              <a:gd name="connsiteY1" fmla="*/ 3009646 h 3009646"/>
              <a:gd name="connsiteX2" fmla="*/ 0 w 1739373"/>
              <a:gd name="connsiteY2" fmla="*/ 724098 h 3009646"/>
              <a:gd name="connsiteX0" fmla="*/ 0 w 1741571"/>
              <a:gd name="connsiteY0" fmla="*/ 741338 h 2941161"/>
              <a:gd name="connsiteX1" fmla="*/ 3175 w 1741571"/>
              <a:gd name="connsiteY1" fmla="*/ 2941161 h 2941161"/>
              <a:gd name="connsiteX2" fmla="*/ 0 w 1741571"/>
              <a:gd name="connsiteY2" fmla="*/ 741338 h 2941161"/>
              <a:gd name="connsiteX0" fmla="*/ 0 w 1662955"/>
              <a:gd name="connsiteY0" fmla="*/ 770826 h 2970649"/>
              <a:gd name="connsiteX1" fmla="*/ 3175 w 1662955"/>
              <a:gd name="connsiteY1" fmla="*/ 2970649 h 2970649"/>
              <a:gd name="connsiteX2" fmla="*/ 0 w 1662955"/>
              <a:gd name="connsiteY2" fmla="*/ 770826 h 2970649"/>
              <a:gd name="connsiteX0" fmla="*/ 0 w 1754580"/>
              <a:gd name="connsiteY0" fmla="*/ 790877 h 2990700"/>
              <a:gd name="connsiteX1" fmla="*/ 3175 w 1754580"/>
              <a:gd name="connsiteY1" fmla="*/ 2990700 h 2990700"/>
              <a:gd name="connsiteX2" fmla="*/ 0 w 1754580"/>
              <a:gd name="connsiteY2" fmla="*/ 790877 h 2990700"/>
              <a:gd name="connsiteX0" fmla="*/ 46 w 1754626"/>
              <a:gd name="connsiteY0" fmla="*/ 790877 h 3268319"/>
              <a:gd name="connsiteX1" fmla="*/ 3221 w 1754626"/>
              <a:gd name="connsiteY1" fmla="*/ 2990700 h 3268319"/>
              <a:gd name="connsiteX2" fmla="*/ 1457 w 1754626"/>
              <a:gd name="connsiteY2" fmla="*/ 2995379 h 3268319"/>
              <a:gd name="connsiteX3" fmla="*/ 46 w 1754626"/>
              <a:gd name="connsiteY3" fmla="*/ 790877 h 3268319"/>
              <a:gd name="connsiteX0" fmla="*/ 46 w 2123706"/>
              <a:gd name="connsiteY0" fmla="*/ 879416 h 3232836"/>
              <a:gd name="connsiteX1" fmla="*/ 504333 w 2123706"/>
              <a:gd name="connsiteY1" fmla="*/ 2702113 h 3232836"/>
              <a:gd name="connsiteX2" fmla="*/ 1457 w 2123706"/>
              <a:gd name="connsiteY2" fmla="*/ 3083918 h 3232836"/>
              <a:gd name="connsiteX3" fmla="*/ 46 w 2123706"/>
              <a:gd name="connsiteY3" fmla="*/ 879416 h 3232836"/>
              <a:gd name="connsiteX0" fmla="*/ 46 w 1814106"/>
              <a:gd name="connsiteY0" fmla="*/ 793104 h 3265479"/>
              <a:gd name="connsiteX1" fmla="*/ 85878 w 1814106"/>
              <a:gd name="connsiteY1" fmla="*/ 2982594 h 3265479"/>
              <a:gd name="connsiteX2" fmla="*/ 1457 w 1814106"/>
              <a:gd name="connsiteY2" fmla="*/ 2997606 h 3265479"/>
              <a:gd name="connsiteX3" fmla="*/ 46 w 1814106"/>
              <a:gd name="connsiteY3" fmla="*/ 793104 h 3265479"/>
              <a:gd name="connsiteX0" fmla="*/ 46 w 1814106"/>
              <a:gd name="connsiteY0" fmla="*/ 793104 h 3237717"/>
              <a:gd name="connsiteX1" fmla="*/ 85878 w 1814106"/>
              <a:gd name="connsiteY1" fmla="*/ 2982594 h 3237717"/>
              <a:gd name="connsiteX2" fmla="*/ 1457 w 1814106"/>
              <a:gd name="connsiteY2" fmla="*/ 2940456 h 3237717"/>
              <a:gd name="connsiteX3" fmla="*/ 46 w 1814106"/>
              <a:gd name="connsiteY3" fmla="*/ 793104 h 3237717"/>
              <a:gd name="connsiteX0" fmla="*/ 46 w 1766081"/>
              <a:gd name="connsiteY0" fmla="*/ 801401 h 3226052"/>
              <a:gd name="connsiteX1" fmla="*/ 19203 w 1766081"/>
              <a:gd name="connsiteY1" fmla="*/ 2952791 h 3226052"/>
              <a:gd name="connsiteX2" fmla="*/ 1457 w 1766081"/>
              <a:gd name="connsiteY2" fmla="*/ 2948753 h 3226052"/>
              <a:gd name="connsiteX3" fmla="*/ 46 w 1766081"/>
              <a:gd name="connsiteY3" fmla="*/ 801401 h 3226052"/>
              <a:gd name="connsiteX0" fmla="*/ 46 w 1825596"/>
              <a:gd name="connsiteY0" fmla="*/ 800705 h 3226963"/>
              <a:gd name="connsiteX1" fmla="*/ 101753 w 1825596"/>
              <a:gd name="connsiteY1" fmla="*/ 2955270 h 3226963"/>
              <a:gd name="connsiteX2" fmla="*/ 1457 w 1825596"/>
              <a:gd name="connsiteY2" fmla="*/ 2948057 h 3226963"/>
              <a:gd name="connsiteX3" fmla="*/ 46 w 1825596"/>
              <a:gd name="connsiteY3" fmla="*/ 800705 h 3226963"/>
              <a:gd name="connsiteX0" fmla="*/ 46 w 1825596"/>
              <a:gd name="connsiteY0" fmla="*/ 800705 h 3113418"/>
              <a:gd name="connsiteX1" fmla="*/ 101753 w 1825596"/>
              <a:gd name="connsiteY1" fmla="*/ 2955270 h 3113418"/>
              <a:gd name="connsiteX2" fmla="*/ 1457 w 1825596"/>
              <a:gd name="connsiteY2" fmla="*/ 2948057 h 3113418"/>
              <a:gd name="connsiteX3" fmla="*/ 46 w 1825596"/>
              <a:gd name="connsiteY3" fmla="*/ 800705 h 3113418"/>
              <a:gd name="connsiteX0" fmla="*/ 46 w 1825596"/>
              <a:gd name="connsiteY0" fmla="*/ 801401 h 3113272"/>
              <a:gd name="connsiteX1" fmla="*/ 101753 w 1825596"/>
              <a:gd name="connsiteY1" fmla="*/ 2952791 h 3113272"/>
              <a:gd name="connsiteX2" fmla="*/ 1457 w 1825596"/>
              <a:gd name="connsiteY2" fmla="*/ 2948753 h 3113272"/>
              <a:gd name="connsiteX3" fmla="*/ 46 w 1825596"/>
              <a:gd name="connsiteY3" fmla="*/ 801401 h 3113272"/>
              <a:gd name="connsiteX0" fmla="*/ 46 w 1825596"/>
              <a:gd name="connsiteY0" fmla="*/ 801401 h 2999004"/>
              <a:gd name="connsiteX1" fmla="*/ 101753 w 1825596"/>
              <a:gd name="connsiteY1" fmla="*/ 2952791 h 2999004"/>
              <a:gd name="connsiteX2" fmla="*/ 1457 w 1825596"/>
              <a:gd name="connsiteY2" fmla="*/ 2948753 h 2999004"/>
              <a:gd name="connsiteX3" fmla="*/ 46 w 1825596"/>
              <a:gd name="connsiteY3" fmla="*/ 801401 h 2999004"/>
              <a:gd name="connsiteX0" fmla="*/ 46 w 1825596"/>
              <a:gd name="connsiteY0" fmla="*/ 801401 h 3003762"/>
              <a:gd name="connsiteX1" fmla="*/ 101753 w 1825596"/>
              <a:gd name="connsiteY1" fmla="*/ 2952791 h 3003762"/>
              <a:gd name="connsiteX2" fmla="*/ 1457 w 1825596"/>
              <a:gd name="connsiteY2" fmla="*/ 2948753 h 3003762"/>
              <a:gd name="connsiteX3" fmla="*/ 46 w 1825596"/>
              <a:gd name="connsiteY3" fmla="*/ 801401 h 3003762"/>
              <a:gd name="connsiteX0" fmla="*/ 46 w 1751080"/>
              <a:gd name="connsiteY0" fmla="*/ 791490 h 2993851"/>
              <a:gd name="connsiteX1" fmla="*/ 101753 w 1751080"/>
              <a:gd name="connsiteY1" fmla="*/ 2942880 h 2993851"/>
              <a:gd name="connsiteX2" fmla="*/ 1457 w 1751080"/>
              <a:gd name="connsiteY2" fmla="*/ 2938842 h 2993851"/>
              <a:gd name="connsiteX3" fmla="*/ 46 w 1751080"/>
              <a:gd name="connsiteY3" fmla="*/ 791490 h 2993851"/>
              <a:gd name="connsiteX0" fmla="*/ 46 w 1754103"/>
              <a:gd name="connsiteY0" fmla="*/ 794198 h 2992817"/>
              <a:gd name="connsiteX1" fmla="*/ 105929 w 1754103"/>
              <a:gd name="connsiteY1" fmla="*/ 2933062 h 2992817"/>
              <a:gd name="connsiteX2" fmla="*/ 1457 w 1754103"/>
              <a:gd name="connsiteY2" fmla="*/ 2941550 h 2992817"/>
              <a:gd name="connsiteX3" fmla="*/ 46 w 1754103"/>
              <a:gd name="connsiteY3" fmla="*/ 794198 h 2992817"/>
              <a:gd name="connsiteX0" fmla="*/ 46 w 1754103"/>
              <a:gd name="connsiteY0" fmla="*/ 794198 h 3092665"/>
              <a:gd name="connsiteX1" fmla="*/ 105929 w 1754103"/>
              <a:gd name="connsiteY1" fmla="*/ 2933062 h 3092665"/>
              <a:gd name="connsiteX2" fmla="*/ 112493 w 1754103"/>
              <a:gd name="connsiteY2" fmla="*/ 2916042 h 3092665"/>
              <a:gd name="connsiteX3" fmla="*/ 1457 w 1754103"/>
              <a:gd name="connsiteY3" fmla="*/ 2941550 h 3092665"/>
              <a:gd name="connsiteX4" fmla="*/ 46 w 1754103"/>
              <a:gd name="connsiteY4" fmla="*/ 794198 h 3092665"/>
              <a:gd name="connsiteX0" fmla="*/ 46 w 1754103"/>
              <a:gd name="connsiteY0" fmla="*/ 794198 h 3137950"/>
              <a:gd name="connsiteX1" fmla="*/ 105929 w 1754103"/>
              <a:gd name="connsiteY1" fmla="*/ 2933062 h 3137950"/>
              <a:gd name="connsiteX2" fmla="*/ 49862 w 1754103"/>
              <a:gd name="connsiteY2" fmla="*/ 3062179 h 3137950"/>
              <a:gd name="connsiteX3" fmla="*/ 1457 w 1754103"/>
              <a:gd name="connsiteY3" fmla="*/ 2941550 h 3137950"/>
              <a:gd name="connsiteX4" fmla="*/ 46 w 1754103"/>
              <a:gd name="connsiteY4" fmla="*/ 794198 h 3137950"/>
              <a:gd name="connsiteX0" fmla="*/ 46 w 1947503"/>
              <a:gd name="connsiteY0" fmla="*/ 855901 h 3199653"/>
              <a:gd name="connsiteX1" fmla="*/ 368976 w 1947503"/>
              <a:gd name="connsiteY1" fmla="*/ 2727543 h 3199653"/>
              <a:gd name="connsiteX2" fmla="*/ 49862 w 1947503"/>
              <a:gd name="connsiteY2" fmla="*/ 3123882 h 3199653"/>
              <a:gd name="connsiteX3" fmla="*/ 1457 w 1947503"/>
              <a:gd name="connsiteY3" fmla="*/ 3003253 h 3199653"/>
              <a:gd name="connsiteX4" fmla="*/ 46 w 1947503"/>
              <a:gd name="connsiteY4" fmla="*/ 855901 h 3199653"/>
              <a:gd name="connsiteX0" fmla="*/ 46 w 1947503"/>
              <a:gd name="connsiteY0" fmla="*/ 855901 h 3157433"/>
              <a:gd name="connsiteX1" fmla="*/ 368976 w 1947503"/>
              <a:gd name="connsiteY1" fmla="*/ 2727543 h 3157433"/>
              <a:gd name="connsiteX2" fmla="*/ 125018 w 1947503"/>
              <a:gd name="connsiteY2" fmla="*/ 2990271 h 3157433"/>
              <a:gd name="connsiteX3" fmla="*/ 1457 w 1947503"/>
              <a:gd name="connsiteY3" fmla="*/ 3003253 h 3157433"/>
              <a:gd name="connsiteX4" fmla="*/ 46 w 1947503"/>
              <a:gd name="connsiteY4" fmla="*/ 855901 h 3157433"/>
              <a:gd name="connsiteX0" fmla="*/ 46 w 1947503"/>
              <a:gd name="connsiteY0" fmla="*/ 855901 h 3166659"/>
              <a:gd name="connsiteX1" fmla="*/ 368976 w 1947503"/>
              <a:gd name="connsiteY1" fmla="*/ 2727543 h 3166659"/>
              <a:gd name="connsiteX2" fmla="*/ 96443 w 1947503"/>
              <a:gd name="connsiteY2" fmla="*/ 3025196 h 3166659"/>
              <a:gd name="connsiteX3" fmla="*/ 1457 w 1947503"/>
              <a:gd name="connsiteY3" fmla="*/ 3003253 h 3166659"/>
              <a:gd name="connsiteX4" fmla="*/ 46 w 1947503"/>
              <a:gd name="connsiteY4" fmla="*/ 855901 h 3166659"/>
              <a:gd name="connsiteX0" fmla="*/ 46 w 1947503"/>
              <a:gd name="connsiteY0" fmla="*/ 855901 h 3154564"/>
              <a:gd name="connsiteX1" fmla="*/ 368976 w 1947503"/>
              <a:gd name="connsiteY1" fmla="*/ 2727543 h 3154564"/>
              <a:gd name="connsiteX2" fmla="*/ 96443 w 1947503"/>
              <a:gd name="connsiteY2" fmla="*/ 3025196 h 3154564"/>
              <a:gd name="connsiteX3" fmla="*/ 1457 w 1947503"/>
              <a:gd name="connsiteY3" fmla="*/ 3003253 h 3154564"/>
              <a:gd name="connsiteX4" fmla="*/ 46 w 1947503"/>
              <a:gd name="connsiteY4" fmla="*/ 855901 h 3154564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63511"/>
              <a:gd name="connsiteX1" fmla="*/ 368976 w 1947503"/>
              <a:gd name="connsiteY1" fmla="*/ 2727543 h 3063511"/>
              <a:gd name="connsiteX2" fmla="*/ 96443 w 1947503"/>
              <a:gd name="connsiteY2" fmla="*/ 3025196 h 3063511"/>
              <a:gd name="connsiteX3" fmla="*/ 1457 w 1947503"/>
              <a:gd name="connsiteY3" fmla="*/ 3003253 h 3063511"/>
              <a:gd name="connsiteX4" fmla="*/ 46 w 1947503"/>
              <a:gd name="connsiteY4" fmla="*/ 855901 h 3063511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748161"/>
              <a:gd name="connsiteY0" fmla="*/ 802155 h 3002262"/>
              <a:gd name="connsiteX1" fmla="*/ 368976 w 1748161"/>
              <a:gd name="connsiteY1" fmla="*/ 2673797 h 3002262"/>
              <a:gd name="connsiteX2" fmla="*/ 96443 w 1748161"/>
              <a:gd name="connsiteY2" fmla="*/ 2971450 h 3002262"/>
              <a:gd name="connsiteX3" fmla="*/ 1457 w 1748161"/>
              <a:gd name="connsiteY3" fmla="*/ 2949507 h 3002262"/>
              <a:gd name="connsiteX4" fmla="*/ 46 w 1748161"/>
              <a:gd name="connsiteY4" fmla="*/ 802155 h 3002262"/>
              <a:gd name="connsiteX0" fmla="*/ 46 w 1748161"/>
              <a:gd name="connsiteY0" fmla="*/ 802155 h 3002262"/>
              <a:gd name="connsiteX1" fmla="*/ 368976 w 1748161"/>
              <a:gd name="connsiteY1" fmla="*/ 2673797 h 3002262"/>
              <a:gd name="connsiteX2" fmla="*/ 96443 w 1748161"/>
              <a:gd name="connsiteY2" fmla="*/ 2971450 h 3002262"/>
              <a:gd name="connsiteX3" fmla="*/ 1457 w 1748161"/>
              <a:gd name="connsiteY3" fmla="*/ 2949507 h 3002262"/>
              <a:gd name="connsiteX4" fmla="*/ 46 w 1748161"/>
              <a:gd name="connsiteY4" fmla="*/ 802155 h 3002262"/>
              <a:gd name="connsiteX0" fmla="*/ 46 w 1752318"/>
              <a:gd name="connsiteY0" fmla="*/ 788682 h 2988789"/>
              <a:gd name="connsiteX1" fmla="*/ 368976 w 1752318"/>
              <a:gd name="connsiteY1" fmla="*/ 2660324 h 2988789"/>
              <a:gd name="connsiteX2" fmla="*/ 96443 w 1752318"/>
              <a:gd name="connsiteY2" fmla="*/ 2957977 h 2988789"/>
              <a:gd name="connsiteX3" fmla="*/ 1457 w 1752318"/>
              <a:gd name="connsiteY3" fmla="*/ 2936034 h 2988789"/>
              <a:gd name="connsiteX4" fmla="*/ 46 w 1752318"/>
              <a:gd name="connsiteY4" fmla="*/ 788682 h 2988789"/>
              <a:gd name="connsiteX0" fmla="*/ 46 w 1749822"/>
              <a:gd name="connsiteY0" fmla="*/ 793733 h 2993840"/>
              <a:gd name="connsiteX1" fmla="*/ 368976 w 1749822"/>
              <a:gd name="connsiteY1" fmla="*/ 2665375 h 2993840"/>
              <a:gd name="connsiteX2" fmla="*/ 96443 w 1749822"/>
              <a:gd name="connsiteY2" fmla="*/ 2963028 h 2993840"/>
              <a:gd name="connsiteX3" fmla="*/ 1457 w 1749822"/>
              <a:gd name="connsiteY3" fmla="*/ 2941085 h 2993840"/>
              <a:gd name="connsiteX4" fmla="*/ 46 w 1749822"/>
              <a:gd name="connsiteY4" fmla="*/ 793733 h 2993840"/>
              <a:gd name="connsiteX0" fmla="*/ 46 w 1749822"/>
              <a:gd name="connsiteY0" fmla="*/ 793733 h 2993840"/>
              <a:gd name="connsiteX1" fmla="*/ 368976 w 1749822"/>
              <a:gd name="connsiteY1" fmla="*/ 2665375 h 2993840"/>
              <a:gd name="connsiteX2" fmla="*/ 96443 w 1749822"/>
              <a:gd name="connsiteY2" fmla="*/ 2963028 h 2993840"/>
              <a:gd name="connsiteX3" fmla="*/ 1457 w 1749822"/>
              <a:gd name="connsiteY3" fmla="*/ 2941085 h 2993840"/>
              <a:gd name="connsiteX4" fmla="*/ 46 w 1749822"/>
              <a:gd name="connsiteY4" fmla="*/ 793733 h 2993840"/>
              <a:gd name="connsiteX0" fmla="*/ 46 w 404090"/>
              <a:gd name="connsiteY0" fmla="*/ 516228 h 2716335"/>
              <a:gd name="connsiteX1" fmla="*/ 368976 w 404090"/>
              <a:gd name="connsiteY1" fmla="*/ 2387870 h 2716335"/>
              <a:gd name="connsiteX2" fmla="*/ 96443 w 404090"/>
              <a:gd name="connsiteY2" fmla="*/ 2685523 h 2716335"/>
              <a:gd name="connsiteX3" fmla="*/ 1457 w 404090"/>
              <a:gd name="connsiteY3" fmla="*/ 2663580 h 2716335"/>
              <a:gd name="connsiteX4" fmla="*/ 46 w 404090"/>
              <a:gd name="connsiteY4" fmla="*/ 516228 h 2716335"/>
              <a:gd name="connsiteX0" fmla="*/ 777284 w 2211803"/>
              <a:gd name="connsiteY0" fmla="*/ 744448 h 3507127"/>
              <a:gd name="connsiteX1" fmla="*/ 1146214 w 2211803"/>
              <a:gd name="connsiteY1" fmla="*/ 2616090 h 3507127"/>
              <a:gd name="connsiteX2" fmla="*/ 873681 w 2211803"/>
              <a:gd name="connsiteY2" fmla="*/ 2913743 h 3507127"/>
              <a:gd name="connsiteX3" fmla="*/ 778695 w 2211803"/>
              <a:gd name="connsiteY3" fmla="*/ 2891800 h 3507127"/>
              <a:gd name="connsiteX4" fmla="*/ 777284 w 2211803"/>
              <a:gd name="connsiteY4" fmla="*/ 744448 h 3507127"/>
              <a:gd name="connsiteX0" fmla="*/ 1076399 w 2811144"/>
              <a:gd name="connsiteY0" fmla="*/ 804551 h 3708291"/>
              <a:gd name="connsiteX1" fmla="*/ 1445329 w 2811144"/>
              <a:gd name="connsiteY1" fmla="*/ 2676193 h 3708291"/>
              <a:gd name="connsiteX2" fmla="*/ 1172796 w 2811144"/>
              <a:gd name="connsiteY2" fmla="*/ 2973846 h 3708291"/>
              <a:gd name="connsiteX3" fmla="*/ 1077810 w 2811144"/>
              <a:gd name="connsiteY3" fmla="*/ 2951903 h 3708291"/>
              <a:gd name="connsiteX4" fmla="*/ 1076399 w 2811144"/>
              <a:gd name="connsiteY4" fmla="*/ 804551 h 3708291"/>
              <a:gd name="connsiteX0" fmla="*/ 47 w 399202"/>
              <a:gd name="connsiteY0" fmla="*/ 512681 h 2712788"/>
              <a:gd name="connsiteX1" fmla="*/ 368977 w 399202"/>
              <a:gd name="connsiteY1" fmla="*/ 2384323 h 2712788"/>
              <a:gd name="connsiteX2" fmla="*/ 96444 w 399202"/>
              <a:gd name="connsiteY2" fmla="*/ 2681976 h 2712788"/>
              <a:gd name="connsiteX3" fmla="*/ 1458 w 399202"/>
              <a:gd name="connsiteY3" fmla="*/ 2660033 h 2712788"/>
              <a:gd name="connsiteX4" fmla="*/ 47 w 399202"/>
              <a:gd name="connsiteY4" fmla="*/ 512681 h 2712788"/>
              <a:gd name="connsiteX0" fmla="*/ 47 w 544902"/>
              <a:gd name="connsiteY0" fmla="*/ 553542 h 2753649"/>
              <a:gd name="connsiteX1" fmla="*/ 368977 w 544902"/>
              <a:gd name="connsiteY1" fmla="*/ 2425184 h 2753649"/>
              <a:gd name="connsiteX2" fmla="*/ 96444 w 544902"/>
              <a:gd name="connsiteY2" fmla="*/ 2722837 h 2753649"/>
              <a:gd name="connsiteX3" fmla="*/ 1458 w 544902"/>
              <a:gd name="connsiteY3" fmla="*/ 2700894 h 2753649"/>
              <a:gd name="connsiteX4" fmla="*/ 47 w 544902"/>
              <a:gd name="connsiteY4" fmla="*/ 553542 h 2753649"/>
              <a:gd name="connsiteX0" fmla="*/ 736083 w 2129194"/>
              <a:gd name="connsiteY0" fmla="*/ 737259 h 3482022"/>
              <a:gd name="connsiteX1" fmla="*/ 1105013 w 2129194"/>
              <a:gd name="connsiteY1" fmla="*/ 2608901 h 3482022"/>
              <a:gd name="connsiteX2" fmla="*/ 832480 w 2129194"/>
              <a:gd name="connsiteY2" fmla="*/ 2906554 h 3482022"/>
              <a:gd name="connsiteX3" fmla="*/ 737494 w 2129194"/>
              <a:gd name="connsiteY3" fmla="*/ 2884611 h 3482022"/>
              <a:gd name="connsiteX4" fmla="*/ 736083 w 2129194"/>
              <a:gd name="connsiteY4" fmla="*/ 737259 h 3482022"/>
              <a:gd name="connsiteX0" fmla="*/ 47 w 511420"/>
              <a:gd name="connsiteY0" fmla="*/ 531224 h 2731331"/>
              <a:gd name="connsiteX1" fmla="*/ 368977 w 511420"/>
              <a:gd name="connsiteY1" fmla="*/ 2402866 h 2731331"/>
              <a:gd name="connsiteX2" fmla="*/ 96444 w 511420"/>
              <a:gd name="connsiteY2" fmla="*/ 2700519 h 2731331"/>
              <a:gd name="connsiteX3" fmla="*/ 1458 w 511420"/>
              <a:gd name="connsiteY3" fmla="*/ 2678576 h 2731331"/>
              <a:gd name="connsiteX4" fmla="*/ 47 w 511420"/>
              <a:gd name="connsiteY4" fmla="*/ 531224 h 2731331"/>
              <a:gd name="connsiteX0" fmla="*/ 47 w 730958"/>
              <a:gd name="connsiteY0" fmla="*/ 555697 h 2755804"/>
              <a:gd name="connsiteX1" fmla="*/ 631066 w 730958"/>
              <a:gd name="connsiteY1" fmla="*/ 2217668 h 2755804"/>
              <a:gd name="connsiteX2" fmla="*/ 96444 w 730958"/>
              <a:gd name="connsiteY2" fmla="*/ 2724992 h 2755804"/>
              <a:gd name="connsiteX3" fmla="*/ 1458 w 730958"/>
              <a:gd name="connsiteY3" fmla="*/ 2703049 h 2755804"/>
              <a:gd name="connsiteX4" fmla="*/ 47 w 730958"/>
              <a:gd name="connsiteY4" fmla="*/ 555697 h 2755804"/>
              <a:gd name="connsiteX0" fmla="*/ 47 w 928515"/>
              <a:gd name="connsiteY0" fmla="*/ 653539 h 2950202"/>
              <a:gd name="connsiteX1" fmla="*/ 631066 w 928515"/>
              <a:gd name="connsiteY1" fmla="*/ 2315510 h 2950202"/>
              <a:gd name="connsiteX2" fmla="*/ 96444 w 928515"/>
              <a:gd name="connsiteY2" fmla="*/ 2822834 h 2950202"/>
              <a:gd name="connsiteX3" fmla="*/ 1458 w 928515"/>
              <a:gd name="connsiteY3" fmla="*/ 2800891 h 2950202"/>
              <a:gd name="connsiteX4" fmla="*/ 47 w 928515"/>
              <a:gd name="connsiteY4" fmla="*/ 653539 h 2950202"/>
              <a:gd name="connsiteX0" fmla="*/ 705076 w 2447495"/>
              <a:gd name="connsiteY0" fmla="*/ 796906 h 3438718"/>
              <a:gd name="connsiteX1" fmla="*/ 1336095 w 2447495"/>
              <a:gd name="connsiteY1" fmla="*/ 2458877 h 3438718"/>
              <a:gd name="connsiteX2" fmla="*/ 801473 w 2447495"/>
              <a:gd name="connsiteY2" fmla="*/ 2966201 h 3438718"/>
              <a:gd name="connsiteX3" fmla="*/ 706487 w 2447495"/>
              <a:gd name="connsiteY3" fmla="*/ 2944258 h 3438718"/>
              <a:gd name="connsiteX4" fmla="*/ 705076 w 2447495"/>
              <a:gd name="connsiteY4" fmla="*/ 796906 h 3438718"/>
              <a:gd name="connsiteX0" fmla="*/ 750894 w 2539724"/>
              <a:gd name="connsiteY0" fmla="*/ 791191 h 3420519"/>
              <a:gd name="connsiteX1" fmla="*/ 1381913 w 2539724"/>
              <a:gd name="connsiteY1" fmla="*/ 2453162 h 3420519"/>
              <a:gd name="connsiteX2" fmla="*/ 847291 w 2539724"/>
              <a:gd name="connsiteY2" fmla="*/ 2960486 h 3420519"/>
              <a:gd name="connsiteX3" fmla="*/ 752305 w 2539724"/>
              <a:gd name="connsiteY3" fmla="*/ 2938543 h 3420519"/>
              <a:gd name="connsiteX4" fmla="*/ 750894 w 2539724"/>
              <a:gd name="connsiteY4" fmla="*/ 791191 h 3420519"/>
              <a:gd name="connsiteX0" fmla="*/ 738161 w 2514098"/>
              <a:gd name="connsiteY0" fmla="*/ 798057 h 3442368"/>
              <a:gd name="connsiteX1" fmla="*/ 1369180 w 2514098"/>
              <a:gd name="connsiteY1" fmla="*/ 2460028 h 3442368"/>
              <a:gd name="connsiteX2" fmla="*/ 834558 w 2514098"/>
              <a:gd name="connsiteY2" fmla="*/ 2967352 h 3442368"/>
              <a:gd name="connsiteX3" fmla="*/ 739572 w 2514098"/>
              <a:gd name="connsiteY3" fmla="*/ 2945409 h 3442368"/>
              <a:gd name="connsiteX4" fmla="*/ 738161 w 2514098"/>
              <a:gd name="connsiteY4" fmla="*/ 798057 h 3442368"/>
              <a:gd name="connsiteX0" fmla="*/ 722887 w 2483353"/>
              <a:gd name="connsiteY0" fmla="*/ 798057 h 3442368"/>
              <a:gd name="connsiteX1" fmla="*/ 1353906 w 2483353"/>
              <a:gd name="connsiteY1" fmla="*/ 2460028 h 3442368"/>
              <a:gd name="connsiteX2" fmla="*/ 819284 w 2483353"/>
              <a:gd name="connsiteY2" fmla="*/ 2967352 h 3442368"/>
              <a:gd name="connsiteX3" fmla="*/ 724298 w 2483353"/>
              <a:gd name="connsiteY3" fmla="*/ 2945409 h 3442368"/>
              <a:gd name="connsiteX4" fmla="*/ 722887 w 2483353"/>
              <a:gd name="connsiteY4" fmla="*/ 798057 h 3442368"/>
              <a:gd name="connsiteX0" fmla="*/ 395918 w 2572118"/>
              <a:gd name="connsiteY0" fmla="*/ 953184 h 3278390"/>
              <a:gd name="connsiteX1" fmla="*/ 1551115 w 2572118"/>
              <a:gd name="connsiteY1" fmla="*/ 2026911 h 3278390"/>
              <a:gd name="connsiteX2" fmla="*/ 492315 w 2572118"/>
              <a:gd name="connsiteY2" fmla="*/ 3122479 h 3278390"/>
              <a:gd name="connsiteX3" fmla="*/ 397329 w 2572118"/>
              <a:gd name="connsiteY3" fmla="*/ 3100536 h 3278390"/>
              <a:gd name="connsiteX4" fmla="*/ 395918 w 2572118"/>
              <a:gd name="connsiteY4" fmla="*/ 953184 h 3278390"/>
              <a:gd name="connsiteX0" fmla="*/ 30230 w 1788185"/>
              <a:gd name="connsiteY0" fmla="*/ 831274 h 3031381"/>
              <a:gd name="connsiteX1" fmla="*/ 1185427 w 1788185"/>
              <a:gd name="connsiteY1" fmla="*/ 1905001 h 3031381"/>
              <a:gd name="connsiteX2" fmla="*/ 126627 w 1788185"/>
              <a:gd name="connsiteY2" fmla="*/ 3000569 h 3031381"/>
              <a:gd name="connsiteX3" fmla="*/ 31641 w 1788185"/>
              <a:gd name="connsiteY3" fmla="*/ 2978626 h 3031381"/>
              <a:gd name="connsiteX4" fmla="*/ 30230 w 1788185"/>
              <a:gd name="connsiteY4" fmla="*/ 831274 h 3031381"/>
              <a:gd name="connsiteX0" fmla="*/ 47 w 1256820"/>
              <a:gd name="connsiteY0" fmla="*/ 681223 h 2881330"/>
              <a:gd name="connsiteX1" fmla="*/ 1155244 w 1256820"/>
              <a:gd name="connsiteY1" fmla="*/ 1754950 h 2881330"/>
              <a:gd name="connsiteX2" fmla="*/ 96444 w 1256820"/>
              <a:gd name="connsiteY2" fmla="*/ 2850518 h 2881330"/>
              <a:gd name="connsiteX3" fmla="*/ 1458 w 1256820"/>
              <a:gd name="connsiteY3" fmla="*/ 2828575 h 2881330"/>
              <a:gd name="connsiteX4" fmla="*/ 47 w 1256820"/>
              <a:gd name="connsiteY4" fmla="*/ 681223 h 2881330"/>
              <a:gd name="connsiteX0" fmla="*/ 47 w 1256820"/>
              <a:gd name="connsiteY0" fmla="*/ 681223 h 2881330"/>
              <a:gd name="connsiteX1" fmla="*/ 1155244 w 1256820"/>
              <a:gd name="connsiteY1" fmla="*/ 1754950 h 2881330"/>
              <a:gd name="connsiteX2" fmla="*/ 96444 w 1256820"/>
              <a:gd name="connsiteY2" fmla="*/ 2850518 h 2881330"/>
              <a:gd name="connsiteX3" fmla="*/ 1458 w 1256820"/>
              <a:gd name="connsiteY3" fmla="*/ 2828575 h 2881330"/>
              <a:gd name="connsiteX4" fmla="*/ 47 w 1256820"/>
              <a:gd name="connsiteY4" fmla="*/ 681223 h 2881330"/>
              <a:gd name="connsiteX0" fmla="*/ 47 w 1760471"/>
              <a:gd name="connsiteY0" fmla="*/ 813967 h 3014074"/>
              <a:gd name="connsiteX1" fmla="*/ 1155244 w 1760471"/>
              <a:gd name="connsiteY1" fmla="*/ 1887694 h 3014074"/>
              <a:gd name="connsiteX2" fmla="*/ 96444 w 1760471"/>
              <a:gd name="connsiteY2" fmla="*/ 2983262 h 3014074"/>
              <a:gd name="connsiteX3" fmla="*/ 1458 w 1760471"/>
              <a:gd name="connsiteY3" fmla="*/ 2961319 h 3014074"/>
              <a:gd name="connsiteX4" fmla="*/ 47 w 1760471"/>
              <a:gd name="connsiteY4" fmla="*/ 813967 h 3014074"/>
              <a:gd name="connsiteX0" fmla="*/ 47 w 1675680"/>
              <a:gd name="connsiteY0" fmla="*/ 865670 h 3065777"/>
              <a:gd name="connsiteX1" fmla="*/ 1155244 w 1675680"/>
              <a:gd name="connsiteY1" fmla="*/ 1939397 h 3065777"/>
              <a:gd name="connsiteX2" fmla="*/ 96444 w 1675680"/>
              <a:gd name="connsiteY2" fmla="*/ 3034965 h 3065777"/>
              <a:gd name="connsiteX3" fmla="*/ 1458 w 1675680"/>
              <a:gd name="connsiteY3" fmla="*/ 3013022 h 3065777"/>
              <a:gd name="connsiteX4" fmla="*/ 47 w 1675680"/>
              <a:gd name="connsiteY4" fmla="*/ 865670 h 3065777"/>
              <a:gd name="connsiteX0" fmla="*/ 47 w 1754273"/>
              <a:gd name="connsiteY0" fmla="*/ 834667 h 3034774"/>
              <a:gd name="connsiteX1" fmla="*/ 1155244 w 1754273"/>
              <a:gd name="connsiteY1" fmla="*/ 1908394 h 3034774"/>
              <a:gd name="connsiteX2" fmla="*/ 96444 w 1754273"/>
              <a:gd name="connsiteY2" fmla="*/ 3003962 h 3034774"/>
              <a:gd name="connsiteX3" fmla="*/ 1458 w 1754273"/>
              <a:gd name="connsiteY3" fmla="*/ 2982019 h 3034774"/>
              <a:gd name="connsiteX4" fmla="*/ 47 w 1754273"/>
              <a:gd name="connsiteY4" fmla="*/ 834667 h 3034774"/>
              <a:gd name="connsiteX0" fmla="*/ 47 w 1712428"/>
              <a:gd name="connsiteY0" fmla="*/ 860399 h 3060506"/>
              <a:gd name="connsiteX1" fmla="*/ 1155244 w 1712428"/>
              <a:gd name="connsiteY1" fmla="*/ 1934126 h 3060506"/>
              <a:gd name="connsiteX2" fmla="*/ 96444 w 1712428"/>
              <a:gd name="connsiteY2" fmla="*/ 3029694 h 3060506"/>
              <a:gd name="connsiteX3" fmla="*/ 1458 w 1712428"/>
              <a:gd name="connsiteY3" fmla="*/ 3007751 h 3060506"/>
              <a:gd name="connsiteX4" fmla="*/ 47 w 1712428"/>
              <a:gd name="connsiteY4" fmla="*/ 860399 h 3060506"/>
              <a:gd name="connsiteX0" fmla="*/ 47 w 1749340"/>
              <a:gd name="connsiteY0" fmla="*/ 813600 h 3013707"/>
              <a:gd name="connsiteX1" fmla="*/ 1155244 w 1749340"/>
              <a:gd name="connsiteY1" fmla="*/ 1887327 h 3013707"/>
              <a:gd name="connsiteX2" fmla="*/ 96444 w 1749340"/>
              <a:gd name="connsiteY2" fmla="*/ 2982895 h 3013707"/>
              <a:gd name="connsiteX3" fmla="*/ 1458 w 1749340"/>
              <a:gd name="connsiteY3" fmla="*/ 2960952 h 3013707"/>
              <a:gd name="connsiteX4" fmla="*/ 47 w 1749340"/>
              <a:gd name="connsiteY4" fmla="*/ 813600 h 3013707"/>
              <a:gd name="connsiteX0" fmla="*/ 47 w 2123694"/>
              <a:gd name="connsiteY0" fmla="*/ 939789 h 3139896"/>
              <a:gd name="connsiteX1" fmla="*/ 1592060 w 2123694"/>
              <a:gd name="connsiteY1" fmla="*/ 1553404 h 3139896"/>
              <a:gd name="connsiteX2" fmla="*/ 96444 w 2123694"/>
              <a:gd name="connsiteY2" fmla="*/ 3109084 h 3139896"/>
              <a:gd name="connsiteX3" fmla="*/ 1458 w 2123694"/>
              <a:gd name="connsiteY3" fmla="*/ 3087141 h 3139896"/>
              <a:gd name="connsiteX4" fmla="*/ 47 w 2123694"/>
              <a:gd name="connsiteY4" fmla="*/ 939789 h 3139896"/>
              <a:gd name="connsiteX0" fmla="*/ 47 w 1761213"/>
              <a:gd name="connsiteY0" fmla="*/ 891556 h 3091663"/>
              <a:gd name="connsiteX1" fmla="*/ 1592060 w 1761213"/>
              <a:gd name="connsiteY1" fmla="*/ 1505171 h 3091663"/>
              <a:gd name="connsiteX2" fmla="*/ 96444 w 1761213"/>
              <a:gd name="connsiteY2" fmla="*/ 3060851 h 3091663"/>
              <a:gd name="connsiteX3" fmla="*/ 1458 w 1761213"/>
              <a:gd name="connsiteY3" fmla="*/ 3038908 h 3091663"/>
              <a:gd name="connsiteX4" fmla="*/ 47 w 1761213"/>
              <a:gd name="connsiteY4" fmla="*/ 891556 h 3091663"/>
              <a:gd name="connsiteX0" fmla="*/ 47 w 1765403"/>
              <a:gd name="connsiteY0" fmla="*/ 808980 h 3009087"/>
              <a:gd name="connsiteX1" fmla="*/ 1592060 w 1765403"/>
              <a:gd name="connsiteY1" fmla="*/ 1422595 h 3009087"/>
              <a:gd name="connsiteX2" fmla="*/ 96444 w 1765403"/>
              <a:gd name="connsiteY2" fmla="*/ 2978275 h 3009087"/>
              <a:gd name="connsiteX3" fmla="*/ 1458 w 1765403"/>
              <a:gd name="connsiteY3" fmla="*/ 2956332 h 3009087"/>
              <a:gd name="connsiteX4" fmla="*/ 47 w 1765403"/>
              <a:gd name="connsiteY4" fmla="*/ 808980 h 3009087"/>
              <a:gd name="connsiteX0" fmla="*/ 47 w 1814671"/>
              <a:gd name="connsiteY0" fmla="*/ 781904 h 2982011"/>
              <a:gd name="connsiteX1" fmla="*/ 1592060 w 1814671"/>
              <a:gd name="connsiteY1" fmla="*/ 1395519 h 2982011"/>
              <a:gd name="connsiteX2" fmla="*/ 96444 w 1814671"/>
              <a:gd name="connsiteY2" fmla="*/ 2951199 h 2982011"/>
              <a:gd name="connsiteX3" fmla="*/ 1458 w 1814671"/>
              <a:gd name="connsiteY3" fmla="*/ 2929256 h 2982011"/>
              <a:gd name="connsiteX4" fmla="*/ 47 w 1814671"/>
              <a:gd name="connsiteY4" fmla="*/ 781904 h 2982011"/>
              <a:gd name="connsiteX0" fmla="*/ 47 w 1669744"/>
              <a:gd name="connsiteY0" fmla="*/ 678598 h 2878705"/>
              <a:gd name="connsiteX1" fmla="*/ 1304433 w 1669744"/>
              <a:gd name="connsiteY1" fmla="*/ 20356 h 2878705"/>
              <a:gd name="connsiteX2" fmla="*/ 1592060 w 1669744"/>
              <a:gd name="connsiteY2" fmla="*/ 1292213 h 2878705"/>
              <a:gd name="connsiteX3" fmla="*/ 96444 w 1669744"/>
              <a:gd name="connsiteY3" fmla="*/ 2847893 h 2878705"/>
              <a:gd name="connsiteX4" fmla="*/ 1458 w 1669744"/>
              <a:gd name="connsiteY4" fmla="*/ 2825950 h 2878705"/>
              <a:gd name="connsiteX5" fmla="*/ 47 w 1669744"/>
              <a:gd name="connsiteY5" fmla="*/ 678598 h 2878705"/>
              <a:gd name="connsiteX0" fmla="*/ 47 w 1669744"/>
              <a:gd name="connsiteY0" fmla="*/ 797492 h 2997599"/>
              <a:gd name="connsiteX1" fmla="*/ 1304433 w 1669744"/>
              <a:gd name="connsiteY1" fmla="*/ 139250 h 2997599"/>
              <a:gd name="connsiteX2" fmla="*/ 1592060 w 1669744"/>
              <a:gd name="connsiteY2" fmla="*/ 1411107 h 2997599"/>
              <a:gd name="connsiteX3" fmla="*/ 96444 w 1669744"/>
              <a:gd name="connsiteY3" fmla="*/ 2966787 h 2997599"/>
              <a:gd name="connsiteX4" fmla="*/ 1458 w 1669744"/>
              <a:gd name="connsiteY4" fmla="*/ 2944844 h 2997599"/>
              <a:gd name="connsiteX5" fmla="*/ 47 w 1669744"/>
              <a:gd name="connsiteY5" fmla="*/ 797492 h 2997599"/>
              <a:gd name="connsiteX0" fmla="*/ 47 w 1669744"/>
              <a:gd name="connsiteY0" fmla="*/ 796759 h 2996866"/>
              <a:gd name="connsiteX1" fmla="*/ 1304433 w 1669744"/>
              <a:gd name="connsiteY1" fmla="*/ 138517 h 2996866"/>
              <a:gd name="connsiteX2" fmla="*/ 1592060 w 1669744"/>
              <a:gd name="connsiteY2" fmla="*/ 1410374 h 2996866"/>
              <a:gd name="connsiteX3" fmla="*/ 96444 w 1669744"/>
              <a:gd name="connsiteY3" fmla="*/ 2966054 h 2996866"/>
              <a:gd name="connsiteX4" fmla="*/ 1458 w 1669744"/>
              <a:gd name="connsiteY4" fmla="*/ 2944111 h 2996866"/>
              <a:gd name="connsiteX5" fmla="*/ 47 w 1669744"/>
              <a:gd name="connsiteY5" fmla="*/ 796759 h 2996866"/>
              <a:gd name="connsiteX0" fmla="*/ 47 w 1674254"/>
              <a:gd name="connsiteY0" fmla="*/ 816902 h 3017009"/>
              <a:gd name="connsiteX1" fmla="*/ 1321905 w 1674254"/>
              <a:gd name="connsiteY1" fmla="*/ 135363 h 3017009"/>
              <a:gd name="connsiteX2" fmla="*/ 1592060 w 1674254"/>
              <a:gd name="connsiteY2" fmla="*/ 1430517 h 3017009"/>
              <a:gd name="connsiteX3" fmla="*/ 96444 w 1674254"/>
              <a:gd name="connsiteY3" fmla="*/ 2986197 h 3017009"/>
              <a:gd name="connsiteX4" fmla="*/ 1458 w 1674254"/>
              <a:gd name="connsiteY4" fmla="*/ 2964254 h 3017009"/>
              <a:gd name="connsiteX5" fmla="*/ 47 w 1674254"/>
              <a:gd name="connsiteY5" fmla="*/ 816902 h 3017009"/>
              <a:gd name="connsiteX0" fmla="*/ 47 w 1674254"/>
              <a:gd name="connsiteY0" fmla="*/ 795700 h 2995807"/>
              <a:gd name="connsiteX1" fmla="*/ 1321905 w 1674254"/>
              <a:gd name="connsiteY1" fmla="*/ 114161 h 2995807"/>
              <a:gd name="connsiteX2" fmla="*/ 1592060 w 1674254"/>
              <a:gd name="connsiteY2" fmla="*/ 1409315 h 2995807"/>
              <a:gd name="connsiteX3" fmla="*/ 96444 w 1674254"/>
              <a:gd name="connsiteY3" fmla="*/ 2964995 h 2995807"/>
              <a:gd name="connsiteX4" fmla="*/ 1458 w 1674254"/>
              <a:gd name="connsiteY4" fmla="*/ 2943052 h 2995807"/>
              <a:gd name="connsiteX5" fmla="*/ 47 w 1674254"/>
              <a:gd name="connsiteY5" fmla="*/ 795700 h 2995807"/>
              <a:gd name="connsiteX0" fmla="*/ 47 w 1689928"/>
              <a:gd name="connsiteY0" fmla="*/ 795700 h 2995807"/>
              <a:gd name="connsiteX1" fmla="*/ 1321905 w 1689928"/>
              <a:gd name="connsiteY1" fmla="*/ 114161 h 2995807"/>
              <a:gd name="connsiteX2" fmla="*/ 1592060 w 1689928"/>
              <a:gd name="connsiteY2" fmla="*/ 1409315 h 2995807"/>
              <a:gd name="connsiteX3" fmla="*/ 96444 w 1689928"/>
              <a:gd name="connsiteY3" fmla="*/ 2964995 h 2995807"/>
              <a:gd name="connsiteX4" fmla="*/ 1458 w 1689928"/>
              <a:gd name="connsiteY4" fmla="*/ 2943052 h 2995807"/>
              <a:gd name="connsiteX5" fmla="*/ 47 w 1689928"/>
              <a:gd name="connsiteY5" fmla="*/ 795700 h 2995807"/>
              <a:gd name="connsiteX0" fmla="*/ 47 w 1746860"/>
              <a:gd name="connsiteY0" fmla="*/ 795700 h 2995807"/>
              <a:gd name="connsiteX1" fmla="*/ 1321905 w 1746860"/>
              <a:gd name="connsiteY1" fmla="*/ 114161 h 2995807"/>
              <a:gd name="connsiteX2" fmla="*/ 1592060 w 1746860"/>
              <a:gd name="connsiteY2" fmla="*/ 1409315 h 2995807"/>
              <a:gd name="connsiteX3" fmla="*/ 96444 w 1746860"/>
              <a:gd name="connsiteY3" fmla="*/ 2964995 h 2995807"/>
              <a:gd name="connsiteX4" fmla="*/ 1458 w 1746860"/>
              <a:gd name="connsiteY4" fmla="*/ 2943052 h 2995807"/>
              <a:gd name="connsiteX5" fmla="*/ 47 w 1746860"/>
              <a:gd name="connsiteY5" fmla="*/ 795700 h 2995807"/>
              <a:gd name="connsiteX0" fmla="*/ 47 w 1817082"/>
              <a:gd name="connsiteY0" fmla="*/ 795700 h 2995807"/>
              <a:gd name="connsiteX1" fmla="*/ 1321905 w 1817082"/>
              <a:gd name="connsiteY1" fmla="*/ 114161 h 2995807"/>
              <a:gd name="connsiteX2" fmla="*/ 1592060 w 1817082"/>
              <a:gd name="connsiteY2" fmla="*/ 1409315 h 2995807"/>
              <a:gd name="connsiteX3" fmla="*/ 96444 w 1817082"/>
              <a:gd name="connsiteY3" fmla="*/ 2964995 h 2995807"/>
              <a:gd name="connsiteX4" fmla="*/ 1458 w 1817082"/>
              <a:gd name="connsiteY4" fmla="*/ 2943052 h 2995807"/>
              <a:gd name="connsiteX5" fmla="*/ 47 w 1817082"/>
              <a:gd name="connsiteY5" fmla="*/ 795700 h 2995807"/>
              <a:gd name="connsiteX0" fmla="*/ 47 w 1765318"/>
              <a:gd name="connsiteY0" fmla="*/ 795700 h 2995807"/>
              <a:gd name="connsiteX1" fmla="*/ 1321905 w 1765318"/>
              <a:gd name="connsiteY1" fmla="*/ 114161 h 2995807"/>
              <a:gd name="connsiteX2" fmla="*/ 1592060 w 1765318"/>
              <a:gd name="connsiteY2" fmla="*/ 1409315 h 2995807"/>
              <a:gd name="connsiteX3" fmla="*/ 96444 w 1765318"/>
              <a:gd name="connsiteY3" fmla="*/ 2964995 h 2995807"/>
              <a:gd name="connsiteX4" fmla="*/ 1458 w 1765318"/>
              <a:gd name="connsiteY4" fmla="*/ 2943052 h 2995807"/>
              <a:gd name="connsiteX5" fmla="*/ 47 w 1765318"/>
              <a:gd name="connsiteY5" fmla="*/ 795700 h 2995807"/>
              <a:gd name="connsiteX0" fmla="*/ 47 w 1773136"/>
              <a:gd name="connsiteY0" fmla="*/ 795700 h 2995807"/>
              <a:gd name="connsiteX1" fmla="*/ 1321905 w 1773136"/>
              <a:gd name="connsiteY1" fmla="*/ 114161 h 2995807"/>
              <a:gd name="connsiteX2" fmla="*/ 1592060 w 1773136"/>
              <a:gd name="connsiteY2" fmla="*/ 1409315 h 2995807"/>
              <a:gd name="connsiteX3" fmla="*/ 96444 w 1773136"/>
              <a:gd name="connsiteY3" fmla="*/ 2964995 h 2995807"/>
              <a:gd name="connsiteX4" fmla="*/ 1458 w 1773136"/>
              <a:gd name="connsiteY4" fmla="*/ 2943052 h 2995807"/>
              <a:gd name="connsiteX5" fmla="*/ 47 w 1773136"/>
              <a:gd name="connsiteY5" fmla="*/ 795700 h 2995807"/>
              <a:gd name="connsiteX0" fmla="*/ 47 w 1812096"/>
              <a:gd name="connsiteY0" fmla="*/ 795700 h 2995807"/>
              <a:gd name="connsiteX1" fmla="*/ 1321905 w 1812096"/>
              <a:gd name="connsiteY1" fmla="*/ 114161 h 2995807"/>
              <a:gd name="connsiteX2" fmla="*/ 1592060 w 1812096"/>
              <a:gd name="connsiteY2" fmla="*/ 1409315 h 2995807"/>
              <a:gd name="connsiteX3" fmla="*/ 96444 w 1812096"/>
              <a:gd name="connsiteY3" fmla="*/ 2964995 h 2995807"/>
              <a:gd name="connsiteX4" fmla="*/ 1458 w 1812096"/>
              <a:gd name="connsiteY4" fmla="*/ 2943052 h 2995807"/>
              <a:gd name="connsiteX5" fmla="*/ 47 w 1812096"/>
              <a:gd name="connsiteY5" fmla="*/ 795700 h 2995807"/>
              <a:gd name="connsiteX0" fmla="*/ 47 w 1759473"/>
              <a:gd name="connsiteY0" fmla="*/ 795700 h 2995807"/>
              <a:gd name="connsiteX1" fmla="*/ 1321905 w 1759473"/>
              <a:gd name="connsiteY1" fmla="*/ 114161 h 2995807"/>
              <a:gd name="connsiteX2" fmla="*/ 1592060 w 1759473"/>
              <a:gd name="connsiteY2" fmla="*/ 1409315 h 2995807"/>
              <a:gd name="connsiteX3" fmla="*/ 96444 w 1759473"/>
              <a:gd name="connsiteY3" fmla="*/ 2964995 h 2995807"/>
              <a:gd name="connsiteX4" fmla="*/ 1458 w 1759473"/>
              <a:gd name="connsiteY4" fmla="*/ 2943052 h 2995807"/>
              <a:gd name="connsiteX5" fmla="*/ 47 w 1759473"/>
              <a:gd name="connsiteY5" fmla="*/ 795700 h 2995807"/>
              <a:gd name="connsiteX0" fmla="*/ 47 w 1747100"/>
              <a:gd name="connsiteY0" fmla="*/ 795700 h 2995807"/>
              <a:gd name="connsiteX1" fmla="*/ 1321905 w 1747100"/>
              <a:gd name="connsiteY1" fmla="*/ 114161 h 2995807"/>
              <a:gd name="connsiteX2" fmla="*/ 1592060 w 1747100"/>
              <a:gd name="connsiteY2" fmla="*/ 1409315 h 2995807"/>
              <a:gd name="connsiteX3" fmla="*/ 96444 w 1747100"/>
              <a:gd name="connsiteY3" fmla="*/ 2964995 h 2995807"/>
              <a:gd name="connsiteX4" fmla="*/ 1458 w 1747100"/>
              <a:gd name="connsiteY4" fmla="*/ 2943052 h 2995807"/>
              <a:gd name="connsiteX5" fmla="*/ 47 w 1747100"/>
              <a:gd name="connsiteY5" fmla="*/ 795700 h 2995807"/>
              <a:gd name="connsiteX0" fmla="*/ 47 w 1747100"/>
              <a:gd name="connsiteY0" fmla="*/ 801068 h 3001175"/>
              <a:gd name="connsiteX1" fmla="*/ 1321905 w 1747100"/>
              <a:gd name="connsiteY1" fmla="*/ 119529 h 3001175"/>
              <a:gd name="connsiteX2" fmla="*/ 1592060 w 1747100"/>
              <a:gd name="connsiteY2" fmla="*/ 1414683 h 3001175"/>
              <a:gd name="connsiteX3" fmla="*/ 96444 w 1747100"/>
              <a:gd name="connsiteY3" fmla="*/ 2970363 h 3001175"/>
              <a:gd name="connsiteX4" fmla="*/ 1458 w 1747100"/>
              <a:gd name="connsiteY4" fmla="*/ 2948420 h 3001175"/>
              <a:gd name="connsiteX5" fmla="*/ 47 w 1747100"/>
              <a:gd name="connsiteY5" fmla="*/ 801068 h 3001175"/>
              <a:gd name="connsiteX0" fmla="*/ 47 w 1747100"/>
              <a:gd name="connsiteY0" fmla="*/ 859428 h 2992860"/>
              <a:gd name="connsiteX1" fmla="*/ 1321905 w 1747100"/>
              <a:gd name="connsiteY1" fmla="*/ 111214 h 2992860"/>
              <a:gd name="connsiteX2" fmla="*/ 1592060 w 1747100"/>
              <a:gd name="connsiteY2" fmla="*/ 1406368 h 2992860"/>
              <a:gd name="connsiteX3" fmla="*/ 96444 w 1747100"/>
              <a:gd name="connsiteY3" fmla="*/ 2962048 h 2992860"/>
              <a:gd name="connsiteX4" fmla="*/ 1458 w 1747100"/>
              <a:gd name="connsiteY4" fmla="*/ 2940105 h 2992860"/>
              <a:gd name="connsiteX5" fmla="*/ 47 w 1747100"/>
              <a:gd name="connsiteY5" fmla="*/ 859428 h 2992860"/>
              <a:gd name="connsiteX0" fmla="*/ 317 w 1747370"/>
              <a:gd name="connsiteY0" fmla="*/ 863993 h 2997425"/>
              <a:gd name="connsiteX1" fmla="*/ 1322175 w 1747370"/>
              <a:gd name="connsiteY1" fmla="*/ 115779 h 2997425"/>
              <a:gd name="connsiteX2" fmla="*/ 1592330 w 1747370"/>
              <a:gd name="connsiteY2" fmla="*/ 1410933 h 2997425"/>
              <a:gd name="connsiteX3" fmla="*/ 96714 w 1747370"/>
              <a:gd name="connsiteY3" fmla="*/ 2966613 h 2997425"/>
              <a:gd name="connsiteX4" fmla="*/ 1728 w 1747370"/>
              <a:gd name="connsiteY4" fmla="*/ 2944670 h 2997425"/>
              <a:gd name="connsiteX5" fmla="*/ 317 w 1747370"/>
              <a:gd name="connsiteY5" fmla="*/ 863993 h 2997425"/>
              <a:gd name="connsiteX0" fmla="*/ 317 w 1758362"/>
              <a:gd name="connsiteY0" fmla="*/ 863993 h 2997425"/>
              <a:gd name="connsiteX1" fmla="*/ 1322175 w 1758362"/>
              <a:gd name="connsiteY1" fmla="*/ 115779 h 2997425"/>
              <a:gd name="connsiteX2" fmla="*/ 1592330 w 1758362"/>
              <a:gd name="connsiteY2" fmla="*/ 1410933 h 2997425"/>
              <a:gd name="connsiteX3" fmla="*/ 96714 w 1758362"/>
              <a:gd name="connsiteY3" fmla="*/ 2966613 h 2997425"/>
              <a:gd name="connsiteX4" fmla="*/ 1728 w 1758362"/>
              <a:gd name="connsiteY4" fmla="*/ 2944670 h 2997425"/>
              <a:gd name="connsiteX5" fmla="*/ 317 w 1758362"/>
              <a:gd name="connsiteY5" fmla="*/ 863993 h 2997425"/>
              <a:gd name="connsiteX0" fmla="*/ 317 w 1753088"/>
              <a:gd name="connsiteY0" fmla="*/ 863993 h 2997425"/>
              <a:gd name="connsiteX1" fmla="*/ 1322175 w 1753088"/>
              <a:gd name="connsiteY1" fmla="*/ 115779 h 2997425"/>
              <a:gd name="connsiteX2" fmla="*/ 1592330 w 1753088"/>
              <a:gd name="connsiteY2" fmla="*/ 1410933 h 2997425"/>
              <a:gd name="connsiteX3" fmla="*/ 96714 w 1753088"/>
              <a:gd name="connsiteY3" fmla="*/ 2966613 h 2997425"/>
              <a:gd name="connsiteX4" fmla="*/ 1728 w 1753088"/>
              <a:gd name="connsiteY4" fmla="*/ 2944670 h 2997425"/>
              <a:gd name="connsiteX5" fmla="*/ 317 w 1753088"/>
              <a:gd name="connsiteY5" fmla="*/ 863993 h 2997425"/>
              <a:gd name="connsiteX0" fmla="*/ 317 w 1756975"/>
              <a:gd name="connsiteY0" fmla="*/ 863993 h 2997425"/>
              <a:gd name="connsiteX1" fmla="*/ 1322175 w 1756975"/>
              <a:gd name="connsiteY1" fmla="*/ 115779 h 2997425"/>
              <a:gd name="connsiteX2" fmla="*/ 1592330 w 1756975"/>
              <a:gd name="connsiteY2" fmla="*/ 1410933 h 2997425"/>
              <a:gd name="connsiteX3" fmla="*/ 96714 w 1756975"/>
              <a:gd name="connsiteY3" fmla="*/ 2966613 h 2997425"/>
              <a:gd name="connsiteX4" fmla="*/ 1728 w 1756975"/>
              <a:gd name="connsiteY4" fmla="*/ 2944670 h 2997425"/>
              <a:gd name="connsiteX5" fmla="*/ 317 w 1756975"/>
              <a:gd name="connsiteY5" fmla="*/ 863993 h 2997425"/>
              <a:gd name="connsiteX0" fmla="*/ 317 w 1756975"/>
              <a:gd name="connsiteY0" fmla="*/ 863993 h 3004928"/>
              <a:gd name="connsiteX1" fmla="*/ 1322175 w 1756975"/>
              <a:gd name="connsiteY1" fmla="*/ 115779 h 3004928"/>
              <a:gd name="connsiteX2" fmla="*/ 1592330 w 1756975"/>
              <a:gd name="connsiteY2" fmla="*/ 1410933 h 3004928"/>
              <a:gd name="connsiteX3" fmla="*/ 96714 w 1756975"/>
              <a:gd name="connsiteY3" fmla="*/ 2966613 h 3004928"/>
              <a:gd name="connsiteX4" fmla="*/ 1728 w 1756975"/>
              <a:gd name="connsiteY4" fmla="*/ 2944670 h 3004928"/>
              <a:gd name="connsiteX5" fmla="*/ 317 w 1756975"/>
              <a:gd name="connsiteY5" fmla="*/ 863993 h 3004928"/>
              <a:gd name="connsiteX0" fmla="*/ 317 w 1756975"/>
              <a:gd name="connsiteY0" fmla="*/ 863993 h 3009727"/>
              <a:gd name="connsiteX1" fmla="*/ 1322175 w 1756975"/>
              <a:gd name="connsiteY1" fmla="*/ 115779 h 3009727"/>
              <a:gd name="connsiteX2" fmla="*/ 1592330 w 1756975"/>
              <a:gd name="connsiteY2" fmla="*/ 1410933 h 3009727"/>
              <a:gd name="connsiteX3" fmla="*/ 96714 w 1756975"/>
              <a:gd name="connsiteY3" fmla="*/ 2966613 h 3009727"/>
              <a:gd name="connsiteX4" fmla="*/ 1728 w 1756975"/>
              <a:gd name="connsiteY4" fmla="*/ 2944670 h 3009727"/>
              <a:gd name="connsiteX5" fmla="*/ 317 w 1756975"/>
              <a:gd name="connsiteY5" fmla="*/ 863993 h 3009727"/>
              <a:gd name="connsiteX0" fmla="*/ 317 w 1756975"/>
              <a:gd name="connsiteY0" fmla="*/ 863993 h 2995855"/>
              <a:gd name="connsiteX1" fmla="*/ 1322175 w 1756975"/>
              <a:gd name="connsiteY1" fmla="*/ 115779 h 2995855"/>
              <a:gd name="connsiteX2" fmla="*/ 1592330 w 1756975"/>
              <a:gd name="connsiteY2" fmla="*/ 1410933 h 2995855"/>
              <a:gd name="connsiteX3" fmla="*/ 96714 w 1756975"/>
              <a:gd name="connsiteY3" fmla="*/ 2966613 h 2995855"/>
              <a:gd name="connsiteX4" fmla="*/ 1728 w 1756975"/>
              <a:gd name="connsiteY4" fmla="*/ 2944670 h 2995855"/>
              <a:gd name="connsiteX5" fmla="*/ 317 w 1756975"/>
              <a:gd name="connsiteY5" fmla="*/ 863993 h 2995855"/>
              <a:gd name="connsiteX0" fmla="*/ 317 w 1756975"/>
              <a:gd name="connsiteY0" fmla="*/ 863993 h 2995855"/>
              <a:gd name="connsiteX1" fmla="*/ 1322175 w 1756975"/>
              <a:gd name="connsiteY1" fmla="*/ 115779 h 2995855"/>
              <a:gd name="connsiteX2" fmla="*/ 1592330 w 1756975"/>
              <a:gd name="connsiteY2" fmla="*/ 1410933 h 2995855"/>
              <a:gd name="connsiteX3" fmla="*/ 96714 w 1756975"/>
              <a:gd name="connsiteY3" fmla="*/ 2966613 h 2995855"/>
              <a:gd name="connsiteX4" fmla="*/ 1728 w 1756975"/>
              <a:gd name="connsiteY4" fmla="*/ 2944670 h 2995855"/>
              <a:gd name="connsiteX5" fmla="*/ 317 w 1756975"/>
              <a:gd name="connsiteY5" fmla="*/ 863993 h 2995855"/>
              <a:gd name="connsiteX0" fmla="*/ 317 w 1756975"/>
              <a:gd name="connsiteY0" fmla="*/ 861441 h 2993303"/>
              <a:gd name="connsiteX1" fmla="*/ 1322175 w 1756975"/>
              <a:gd name="connsiteY1" fmla="*/ 113227 h 2993303"/>
              <a:gd name="connsiteX2" fmla="*/ 1592330 w 1756975"/>
              <a:gd name="connsiteY2" fmla="*/ 1408381 h 2993303"/>
              <a:gd name="connsiteX3" fmla="*/ 96714 w 1756975"/>
              <a:gd name="connsiteY3" fmla="*/ 2964061 h 2993303"/>
              <a:gd name="connsiteX4" fmla="*/ 1728 w 1756975"/>
              <a:gd name="connsiteY4" fmla="*/ 2942118 h 2993303"/>
              <a:gd name="connsiteX5" fmla="*/ 317 w 1756975"/>
              <a:gd name="connsiteY5" fmla="*/ 861441 h 2993303"/>
              <a:gd name="connsiteX0" fmla="*/ 317 w 1749504"/>
              <a:gd name="connsiteY0" fmla="*/ 861441 h 2993303"/>
              <a:gd name="connsiteX1" fmla="*/ 1322175 w 1749504"/>
              <a:gd name="connsiteY1" fmla="*/ 113227 h 2993303"/>
              <a:gd name="connsiteX2" fmla="*/ 1579626 w 1749504"/>
              <a:gd name="connsiteY2" fmla="*/ 1430606 h 2993303"/>
              <a:gd name="connsiteX3" fmla="*/ 96714 w 1749504"/>
              <a:gd name="connsiteY3" fmla="*/ 2964061 h 2993303"/>
              <a:gd name="connsiteX4" fmla="*/ 1728 w 1749504"/>
              <a:gd name="connsiteY4" fmla="*/ 2942118 h 2993303"/>
              <a:gd name="connsiteX5" fmla="*/ 317 w 1749504"/>
              <a:gd name="connsiteY5" fmla="*/ 861441 h 2993303"/>
              <a:gd name="connsiteX0" fmla="*/ 317 w 1751386"/>
              <a:gd name="connsiteY0" fmla="*/ 861441 h 2993303"/>
              <a:gd name="connsiteX1" fmla="*/ 1322175 w 1751386"/>
              <a:gd name="connsiteY1" fmla="*/ 113227 h 2993303"/>
              <a:gd name="connsiteX2" fmla="*/ 1579626 w 1751386"/>
              <a:gd name="connsiteY2" fmla="*/ 1430606 h 2993303"/>
              <a:gd name="connsiteX3" fmla="*/ 96714 w 1751386"/>
              <a:gd name="connsiteY3" fmla="*/ 2964061 h 2993303"/>
              <a:gd name="connsiteX4" fmla="*/ 1728 w 1751386"/>
              <a:gd name="connsiteY4" fmla="*/ 2942118 h 2993303"/>
              <a:gd name="connsiteX5" fmla="*/ 317 w 1751386"/>
              <a:gd name="connsiteY5" fmla="*/ 861441 h 2993303"/>
              <a:gd name="connsiteX0" fmla="*/ 317 w 1754160"/>
              <a:gd name="connsiteY0" fmla="*/ 861441 h 2993303"/>
              <a:gd name="connsiteX1" fmla="*/ 1322175 w 1754160"/>
              <a:gd name="connsiteY1" fmla="*/ 113227 h 2993303"/>
              <a:gd name="connsiteX2" fmla="*/ 1584360 w 1754160"/>
              <a:gd name="connsiteY2" fmla="*/ 1416408 h 2993303"/>
              <a:gd name="connsiteX3" fmla="*/ 96714 w 1754160"/>
              <a:gd name="connsiteY3" fmla="*/ 2964061 h 2993303"/>
              <a:gd name="connsiteX4" fmla="*/ 1728 w 1754160"/>
              <a:gd name="connsiteY4" fmla="*/ 2942118 h 2993303"/>
              <a:gd name="connsiteX5" fmla="*/ 317 w 1754160"/>
              <a:gd name="connsiteY5" fmla="*/ 861441 h 2993303"/>
              <a:gd name="connsiteX0" fmla="*/ 97212 w 1840728"/>
              <a:gd name="connsiteY0" fmla="*/ 851039 h 2982901"/>
              <a:gd name="connsiteX1" fmla="*/ 1414336 w 1840728"/>
              <a:gd name="connsiteY1" fmla="*/ 105192 h 2982901"/>
              <a:gd name="connsiteX2" fmla="*/ 1681255 w 1840728"/>
              <a:gd name="connsiteY2" fmla="*/ 1406006 h 2982901"/>
              <a:gd name="connsiteX3" fmla="*/ 193609 w 1840728"/>
              <a:gd name="connsiteY3" fmla="*/ 2953659 h 2982901"/>
              <a:gd name="connsiteX4" fmla="*/ 98623 w 1840728"/>
              <a:gd name="connsiteY4" fmla="*/ 2931716 h 2982901"/>
              <a:gd name="connsiteX5" fmla="*/ 97212 w 1840728"/>
              <a:gd name="connsiteY5" fmla="*/ 851039 h 2982901"/>
              <a:gd name="connsiteX0" fmla="*/ 97212 w 1850529"/>
              <a:gd name="connsiteY0" fmla="*/ 851039 h 2982901"/>
              <a:gd name="connsiteX1" fmla="*/ 1414336 w 1850529"/>
              <a:gd name="connsiteY1" fmla="*/ 105192 h 2982901"/>
              <a:gd name="connsiteX2" fmla="*/ 1681255 w 1850529"/>
              <a:gd name="connsiteY2" fmla="*/ 1406006 h 2982901"/>
              <a:gd name="connsiteX3" fmla="*/ 193609 w 1850529"/>
              <a:gd name="connsiteY3" fmla="*/ 2953659 h 2982901"/>
              <a:gd name="connsiteX4" fmla="*/ 98623 w 1850529"/>
              <a:gd name="connsiteY4" fmla="*/ 2931716 h 2982901"/>
              <a:gd name="connsiteX5" fmla="*/ 97212 w 1850529"/>
              <a:gd name="connsiteY5" fmla="*/ 851039 h 2982901"/>
              <a:gd name="connsiteX0" fmla="*/ 13 w 1753330"/>
              <a:gd name="connsiteY0" fmla="*/ 858319 h 2990181"/>
              <a:gd name="connsiteX1" fmla="*/ 1317137 w 1753330"/>
              <a:gd name="connsiteY1" fmla="*/ 112472 h 2990181"/>
              <a:gd name="connsiteX2" fmla="*/ 1584056 w 1753330"/>
              <a:gd name="connsiteY2" fmla="*/ 1413286 h 2990181"/>
              <a:gd name="connsiteX3" fmla="*/ 96410 w 1753330"/>
              <a:gd name="connsiteY3" fmla="*/ 2960939 h 2990181"/>
              <a:gd name="connsiteX4" fmla="*/ 1424 w 1753330"/>
              <a:gd name="connsiteY4" fmla="*/ 2938996 h 2990181"/>
              <a:gd name="connsiteX5" fmla="*/ 13 w 1753330"/>
              <a:gd name="connsiteY5" fmla="*/ 858319 h 2990181"/>
              <a:gd name="connsiteX0" fmla="*/ 13 w 1760528"/>
              <a:gd name="connsiteY0" fmla="*/ 858319 h 2990181"/>
              <a:gd name="connsiteX1" fmla="*/ 1317137 w 1760528"/>
              <a:gd name="connsiteY1" fmla="*/ 112472 h 2990181"/>
              <a:gd name="connsiteX2" fmla="*/ 1584056 w 1760528"/>
              <a:gd name="connsiteY2" fmla="*/ 1413286 h 2990181"/>
              <a:gd name="connsiteX3" fmla="*/ 96410 w 1760528"/>
              <a:gd name="connsiteY3" fmla="*/ 2960939 h 2990181"/>
              <a:gd name="connsiteX4" fmla="*/ 1424 w 1760528"/>
              <a:gd name="connsiteY4" fmla="*/ 2938996 h 2990181"/>
              <a:gd name="connsiteX5" fmla="*/ 13 w 1760528"/>
              <a:gd name="connsiteY5" fmla="*/ 858319 h 2990181"/>
              <a:gd name="connsiteX0" fmla="*/ 13 w 1751658"/>
              <a:gd name="connsiteY0" fmla="*/ 858319 h 2990181"/>
              <a:gd name="connsiteX1" fmla="*/ 1317137 w 1751658"/>
              <a:gd name="connsiteY1" fmla="*/ 112472 h 2990181"/>
              <a:gd name="connsiteX2" fmla="*/ 1584056 w 1751658"/>
              <a:gd name="connsiteY2" fmla="*/ 1413286 h 2990181"/>
              <a:gd name="connsiteX3" fmla="*/ 96410 w 1751658"/>
              <a:gd name="connsiteY3" fmla="*/ 2960939 h 2990181"/>
              <a:gd name="connsiteX4" fmla="*/ 1424 w 1751658"/>
              <a:gd name="connsiteY4" fmla="*/ 2938996 h 2990181"/>
              <a:gd name="connsiteX5" fmla="*/ 13 w 1751658"/>
              <a:gd name="connsiteY5" fmla="*/ 858319 h 2990181"/>
              <a:gd name="connsiteX0" fmla="*/ 13 w 1759584"/>
              <a:gd name="connsiteY0" fmla="*/ 858319 h 2990181"/>
              <a:gd name="connsiteX1" fmla="*/ 1317137 w 1759584"/>
              <a:gd name="connsiteY1" fmla="*/ 112472 h 2990181"/>
              <a:gd name="connsiteX2" fmla="*/ 1584056 w 1759584"/>
              <a:gd name="connsiteY2" fmla="*/ 1413286 h 2990181"/>
              <a:gd name="connsiteX3" fmla="*/ 96410 w 1759584"/>
              <a:gd name="connsiteY3" fmla="*/ 2960939 h 2990181"/>
              <a:gd name="connsiteX4" fmla="*/ 1424 w 1759584"/>
              <a:gd name="connsiteY4" fmla="*/ 2938996 h 2990181"/>
              <a:gd name="connsiteX5" fmla="*/ 13 w 1759584"/>
              <a:gd name="connsiteY5" fmla="*/ 858319 h 2990181"/>
              <a:gd name="connsiteX0" fmla="*/ 13 w 1714478"/>
              <a:gd name="connsiteY0" fmla="*/ 858319 h 2990181"/>
              <a:gd name="connsiteX1" fmla="*/ 1317137 w 1714478"/>
              <a:gd name="connsiteY1" fmla="*/ 112472 h 2990181"/>
              <a:gd name="connsiteX2" fmla="*/ 1503572 w 1714478"/>
              <a:gd name="connsiteY2" fmla="*/ 1515045 h 2990181"/>
              <a:gd name="connsiteX3" fmla="*/ 96410 w 1714478"/>
              <a:gd name="connsiteY3" fmla="*/ 2960939 h 2990181"/>
              <a:gd name="connsiteX4" fmla="*/ 1424 w 1714478"/>
              <a:gd name="connsiteY4" fmla="*/ 2938996 h 2990181"/>
              <a:gd name="connsiteX5" fmla="*/ 13 w 1714478"/>
              <a:gd name="connsiteY5" fmla="*/ 858319 h 2990181"/>
              <a:gd name="connsiteX0" fmla="*/ 13 w 1755639"/>
              <a:gd name="connsiteY0" fmla="*/ 858319 h 2990181"/>
              <a:gd name="connsiteX1" fmla="*/ 1317137 w 1755639"/>
              <a:gd name="connsiteY1" fmla="*/ 112472 h 2990181"/>
              <a:gd name="connsiteX2" fmla="*/ 1503572 w 1755639"/>
              <a:gd name="connsiteY2" fmla="*/ 1515045 h 2990181"/>
              <a:gd name="connsiteX3" fmla="*/ 96410 w 1755639"/>
              <a:gd name="connsiteY3" fmla="*/ 2960939 h 2990181"/>
              <a:gd name="connsiteX4" fmla="*/ 1424 w 1755639"/>
              <a:gd name="connsiteY4" fmla="*/ 2938996 h 2990181"/>
              <a:gd name="connsiteX5" fmla="*/ 13 w 1755639"/>
              <a:gd name="connsiteY5" fmla="*/ 858319 h 2990181"/>
              <a:gd name="connsiteX0" fmla="*/ 13 w 1748972"/>
              <a:gd name="connsiteY0" fmla="*/ 858319 h 2990181"/>
              <a:gd name="connsiteX1" fmla="*/ 1317137 w 1748972"/>
              <a:gd name="connsiteY1" fmla="*/ 112472 h 2990181"/>
              <a:gd name="connsiteX2" fmla="*/ 1503572 w 1748972"/>
              <a:gd name="connsiteY2" fmla="*/ 1515045 h 2990181"/>
              <a:gd name="connsiteX3" fmla="*/ 96410 w 1748972"/>
              <a:gd name="connsiteY3" fmla="*/ 2960939 h 2990181"/>
              <a:gd name="connsiteX4" fmla="*/ 1424 w 1748972"/>
              <a:gd name="connsiteY4" fmla="*/ 2938996 h 2990181"/>
              <a:gd name="connsiteX5" fmla="*/ 13 w 1748972"/>
              <a:gd name="connsiteY5" fmla="*/ 858319 h 2990181"/>
              <a:gd name="connsiteX0" fmla="*/ 13 w 1754684"/>
              <a:gd name="connsiteY0" fmla="*/ 858319 h 2990181"/>
              <a:gd name="connsiteX1" fmla="*/ 1317137 w 1754684"/>
              <a:gd name="connsiteY1" fmla="*/ 112472 h 2990181"/>
              <a:gd name="connsiteX2" fmla="*/ 1503572 w 1754684"/>
              <a:gd name="connsiteY2" fmla="*/ 1515045 h 2990181"/>
              <a:gd name="connsiteX3" fmla="*/ 96410 w 1754684"/>
              <a:gd name="connsiteY3" fmla="*/ 2960939 h 2990181"/>
              <a:gd name="connsiteX4" fmla="*/ 1424 w 1754684"/>
              <a:gd name="connsiteY4" fmla="*/ 2938996 h 2990181"/>
              <a:gd name="connsiteX5" fmla="*/ 13 w 1754684"/>
              <a:gd name="connsiteY5" fmla="*/ 858319 h 2990181"/>
              <a:gd name="connsiteX0" fmla="*/ 13 w 1753730"/>
              <a:gd name="connsiteY0" fmla="*/ 858319 h 2990181"/>
              <a:gd name="connsiteX1" fmla="*/ 1317137 w 1753730"/>
              <a:gd name="connsiteY1" fmla="*/ 112472 h 2990181"/>
              <a:gd name="connsiteX2" fmla="*/ 1503572 w 1753730"/>
              <a:gd name="connsiteY2" fmla="*/ 1515045 h 2990181"/>
              <a:gd name="connsiteX3" fmla="*/ 96410 w 1753730"/>
              <a:gd name="connsiteY3" fmla="*/ 2960939 h 2990181"/>
              <a:gd name="connsiteX4" fmla="*/ 1424 w 1753730"/>
              <a:gd name="connsiteY4" fmla="*/ 2938996 h 2990181"/>
              <a:gd name="connsiteX5" fmla="*/ 13 w 1753730"/>
              <a:gd name="connsiteY5" fmla="*/ 858319 h 2990181"/>
              <a:gd name="connsiteX0" fmla="*/ 13 w 1700318"/>
              <a:gd name="connsiteY0" fmla="*/ 858319 h 2991855"/>
              <a:gd name="connsiteX1" fmla="*/ 1317137 w 1700318"/>
              <a:gd name="connsiteY1" fmla="*/ 112472 h 2991855"/>
              <a:gd name="connsiteX2" fmla="*/ 1503572 w 1700318"/>
              <a:gd name="connsiteY2" fmla="*/ 1515045 h 2991855"/>
              <a:gd name="connsiteX3" fmla="*/ 86941 w 1700318"/>
              <a:gd name="connsiteY3" fmla="*/ 2965672 h 2991855"/>
              <a:gd name="connsiteX4" fmla="*/ 1424 w 1700318"/>
              <a:gd name="connsiteY4" fmla="*/ 2938996 h 2991855"/>
              <a:gd name="connsiteX5" fmla="*/ 13 w 1700318"/>
              <a:gd name="connsiteY5" fmla="*/ 858319 h 2991855"/>
              <a:gd name="connsiteX0" fmla="*/ 13 w 1763120"/>
              <a:gd name="connsiteY0" fmla="*/ 858319 h 2991855"/>
              <a:gd name="connsiteX1" fmla="*/ 1317137 w 1763120"/>
              <a:gd name="connsiteY1" fmla="*/ 112472 h 2991855"/>
              <a:gd name="connsiteX2" fmla="*/ 1503572 w 1763120"/>
              <a:gd name="connsiteY2" fmla="*/ 1515045 h 2991855"/>
              <a:gd name="connsiteX3" fmla="*/ 86941 w 1763120"/>
              <a:gd name="connsiteY3" fmla="*/ 2965672 h 2991855"/>
              <a:gd name="connsiteX4" fmla="*/ 1424 w 1763120"/>
              <a:gd name="connsiteY4" fmla="*/ 2938996 h 2991855"/>
              <a:gd name="connsiteX5" fmla="*/ 13 w 1763120"/>
              <a:gd name="connsiteY5" fmla="*/ 858319 h 2991855"/>
              <a:gd name="connsiteX0" fmla="*/ 13 w 1745944"/>
              <a:gd name="connsiteY0" fmla="*/ 858319 h 2991855"/>
              <a:gd name="connsiteX1" fmla="*/ 1317137 w 1745944"/>
              <a:gd name="connsiteY1" fmla="*/ 112472 h 2991855"/>
              <a:gd name="connsiteX2" fmla="*/ 1503572 w 1745944"/>
              <a:gd name="connsiteY2" fmla="*/ 1515045 h 2991855"/>
              <a:gd name="connsiteX3" fmla="*/ 86941 w 1745944"/>
              <a:gd name="connsiteY3" fmla="*/ 2965672 h 2991855"/>
              <a:gd name="connsiteX4" fmla="*/ 1424 w 1745944"/>
              <a:gd name="connsiteY4" fmla="*/ 2938996 h 2991855"/>
              <a:gd name="connsiteX5" fmla="*/ 13 w 1745944"/>
              <a:gd name="connsiteY5" fmla="*/ 858319 h 2991855"/>
              <a:gd name="connsiteX0" fmla="*/ 13 w 1752593"/>
              <a:gd name="connsiteY0" fmla="*/ 858319 h 2991855"/>
              <a:gd name="connsiteX1" fmla="*/ 1317137 w 1752593"/>
              <a:gd name="connsiteY1" fmla="*/ 112472 h 2991855"/>
              <a:gd name="connsiteX2" fmla="*/ 1503572 w 1752593"/>
              <a:gd name="connsiteY2" fmla="*/ 1515045 h 2991855"/>
              <a:gd name="connsiteX3" fmla="*/ 86941 w 1752593"/>
              <a:gd name="connsiteY3" fmla="*/ 2965672 h 2991855"/>
              <a:gd name="connsiteX4" fmla="*/ 1424 w 1752593"/>
              <a:gd name="connsiteY4" fmla="*/ 2938996 h 2991855"/>
              <a:gd name="connsiteX5" fmla="*/ 13 w 1752593"/>
              <a:gd name="connsiteY5" fmla="*/ 858319 h 2991855"/>
              <a:gd name="connsiteX0" fmla="*/ 13 w 1752593"/>
              <a:gd name="connsiteY0" fmla="*/ 858319 h 2984818"/>
              <a:gd name="connsiteX1" fmla="*/ 1317137 w 1752593"/>
              <a:gd name="connsiteY1" fmla="*/ 112472 h 2984818"/>
              <a:gd name="connsiteX2" fmla="*/ 1503572 w 1752593"/>
              <a:gd name="connsiteY2" fmla="*/ 1515045 h 2984818"/>
              <a:gd name="connsiteX3" fmla="*/ 86941 w 1752593"/>
              <a:gd name="connsiteY3" fmla="*/ 2965672 h 2984818"/>
              <a:gd name="connsiteX4" fmla="*/ 1424 w 1752593"/>
              <a:gd name="connsiteY4" fmla="*/ 2938996 h 2984818"/>
              <a:gd name="connsiteX5" fmla="*/ 13 w 1752593"/>
              <a:gd name="connsiteY5" fmla="*/ 858319 h 2984818"/>
              <a:gd name="connsiteX0" fmla="*/ 13 w 1701062"/>
              <a:gd name="connsiteY0" fmla="*/ 858319 h 2994906"/>
              <a:gd name="connsiteX1" fmla="*/ 1317137 w 1701062"/>
              <a:gd name="connsiteY1" fmla="*/ 112472 h 2994906"/>
              <a:gd name="connsiteX2" fmla="*/ 1503572 w 1701062"/>
              <a:gd name="connsiteY2" fmla="*/ 1515045 h 2994906"/>
              <a:gd name="connsiteX3" fmla="*/ 75105 w 1701062"/>
              <a:gd name="connsiteY3" fmla="*/ 2986970 h 2994906"/>
              <a:gd name="connsiteX4" fmla="*/ 1424 w 1701062"/>
              <a:gd name="connsiteY4" fmla="*/ 2938996 h 2994906"/>
              <a:gd name="connsiteX5" fmla="*/ 13 w 1701062"/>
              <a:gd name="connsiteY5" fmla="*/ 858319 h 2994906"/>
              <a:gd name="connsiteX0" fmla="*/ 13 w 1700318"/>
              <a:gd name="connsiteY0" fmla="*/ 858319 h 2984818"/>
              <a:gd name="connsiteX1" fmla="*/ 1317137 w 1700318"/>
              <a:gd name="connsiteY1" fmla="*/ 112472 h 2984818"/>
              <a:gd name="connsiteX2" fmla="*/ 1503572 w 1700318"/>
              <a:gd name="connsiteY2" fmla="*/ 1515045 h 2984818"/>
              <a:gd name="connsiteX3" fmla="*/ 86941 w 1700318"/>
              <a:gd name="connsiteY3" fmla="*/ 2965672 h 2984818"/>
              <a:gd name="connsiteX4" fmla="*/ 1424 w 1700318"/>
              <a:gd name="connsiteY4" fmla="*/ 2938996 h 2984818"/>
              <a:gd name="connsiteX5" fmla="*/ 13 w 1700318"/>
              <a:gd name="connsiteY5" fmla="*/ 858319 h 2984818"/>
              <a:gd name="connsiteX0" fmla="*/ 13 w 1700318"/>
              <a:gd name="connsiteY0" fmla="*/ 858319 h 2984818"/>
              <a:gd name="connsiteX1" fmla="*/ 1317137 w 1700318"/>
              <a:gd name="connsiteY1" fmla="*/ 112472 h 2984818"/>
              <a:gd name="connsiteX2" fmla="*/ 1503572 w 1700318"/>
              <a:gd name="connsiteY2" fmla="*/ 1515045 h 2984818"/>
              <a:gd name="connsiteX3" fmla="*/ 86941 w 1700318"/>
              <a:gd name="connsiteY3" fmla="*/ 2965672 h 2984818"/>
              <a:gd name="connsiteX4" fmla="*/ 1424 w 1700318"/>
              <a:gd name="connsiteY4" fmla="*/ 2938996 h 2984818"/>
              <a:gd name="connsiteX5" fmla="*/ 13 w 1700318"/>
              <a:gd name="connsiteY5" fmla="*/ 858319 h 2984818"/>
              <a:gd name="connsiteX0" fmla="*/ 13 w 1699425"/>
              <a:gd name="connsiteY0" fmla="*/ 858319 h 3009727"/>
              <a:gd name="connsiteX1" fmla="*/ 1317137 w 1699425"/>
              <a:gd name="connsiteY1" fmla="*/ 112472 h 3009727"/>
              <a:gd name="connsiteX2" fmla="*/ 1503572 w 1699425"/>
              <a:gd name="connsiteY2" fmla="*/ 1515045 h 3009727"/>
              <a:gd name="connsiteX3" fmla="*/ 101144 w 1699425"/>
              <a:gd name="connsiteY3" fmla="*/ 3008269 h 3009727"/>
              <a:gd name="connsiteX4" fmla="*/ 1424 w 1699425"/>
              <a:gd name="connsiteY4" fmla="*/ 2938996 h 3009727"/>
              <a:gd name="connsiteX5" fmla="*/ 13 w 1699425"/>
              <a:gd name="connsiteY5" fmla="*/ 858319 h 3009727"/>
              <a:gd name="connsiteX0" fmla="*/ 13 w 1699425"/>
              <a:gd name="connsiteY0" fmla="*/ 858319 h 3045227"/>
              <a:gd name="connsiteX1" fmla="*/ 1317137 w 1699425"/>
              <a:gd name="connsiteY1" fmla="*/ 112472 h 3045227"/>
              <a:gd name="connsiteX2" fmla="*/ 1503572 w 1699425"/>
              <a:gd name="connsiteY2" fmla="*/ 1515045 h 3045227"/>
              <a:gd name="connsiteX3" fmla="*/ 101144 w 1699425"/>
              <a:gd name="connsiteY3" fmla="*/ 3008269 h 3045227"/>
              <a:gd name="connsiteX4" fmla="*/ 1424 w 1699425"/>
              <a:gd name="connsiteY4" fmla="*/ 2938996 h 3045227"/>
              <a:gd name="connsiteX5" fmla="*/ 13 w 1699425"/>
              <a:gd name="connsiteY5" fmla="*/ 858319 h 3045227"/>
              <a:gd name="connsiteX0" fmla="*/ 13 w 1698831"/>
              <a:gd name="connsiteY0" fmla="*/ 858319 h 3004841"/>
              <a:gd name="connsiteX1" fmla="*/ 1317137 w 1698831"/>
              <a:gd name="connsiteY1" fmla="*/ 112472 h 3004841"/>
              <a:gd name="connsiteX2" fmla="*/ 1503572 w 1698831"/>
              <a:gd name="connsiteY2" fmla="*/ 1515045 h 3004841"/>
              <a:gd name="connsiteX3" fmla="*/ 110613 w 1698831"/>
              <a:gd name="connsiteY3" fmla="*/ 2946741 h 3004841"/>
              <a:gd name="connsiteX4" fmla="*/ 1424 w 1698831"/>
              <a:gd name="connsiteY4" fmla="*/ 2938996 h 3004841"/>
              <a:gd name="connsiteX5" fmla="*/ 13 w 1698831"/>
              <a:gd name="connsiteY5" fmla="*/ 858319 h 3004841"/>
              <a:gd name="connsiteX0" fmla="*/ 13 w 1698831"/>
              <a:gd name="connsiteY0" fmla="*/ 858319 h 3007635"/>
              <a:gd name="connsiteX1" fmla="*/ 1317137 w 1698831"/>
              <a:gd name="connsiteY1" fmla="*/ 112472 h 3007635"/>
              <a:gd name="connsiteX2" fmla="*/ 1503572 w 1698831"/>
              <a:gd name="connsiteY2" fmla="*/ 1515045 h 3007635"/>
              <a:gd name="connsiteX3" fmla="*/ 110613 w 1698831"/>
              <a:gd name="connsiteY3" fmla="*/ 2946741 h 3007635"/>
              <a:gd name="connsiteX4" fmla="*/ 1424 w 1698831"/>
              <a:gd name="connsiteY4" fmla="*/ 2938996 h 3007635"/>
              <a:gd name="connsiteX5" fmla="*/ 13 w 1698831"/>
              <a:gd name="connsiteY5" fmla="*/ 858319 h 3007635"/>
              <a:gd name="connsiteX0" fmla="*/ 13 w 1698979"/>
              <a:gd name="connsiteY0" fmla="*/ 858319 h 3005098"/>
              <a:gd name="connsiteX1" fmla="*/ 1317137 w 1698979"/>
              <a:gd name="connsiteY1" fmla="*/ 112472 h 3005098"/>
              <a:gd name="connsiteX2" fmla="*/ 1503572 w 1698979"/>
              <a:gd name="connsiteY2" fmla="*/ 1515045 h 3005098"/>
              <a:gd name="connsiteX3" fmla="*/ 108246 w 1698979"/>
              <a:gd name="connsiteY3" fmla="*/ 2942008 h 3005098"/>
              <a:gd name="connsiteX4" fmla="*/ 1424 w 1698979"/>
              <a:gd name="connsiteY4" fmla="*/ 2938996 h 3005098"/>
              <a:gd name="connsiteX5" fmla="*/ 13 w 1698979"/>
              <a:gd name="connsiteY5" fmla="*/ 858319 h 3005098"/>
              <a:gd name="connsiteX0" fmla="*/ 13 w 1701077"/>
              <a:gd name="connsiteY0" fmla="*/ 858319 h 3022766"/>
              <a:gd name="connsiteX1" fmla="*/ 1317137 w 1701077"/>
              <a:gd name="connsiteY1" fmla="*/ 112472 h 3022766"/>
              <a:gd name="connsiteX2" fmla="*/ 1503572 w 1701077"/>
              <a:gd name="connsiteY2" fmla="*/ 1515045 h 3022766"/>
              <a:gd name="connsiteX3" fmla="*/ 74876 w 1701077"/>
              <a:gd name="connsiteY3" fmla="*/ 2972033 h 3022766"/>
              <a:gd name="connsiteX4" fmla="*/ 1424 w 1701077"/>
              <a:gd name="connsiteY4" fmla="*/ 2938996 h 3022766"/>
              <a:gd name="connsiteX5" fmla="*/ 13 w 1701077"/>
              <a:gd name="connsiteY5" fmla="*/ 858319 h 3022766"/>
              <a:gd name="connsiteX0" fmla="*/ 13 w 1701077"/>
              <a:gd name="connsiteY0" fmla="*/ 858319 h 2995037"/>
              <a:gd name="connsiteX1" fmla="*/ 1317137 w 1701077"/>
              <a:gd name="connsiteY1" fmla="*/ 112472 h 2995037"/>
              <a:gd name="connsiteX2" fmla="*/ 1503572 w 1701077"/>
              <a:gd name="connsiteY2" fmla="*/ 1515045 h 2995037"/>
              <a:gd name="connsiteX3" fmla="*/ 74876 w 1701077"/>
              <a:gd name="connsiteY3" fmla="*/ 2972033 h 2995037"/>
              <a:gd name="connsiteX4" fmla="*/ 1424 w 1701077"/>
              <a:gd name="connsiteY4" fmla="*/ 2938996 h 2995037"/>
              <a:gd name="connsiteX5" fmla="*/ 13 w 1701077"/>
              <a:gd name="connsiteY5" fmla="*/ 858319 h 2995037"/>
              <a:gd name="connsiteX0" fmla="*/ 13 w 1760182"/>
              <a:gd name="connsiteY0" fmla="*/ 858319 h 2995037"/>
              <a:gd name="connsiteX1" fmla="*/ 1317137 w 1760182"/>
              <a:gd name="connsiteY1" fmla="*/ 112472 h 2995037"/>
              <a:gd name="connsiteX2" fmla="*/ 1503572 w 1760182"/>
              <a:gd name="connsiteY2" fmla="*/ 1515045 h 2995037"/>
              <a:gd name="connsiteX3" fmla="*/ 74876 w 1760182"/>
              <a:gd name="connsiteY3" fmla="*/ 2972033 h 2995037"/>
              <a:gd name="connsiteX4" fmla="*/ 1424 w 1760182"/>
              <a:gd name="connsiteY4" fmla="*/ 2938996 h 2995037"/>
              <a:gd name="connsiteX5" fmla="*/ 13 w 1760182"/>
              <a:gd name="connsiteY5" fmla="*/ 858319 h 2995037"/>
              <a:gd name="connsiteX0" fmla="*/ 13 w 1760182"/>
              <a:gd name="connsiteY0" fmla="*/ 858319 h 3003213"/>
              <a:gd name="connsiteX1" fmla="*/ 1317137 w 1760182"/>
              <a:gd name="connsiteY1" fmla="*/ 112472 h 3003213"/>
              <a:gd name="connsiteX2" fmla="*/ 1503572 w 1760182"/>
              <a:gd name="connsiteY2" fmla="*/ 1515045 h 3003213"/>
              <a:gd name="connsiteX3" fmla="*/ 74876 w 1760182"/>
              <a:gd name="connsiteY3" fmla="*/ 2972033 h 3003213"/>
              <a:gd name="connsiteX4" fmla="*/ 1424 w 1760182"/>
              <a:gd name="connsiteY4" fmla="*/ 2938996 h 3003213"/>
              <a:gd name="connsiteX5" fmla="*/ 13 w 1760182"/>
              <a:gd name="connsiteY5" fmla="*/ 858319 h 3003213"/>
              <a:gd name="connsiteX0" fmla="*/ 13 w 1699398"/>
              <a:gd name="connsiteY0" fmla="*/ 858319 h 2990793"/>
              <a:gd name="connsiteX1" fmla="*/ 1317137 w 1699398"/>
              <a:gd name="connsiteY1" fmla="*/ 112472 h 2990793"/>
              <a:gd name="connsiteX2" fmla="*/ 1503572 w 1699398"/>
              <a:gd name="connsiteY2" fmla="*/ 1515045 h 2990793"/>
              <a:gd name="connsiteX3" fmla="*/ 101572 w 1699398"/>
              <a:gd name="connsiteY3" fmla="*/ 2947397 h 2990793"/>
              <a:gd name="connsiteX4" fmla="*/ 1424 w 1699398"/>
              <a:gd name="connsiteY4" fmla="*/ 2938996 h 2990793"/>
              <a:gd name="connsiteX5" fmla="*/ 13 w 1699398"/>
              <a:gd name="connsiteY5" fmla="*/ 858319 h 2990793"/>
              <a:gd name="connsiteX0" fmla="*/ 13 w 1699398"/>
              <a:gd name="connsiteY0" fmla="*/ 858319 h 2992199"/>
              <a:gd name="connsiteX1" fmla="*/ 1317137 w 1699398"/>
              <a:gd name="connsiteY1" fmla="*/ 112472 h 2992199"/>
              <a:gd name="connsiteX2" fmla="*/ 1503572 w 1699398"/>
              <a:gd name="connsiteY2" fmla="*/ 1515045 h 2992199"/>
              <a:gd name="connsiteX3" fmla="*/ 101572 w 1699398"/>
              <a:gd name="connsiteY3" fmla="*/ 2947397 h 2992199"/>
              <a:gd name="connsiteX4" fmla="*/ 1424 w 1699398"/>
              <a:gd name="connsiteY4" fmla="*/ 2938996 h 2992199"/>
              <a:gd name="connsiteX5" fmla="*/ 13 w 1699398"/>
              <a:gd name="connsiteY5" fmla="*/ 858319 h 2992199"/>
              <a:gd name="connsiteX0" fmla="*/ 13 w 1701077"/>
              <a:gd name="connsiteY0" fmla="*/ 858319 h 3006121"/>
              <a:gd name="connsiteX1" fmla="*/ 1317137 w 1701077"/>
              <a:gd name="connsiteY1" fmla="*/ 112472 h 3006121"/>
              <a:gd name="connsiteX2" fmla="*/ 1503572 w 1701077"/>
              <a:gd name="connsiteY2" fmla="*/ 1515045 h 3006121"/>
              <a:gd name="connsiteX3" fmla="*/ 74876 w 1701077"/>
              <a:gd name="connsiteY3" fmla="*/ 2974086 h 3006121"/>
              <a:gd name="connsiteX4" fmla="*/ 1424 w 1701077"/>
              <a:gd name="connsiteY4" fmla="*/ 2938996 h 3006121"/>
              <a:gd name="connsiteX5" fmla="*/ 13 w 1701077"/>
              <a:gd name="connsiteY5" fmla="*/ 858319 h 3006121"/>
              <a:gd name="connsiteX0" fmla="*/ 13 w 1701077"/>
              <a:gd name="connsiteY0" fmla="*/ 858319 h 2994525"/>
              <a:gd name="connsiteX1" fmla="*/ 1317137 w 1701077"/>
              <a:gd name="connsiteY1" fmla="*/ 112472 h 2994525"/>
              <a:gd name="connsiteX2" fmla="*/ 1503572 w 1701077"/>
              <a:gd name="connsiteY2" fmla="*/ 1515045 h 2994525"/>
              <a:gd name="connsiteX3" fmla="*/ 74876 w 1701077"/>
              <a:gd name="connsiteY3" fmla="*/ 2974086 h 2994525"/>
              <a:gd name="connsiteX4" fmla="*/ 1424 w 1701077"/>
              <a:gd name="connsiteY4" fmla="*/ 2938996 h 2994525"/>
              <a:gd name="connsiteX5" fmla="*/ 13 w 1701077"/>
              <a:gd name="connsiteY5" fmla="*/ 858319 h 2994525"/>
              <a:gd name="connsiteX0" fmla="*/ 13 w 1761447"/>
              <a:gd name="connsiteY0" fmla="*/ 858319 h 2994525"/>
              <a:gd name="connsiteX1" fmla="*/ 1317137 w 1761447"/>
              <a:gd name="connsiteY1" fmla="*/ 112472 h 2994525"/>
              <a:gd name="connsiteX2" fmla="*/ 1503572 w 1761447"/>
              <a:gd name="connsiteY2" fmla="*/ 1515045 h 2994525"/>
              <a:gd name="connsiteX3" fmla="*/ 74876 w 1761447"/>
              <a:gd name="connsiteY3" fmla="*/ 2974086 h 2994525"/>
              <a:gd name="connsiteX4" fmla="*/ 1424 w 1761447"/>
              <a:gd name="connsiteY4" fmla="*/ 2938996 h 2994525"/>
              <a:gd name="connsiteX5" fmla="*/ 13 w 1761447"/>
              <a:gd name="connsiteY5" fmla="*/ 858319 h 2994525"/>
              <a:gd name="connsiteX0" fmla="*/ 13 w 1753976"/>
              <a:gd name="connsiteY0" fmla="*/ 858319 h 2994525"/>
              <a:gd name="connsiteX1" fmla="*/ 1317137 w 1753976"/>
              <a:gd name="connsiteY1" fmla="*/ 112472 h 2994525"/>
              <a:gd name="connsiteX2" fmla="*/ 1503572 w 1753976"/>
              <a:gd name="connsiteY2" fmla="*/ 1515045 h 2994525"/>
              <a:gd name="connsiteX3" fmla="*/ 74876 w 1753976"/>
              <a:gd name="connsiteY3" fmla="*/ 2974086 h 2994525"/>
              <a:gd name="connsiteX4" fmla="*/ 1424 w 1753976"/>
              <a:gd name="connsiteY4" fmla="*/ 2938996 h 2994525"/>
              <a:gd name="connsiteX5" fmla="*/ 13 w 1753976"/>
              <a:gd name="connsiteY5" fmla="*/ 858319 h 2994525"/>
              <a:gd name="connsiteX0" fmla="*/ 13 w 1753976"/>
              <a:gd name="connsiteY0" fmla="*/ 858319 h 2994525"/>
              <a:gd name="connsiteX1" fmla="*/ 1317137 w 1753976"/>
              <a:gd name="connsiteY1" fmla="*/ 112472 h 2994525"/>
              <a:gd name="connsiteX2" fmla="*/ 1503572 w 1753976"/>
              <a:gd name="connsiteY2" fmla="*/ 1515045 h 2994525"/>
              <a:gd name="connsiteX3" fmla="*/ 74876 w 1753976"/>
              <a:gd name="connsiteY3" fmla="*/ 2974086 h 2994525"/>
              <a:gd name="connsiteX4" fmla="*/ 1424 w 1753976"/>
              <a:gd name="connsiteY4" fmla="*/ 2938996 h 2994525"/>
              <a:gd name="connsiteX5" fmla="*/ 13 w 1753976"/>
              <a:gd name="connsiteY5" fmla="*/ 858319 h 2994525"/>
              <a:gd name="connsiteX0" fmla="*/ 13 w 1753976"/>
              <a:gd name="connsiteY0" fmla="*/ 858319 h 2995168"/>
              <a:gd name="connsiteX1" fmla="*/ 1317137 w 1753976"/>
              <a:gd name="connsiteY1" fmla="*/ 112472 h 2995168"/>
              <a:gd name="connsiteX2" fmla="*/ 1503572 w 1753976"/>
              <a:gd name="connsiteY2" fmla="*/ 1515045 h 2995168"/>
              <a:gd name="connsiteX3" fmla="*/ 74876 w 1753976"/>
              <a:gd name="connsiteY3" fmla="*/ 2974086 h 2995168"/>
              <a:gd name="connsiteX4" fmla="*/ 1424 w 1753976"/>
              <a:gd name="connsiteY4" fmla="*/ 2938996 h 2995168"/>
              <a:gd name="connsiteX5" fmla="*/ 13 w 1753976"/>
              <a:gd name="connsiteY5" fmla="*/ 858319 h 2995168"/>
              <a:gd name="connsiteX0" fmla="*/ 13 w 1753976"/>
              <a:gd name="connsiteY0" fmla="*/ 858319 h 2992234"/>
              <a:gd name="connsiteX1" fmla="*/ 1317137 w 1753976"/>
              <a:gd name="connsiteY1" fmla="*/ 112472 h 2992234"/>
              <a:gd name="connsiteX2" fmla="*/ 1503572 w 1753976"/>
              <a:gd name="connsiteY2" fmla="*/ 1515045 h 2992234"/>
              <a:gd name="connsiteX3" fmla="*/ 74876 w 1753976"/>
              <a:gd name="connsiteY3" fmla="*/ 2974086 h 2992234"/>
              <a:gd name="connsiteX4" fmla="*/ 1424 w 1753976"/>
              <a:gd name="connsiteY4" fmla="*/ 2938996 h 2992234"/>
              <a:gd name="connsiteX5" fmla="*/ 13 w 1753976"/>
              <a:gd name="connsiteY5" fmla="*/ 858319 h 29922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53976" h="2992234">
                <a:moveTo>
                  <a:pt x="13" y="858319"/>
                </a:moveTo>
                <a:cubicBezTo>
                  <a:pt x="-3215" y="318604"/>
                  <a:pt x="626118" y="-245536"/>
                  <a:pt x="1317137" y="112472"/>
                </a:cubicBezTo>
                <a:cubicBezTo>
                  <a:pt x="1885310" y="453554"/>
                  <a:pt x="1845745" y="1161058"/>
                  <a:pt x="1503572" y="1515045"/>
                </a:cubicBezTo>
                <a:cubicBezTo>
                  <a:pt x="1211764" y="1816929"/>
                  <a:pt x="93646" y="2954272"/>
                  <a:pt x="74876" y="2974086"/>
                </a:cubicBezTo>
                <a:cubicBezTo>
                  <a:pt x="56106" y="2993900"/>
                  <a:pt x="3595" y="3013732"/>
                  <a:pt x="1424" y="2938996"/>
                </a:cubicBezTo>
                <a:cubicBezTo>
                  <a:pt x="895" y="2572359"/>
                  <a:pt x="3241" y="1398034"/>
                  <a:pt x="13" y="85831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s-ES_tradnl" dirty="0"/>
          </a:p>
        </p:txBody>
      </p:sp>
      <p:sp>
        <p:nvSpPr>
          <p:cNvPr id="7" name="Marcador de posición de imagen 4">
            <a:extLst>
              <a:ext uri="{FF2B5EF4-FFF2-40B4-BE49-F238E27FC236}">
                <a16:creationId xmlns:a16="http://schemas.microsoft.com/office/drawing/2014/main" id="{DB82C63E-D8DB-954D-B2BD-6B5ED1682F8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251936" y="1327310"/>
            <a:ext cx="2648283" cy="4518780"/>
          </a:xfrm>
          <a:custGeom>
            <a:avLst/>
            <a:gdLst>
              <a:gd name="connsiteX0" fmla="*/ 2432050 w 4864100"/>
              <a:gd name="connsiteY0" fmla="*/ 1423800 h 5695200"/>
              <a:gd name="connsiteX1" fmla="*/ 2432050 w 4864100"/>
              <a:gd name="connsiteY1" fmla="*/ 5695200 h 5695200"/>
              <a:gd name="connsiteX2" fmla="*/ 2432050 w 4864100"/>
              <a:gd name="connsiteY2" fmla="*/ 1423800 h 5695200"/>
              <a:gd name="connsiteX0" fmla="*/ 2217600 w 4435199"/>
              <a:gd name="connsiteY0" fmla="*/ 632423 h 4903823"/>
              <a:gd name="connsiteX1" fmla="*/ 2217600 w 4435199"/>
              <a:gd name="connsiteY1" fmla="*/ 4903823 h 4903823"/>
              <a:gd name="connsiteX2" fmla="*/ 2217600 w 4435199"/>
              <a:gd name="connsiteY2" fmla="*/ 632423 h 4903823"/>
              <a:gd name="connsiteX0" fmla="*/ 2217600 w 2259560"/>
              <a:gd name="connsiteY0" fmla="*/ 632423 h 4903823"/>
              <a:gd name="connsiteX1" fmla="*/ 2217600 w 2259560"/>
              <a:gd name="connsiteY1" fmla="*/ 4903823 h 4903823"/>
              <a:gd name="connsiteX2" fmla="*/ 2217600 w 2259560"/>
              <a:gd name="connsiteY2" fmla="*/ 632423 h 4903823"/>
              <a:gd name="connsiteX0" fmla="*/ 2217600 w 2238943"/>
              <a:gd name="connsiteY0" fmla="*/ 632423 h 4903823"/>
              <a:gd name="connsiteX1" fmla="*/ 2217600 w 2238943"/>
              <a:gd name="connsiteY1" fmla="*/ 4903823 h 4903823"/>
              <a:gd name="connsiteX2" fmla="*/ 2217600 w 2238943"/>
              <a:gd name="connsiteY2" fmla="*/ 632423 h 4903823"/>
              <a:gd name="connsiteX0" fmla="*/ 2216202 w 2237545"/>
              <a:gd name="connsiteY0" fmla="*/ 219464 h 4495351"/>
              <a:gd name="connsiteX1" fmla="*/ 2216202 w 2237545"/>
              <a:gd name="connsiteY1" fmla="*/ 4490864 h 4495351"/>
              <a:gd name="connsiteX2" fmla="*/ 0 w 2237545"/>
              <a:gd name="connsiteY2" fmla="*/ 1021473 h 4495351"/>
              <a:gd name="connsiteX3" fmla="*/ 2216202 w 2237545"/>
              <a:gd name="connsiteY3" fmla="*/ 219464 h 4495351"/>
              <a:gd name="connsiteX0" fmla="*/ 2218054 w 2239397"/>
              <a:gd name="connsiteY0" fmla="*/ 219464 h 4872422"/>
              <a:gd name="connsiteX1" fmla="*/ 2218054 w 2239397"/>
              <a:gd name="connsiteY1" fmla="*/ 4490864 h 4872422"/>
              <a:gd name="connsiteX2" fmla="*/ 1843352 w 2239397"/>
              <a:gd name="connsiteY2" fmla="*/ 4272672 h 4872422"/>
              <a:gd name="connsiteX3" fmla="*/ 1852 w 2239397"/>
              <a:gd name="connsiteY3" fmla="*/ 1021473 h 4872422"/>
              <a:gd name="connsiteX4" fmla="*/ 2218054 w 2239397"/>
              <a:gd name="connsiteY4" fmla="*/ 219464 h 4872422"/>
              <a:gd name="connsiteX0" fmla="*/ 2303891 w 2325234"/>
              <a:gd name="connsiteY0" fmla="*/ 219464 h 4872422"/>
              <a:gd name="connsiteX1" fmla="*/ 2303891 w 2325234"/>
              <a:gd name="connsiteY1" fmla="*/ 4490864 h 4872422"/>
              <a:gd name="connsiteX2" fmla="*/ 1929189 w 2325234"/>
              <a:gd name="connsiteY2" fmla="*/ 4272672 h 4872422"/>
              <a:gd name="connsiteX3" fmla="*/ 587749 w 2325234"/>
              <a:gd name="connsiteY3" fmla="*/ 2272196 h 4872422"/>
              <a:gd name="connsiteX4" fmla="*/ 87689 w 2325234"/>
              <a:gd name="connsiteY4" fmla="*/ 1021473 h 4872422"/>
              <a:gd name="connsiteX5" fmla="*/ 2303891 w 2325234"/>
              <a:gd name="connsiteY5" fmla="*/ 219464 h 4872422"/>
              <a:gd name="connsiteX0" fmla="*/ 2303891 w 2475206"/>
              <a:gd name="connsiteY0" fmla="*/ 238803 h 5082435"/>
              <a:gd name="connsiteX1" fmla="*/ 2324987 w 2475206"/>
              <a:gd name="connsiteY1" fmla="*/ 4779604 h 5082435"/>
              <a:gd name="connsiteX2" fmla="*/ 1929189 w 2475206"/>
              <a:gd name="connsiteY2" fmla="*/ 4292011 h 5082435"/>
              <a:gd name="connsiteX3" fmla="*/ 587749 w 2475206"/>
              <a:gd name="connsiteY3" fmla="*/ 2291535 h 5082435"/>
              <a:gd name="connsiteX4" fmla="*/ 87689 w 2475206"/>
              <a:gd name="connsiteY4" fmla="*/ 1040812 h 5082435"/>
              <a:gd name="connsiteX5" fmla="*/ 2303891 w 2475206"/>
              <a:gd name="connsiteY5" fmla="*/ 238803 h 5082435"/>
              <a:gd name="connsiteX0" fmla="*/ 2303891 w 2475206"/>
              <a:gd name="connsiteY0" fmla="*/ 240665 h 5104077"/>
              <a:gd name="connsiteX1" fmla="*/ 2324987 w 2475206"/>
              <a:gd name="connsiteY1" fmla="*/ 4807370 h 5104077"/>
              <a:gd name="connsiteX2" fmla="*/ 1929189 w 2475206"/>
              <a:gd name="connsiteY2" fmla="*/ 4293873 h 5104077"/>
              <a:gd name="connsiteX3" fmla="*/ 587749 w 2475206"/>
              <a:gd name="connsiteY3" fmla="*/ 2293397 h 5104077"/>
              <a:gd name="connsiteX4" fmla="*/ 87689 w 2475206"/>
              <a:gd name="connsiteY4" fmla="*/ 1042674 h 5104077"/>
              <a:gd name="connsiteX5" fmla="*/ 2303891 w 2475206"/>
              <a:gd name="connsiteY5" fmla="*/ 240665 h 5104077"/>
              <a:gd name="connsiteX0" fmla="*/ 2303891 w 2475206"/>
              <a:gd name="connsiteY0" fmla="*/ 240665 h 4905038"/>
              <a:gd name="connsiteX1" fmla="*/ 2324987 w 2475206"/>
              <a:gd name="connsiteY1" fmla="*/ 4807370 h 4905038"/>
              <a:gd name="connsiteX2" fmla="*/ 1929189 w 2475206"/>
              <a:gd name="connsiteY2" fmla="*/ 4293873 h 4905038"/>
              <a:gd name="connsiteX3" fmla="*/ 587749 w 2475206"/>
              <a:gd name="connsiteY3" fmla="*/ 2293397 h 4905038"/>
              <a:gd name="connsiteX4" fmla="*/ 87689 w 2475206"/>
              <a:gd name="connsiteY4" fmla="*/ 1042674 h 4905038"/>
              <a:gd name="connsiteX5" fmla="*/ 2303891 w 2475206"/>
              <a:gd name="connsiteY5" fmla="*/ 240665 h 4905038"/>
              <a:gd name="connsiteX0" fmla="*/ 2303891 w 2475206"/>
              <a:gd name="connsiteY0" fmla="*/ 240665 h 5162840"/>
              <a:gd name="connsiteX1" fmla="*/ 2324987 w 2475206"/>
              <a:gd name="connsiteY1" fmla="*/ 4807370 h 5162840"/>
              <a:gd name="connsiteX2" fmla="*/ 2224542 w 2475206"/>
              <a:gd name="connsiteY2" fmla="*/ 4868940 h 5162840"/>
              <a:gd name="connsiteX3" fmla="*/ 587749 w 2475206"/>
              <a:gd name="connsiteY3" fmla="*/ 2293397 h 5162840"/>
              <a:gd name="connsiteX4" fmla="*/ 87689 w 2475206"/>
              <a:gd name="connsiteY4" fmla="*/ 1042674 h 5162840"/>
              <a:gd name="connsiteX5" fmla="*/ 2303891 w 2475206"/>
              <a:gd name="connsiteY5" fmla="*/ 240665 h 5162840"/>
              <a:gd name="connsiteX0" fmla="*/ 2303891 w 2475206"/>
              <a:gd name="connsiteY0" fmla="*/ 240665 h 4894959"/>
              <a:gd name="connsiteX1" fmla="*/ 2324987 w 2475206"/>
              <a:gd name="connsiteY1" fmla="*/ 4807370 h 4894959"/>
              <a:gd name="connsiteX2" fmla="*/ 2224542 w 2475206"/>
              <a:gd name="connsiteY2" fmla="*/ 4868940 h 4894959"/>
              <a:gd name="connsiteX3" fmla="*/ 587749 w 2475206"/>
              <a:gd name="connsiteY3" fmla="*/ 2293397 h 4894959"/>
              <a:gd name="connsiteX4" fmla="*/ 87689 w 2475206"/>
              <a:gd name="connsiteY4" fmla="*/ 1042674 h 4894959"/>
              <a:gd name="connsiteX5" fmla="*/ 2303891 w 2475206"/>
              <a:gd name="connsiteY5" fmla="*/ 240665 h 4894959"/>
              <a:gd name="connsiteX0" fmla="*/ 2303891 w 2475206"/>
              <a:gd name="connsiteY0" fmla="*/ 240665 h 4893879"/>
              <a:gd name="connsiteX1" fmla="*/ 2324987 w 2475206"/>
              <a:gd name="connsiteY1" fmla="*/ 4807370 h 4893879"/>
              <a:gd name="connsiteX2" fmla="*/ 2220323 w 2475206"/>
              <a:gd name="connsiteY2" fmla="*/ 4863759 h 4893879"/>
              <a:gd name="connsiteX3" fmla="*/ 587749 w 2475206"/>
              <a:gd name="connsiteY3" fmla="*/ 2293397 h 4893879"/>
              <a:gd name="connsiteX4" fmla="*/ 87689 w 2475206"/>
              <a:gd name="connsiteY4" fmla="*/ 1042674 h 4893879"/>
              <a:gd name="connsiteX5" fmla="*/ 2303891 w 2475206"/>
              <a:gd name="connsiteY5" fmla="*/ 240665 h 4893879"/>
              <a:gd name="connsiteX0" fmla="*/ 2303891 w 2475206"/>
              <a:gd name="connsiteY0" fmla="*/ 240665 h 4925253"/>
              <a:gd name="connsiteX1" fmla="*/ 2324987 w 2475206"/>
              <a:gd name="connsiteY1" fmla="*/ 4807370 h 4925253"/>
              <a:gd name="connsiteX2" fmla="*/ 2220323 w 2475206"/>
              <a:gd name="connsiteY2" fmla="*/ 4863759 h 4925253"/>
              <a:gd name="connsiteX3" fmla="*/ 587749 w 2475206"/>
              <a:gd name="connsiteY3" fmla="*/ 2293397 h 4925253"/>
              <a:gd name="connsiteX4" fmla="*/ 87689 w 2475206"/>
              <a:gd name="connsiteY4" fmla="*/ 1042674 h 4925253"/>
              <a:gd name="connsiteX5" fmla="*/ 2303891 w 2475206"/>
              <a:gd name="connsiteY5" fmla="*/ 240665 h 4925253"/>
              <a:gd name="connsiteX0" fmla="*/ 2303891 w 2475206"/>
              <a:gd name="connsiteY0" fmla="*/ 240665 h 4894595"/>
              <a:gd name="connsiteX1" fmla="*/ 2324987 w 2475206"/>
              <a:gd name="connsiteY1" fmla="*/ 4807370 h 4894595"/>
              <a:gd name="connsiteX2" fmla="*/ 2220323 w 2475206"/>
              <a:gd name="connsiteY2" fmla="*/ 4863759 h 4894595"/>
              <a:gd name="connsiteX3" fmla="*/ 587749 w 2475206"/>
              <a:gd name="connsiteY3" fmla="*/ 2293397 h 4894595"/>
              <a:gd name="connsiteX4" fmla="*/ 87689 w 2475206"/>
              <a:gd name="connsiteY4" fmla="*/ 1042674 h 4894595"/>
              <a:gd name="connsiteX5" fmla="*/ 2303891 w 2475206"/>
              <a:gd name="connsiteY5" fmla="*/ 240665 h 4894595"/>
              <a:gd name="connsiteX0" fmla="*/ 2348673 w 2519988"/>
              <a:gd name="connsiteY0" fmla="*/ 240665 h 4894595"/>
              <a:gd name="connsiteX1" fmla="*/ 2369769 w 2519988"/>
              <a:gd name="connsiteY1" fmla="*/ 4807370 h 4894595"/>
              <a:gd name="connsiteX2" fmla="*/ 2265105 w 2519988"/>
              <a:gd name="connsiteY2" fmla="*/ 4863759 h 4894595"/>
              <a:gd name="connsiteX3" fmla="*/ 375151 w 2519988"/>
              <a:gd name="connsiteY3" fmla="*/ 2495447 h 4894595"/>
              <a:gd name="connsiteX4" fmla="*/ 132471 w 2519988"/>
              <a:gd name="connsiteY4" fmla="*/ 1042674 h 4894595"/>
              <a:gd name="connsiteX5" fmla="*/ 2348673 w 2519988"/>
              <a:gd name="connsiteY5" fmla="*/ 240665 h 4894595"/>
              <a:gd name="connsiteX0" fmla="*/ 2348673 w 2519988"/>
              <a:gd name="connsiteY0" fmla="*/ 240665 h 4894595"/>
              <a:gd name="connsiteX1" fmla="*/ 2369769 w 2519988"/>
              <a:gd name="connsiteY1" fmla="*/ 4807370 h 4894595"/>
              <a:gd name="connsiteX2" fmla="*/ 2265105 w 2519988"/>
              <a:gd name="connsiteY2" fmla="*/ 4863759 h 4894595"/>
              <a:gd name="connsiteX3" fmla="*/ 375151 w 2519988"/>
              <a:gd name="connsiteY3" fmla="*/ 2490015 h 4894595"/>
              <a:gd name="connsiteX4" fmla="*/ 132471 w 2519988"/>
              <a:gd name="connsiteY4" fmla="*/ 1042674 h 4894595"/>
              <a:gd name="connsiteX5" fmla="*/ 2348673 w 2519988"/>
              <a:gd name="connsiteY5" fmla="*/ 240665 h 4894595"/>
              <a:gd name="connsiteX0" fmla="*/ 2421455 w 2599645"/>
              <a:gd name="connsiteY0" fmla="*/ 164761 h 4818691"/>
              <a:gd name="connsiteX1" fmla="*/ 2442551 w 2599645"/>
              <a:gd name="connsiteY1" fmla="*/ 4731466 h 4818691"/>
              <a:gd name="connsiteX2" fmla="*/ 2337887 w 2599645"/>
              <a:gd name="connsiteY2" fmla="*/ 4787855 h 4818691"/>
              <a:gd name="connsiteX3" fmla="*/ 447933 w 2599645"/>
              <a:gd name="connsiteY3" fmla="*/ 2414111 h 4818691"/>
              <a:gd name="connsiteX4" fmla="*/ 112340 w 2599645"/>
              <a:gd name="connsiteY4" fmla="*/ 1330756 h 4818691"/>
              <a:gd name="connsiteX5" fmla="*/ 2421455 w 2599645"/>
              <a:gd name="connsiteY5" fmla="*/ 164761 h 4818691"/>
              <a:gd name="connsiteX0" fmla="*/ 2416076 w 2593775"/>
              <a:gd name="connsiteY0" fmla="*/ 164295 h 4818225"/>
              <a:gd name="connsiteX1" fmla="*/ 2437172 w 2593775"/>
              <a:gd name="connsiteY1" fmla="*/ 4731000 h 4818225"/>
              <a:gd name="connsiteX2" fmla="*/ 2332508 w 2593775"/>
              <a:gd name="connsiteY2" fmla="*/ 4787389 h 4818225"/>
              <a:gd name="connsiteX3" fmla="*/ 442554 w 2593775"/>
              <a:gd name="connsiteY3" fmla="*/ 2413645 h 4818225"/>
              <a:gd name="connsiteX4" fmla="*/ 113598 w 2593775"/>
              <a:gd name="connsiteY4" fmla="*/ 1333006 h 4818225"/>
              <a:gd name="connsiteX5" fmla="*/ 2416076 w 2593775"/>
              <a:gd name="connsiteY5" fmla="*/ 164295 h 4818225"/>
              <a:gd name="connsiteX0" fmla="*/ 2059909 w 2437172"/>
              <a:gd name="connsiteY0" fmla="*/ 171220 h 4762674"/>
              <a:gd name="connsiteX1" fmla="*/ 2437172 w 2437172"/>
              <a:gd name="connsiteY1" fmla="*/ 4675449 h 4762674"/>
              <a:gd name="connsiteX2" fmla="*/ 2332508 w 2437172"/>
              <a:gd name="connsiteY2" fmla="*/ 4731838 h 4762674"/>
              <a:gd name="connsiteX3" fmla="*/ 442554 w 2437172"/>
              <a:gd name="connsiteY3" fmla="*/ 2358094 h 4762674"/>
              <a:gd name="connsiteX4" fmla="*/ 113598 w 2437172"/>
              <a:gd name="connsiteY4" fmla="*/ 1277455 h 4762674"/>
              <a:gd name="connsiteX5" fmla="*/ 2059909 w 2437172"/>
              <a:gd name="connsiteY5" fmla="*/ 171220 h 4762674"/>
              <a:gd name="connsiteX0" fmla="*/ 1757412 w 2134675"/>
              <a:gd name="connsiteY0" fmla="*/ 598810 h 5190264"/>
              <a:gd name="connsiteX1" fmla="*/ 2134675 w 2134675"/>
              <a:gd name="connsiteY1" fmla="*/ 5103039 h 5190264"/>
              <a:gd name="connsiteX2" fmla="*/ 2030011 w 2134675"/>
              <a:gd name="connsiteY2" fmla="*/ 5159428 h 5190264"/>
              <a:gd name="connsiteX3" fmla="*/ 140057 w 2134675"/>
              <a:gd name="connsiteY3" fmla="*/ 2785684 h 5190264"/>
              <a:gd name="connsiteX4" fmla="*/ 371574 w 2134675"/>
              <a:gd name="connsiteY4" fmla="*/ 511011 h 5190264"/>
              <a:gd name="connsiteX5" fmla="*/ 1757412 w 2134675"/>
              <a:gd name="connsiteY5" fmla="*/ 598810 h 5190264"/>
              <a:gd name="connsiteX0" fmla="*/ 1756869 w 2134132"/>
              <a:gd name="connsiteY0" fmla="*/ 603638 h 5195092"/>
              <a:gd name="connsiteX1" fmla="*/ 2134132 w 2134132"/>
              <a:gd name="connsiteY1" fmla="*/ 5107867 h 5195092"/>
              <a:gd name="connsiteX2" fmla="*/ 2029468 w 2134132"/>
              <a:gd name="connsiteY2" fmla="*/ 5164256 h 5195092"/>
              <a:gd name="connsiteX3" fmla="*/ 139514 w 2134132"/>
              <a:gd name="connsiteY3" fmla="*/ 2790512 h 5195092"/>
              <a:gd name="connsiteX4" fmla="*/ 373243 w 2134132"/>
              <a:gd name="connsiteY4" fmla="*/ 507691 h 5195092"/>
              <a:gd name="connsiteX5" fmla="*/ 1756869 w 2134132"/>
              <a:gd name="connsiteY5" fmla="*/ 603638 h 5195092"/>
              <a:gd name="connsiteX0" fmla="*/ 1757411 w 2134674"/>
              <a:gd name="connsiteY0" fmla="*/ 597207 h 5188661"/>
              <a:gd name="connsiteX1" fmla="*/ 2134674 w 2134674"/>
              <a:gd name="connsiteY1" fmla="*/ 5101436 h 5188661"/>
              <a:gd name="connsiteX2" fmla="*/ 2030010 w 2134674"/>
              <a:gd name="connsiteY2" fmla="*/ 5157825 h 5188661"/>
              <a:gd name="connsiteX3" fmla="*/ 140056 w 2134674"/>
              <a:gd name="connsiteY3" fmla="*/ 2784081 h 5188661"/>
              <a:gd name="connsiteX4" fmla="*/ 371573 w 2134674"/>
              <a:gd name="connsiteY4" fmla="*/ 512125 h 5188661"/>
              <a:gd name="connsiteX5" fmla="*/ 1757411 w 2134674"/>
              <a:gd name="connsiteY5" fmla="*/ 597207 h 5188661"/>
              <a:gd name="connsiteX0" fmla="*/ 2069334 w 2219253"/>
              <a:gd name="connsiteY0" fmla="*/ 1066529 h 4968040"/>
              <a:gd name="connsiteX1" fmla="*/ 2134674 w 2219253"/>
              <a:gd name="connsiteY1" fmla="*/ 4880815 h 4968040"/>
              <a:gd name="connsiteX2" fmla="*/ 2030010 w 2219253"/>
              <a:gd name="connsiteY2" fmla="*/ 4937204 h 4968040"/>
              <a:gd name="connsiteX3" fmla="*/ 140056 w 2219253"/>
              <a:gd name="connsiteY3" fmla="*/ 2563460 h 4968040"/>
              <a:gd name="connsiteX4" fmla="*/ 371573 w 2219253"/>
              <a:gd name="connsiteY4" fmla="*/ 291504 h 4968040"/>
              <a:gd name="connsiteX5" fmla="*/ 2069334 w 2219253"/>
              <a:gd name="connsiteY5" fmla="*/ 1066529 h 4968040"/>
              <a:gd name="connsiteX0" fmla="*/ 2129064 w 2261074"/>
              <a:gd name="connsiteY0" fmla="*/ 1422730 h 4900496"/>
              <a:gd name="connsiteX1" fmla="*/ 2134674 w 2261074"/>
              <a:gd name="connsiteY1" fmla="*/ 4813271 h 4900496"/>
              <a:gd name="connsiteX2" fmla="*/ 2030010 w 2261074"/>
              <a:gd name="connsiteY2" fmla="*/ 4869660 h 4900496"/>
              <a:gd name="connsiteX3" fmla="*/ 140056 w 2261074"/>
              <a:gd name="connsiteY3" fmla="*/ 2495916 h 4900496"/>
              <a:gd name="connsiteX4" fmla="*/ 371573 w 2261074"/>
              <a:gd name="connsiteY4" fmla="*/ 223960 h 4900496"/>
              <a:gd name="connsiteX5" fmla="*/ 2129064 w 2261074"/>
              <a:gd name="connsiteY5" fmla="*/ 1422730 h 4900496"/>
              <a:gd name="connsiteX0" fmla="*/ 2129064 w 2134674"/>
              <a:gd name="connsiteY0" fmla="*/ 1426308 h 4904074"/>
              <a:gd name="connsiteX1" fmla="*/ 2134674 w 2134674"/>
              <a:gd name="connsiteY1" fmla="*/ 4816849 h 4904074"/>
              <a:gd name="connsiteX2" fmla="*/ 2030010 w 2134674"/>
              <a:gd name="connsiteY2" fmla="*/ 4873238 h 4904074"/>
              <a:gd name="connsiteX3" fmla="*/ 140056 w 2134674"/>
              <a:gd name="connsiteY3" fmla="*/ 2499494 h 4904074"/>
              <a:gd name="connsiteX4" fmla="*/ 371573 w 2134674"/>
              <a:gd name="connsiteY4" fmla="*/ 227538 h 4904074"/>
              <a:gd name="connsiteX5" fmla="*/ 2129064 w 2134674"/>
              <a:gd name="connsiteY5" fmla="*/ 1426308 h 4904074"/>
              <a:gd name="connsiteX0" fmla="*/ 2129064 w 2134674"/>
              <a:gd name="connsiteY0" fmla="*/ 1426308 h 4904074"/>
              <a:gd name="connsiteX1" fmla="*/ 2134674 w 2134674"/>
              <a:gd name="connsiteY1" fmla="*/ 4816849 h 4904074"/>
              <a:gd name="connsiteX2" fmla="*/ 2030010 w 2134674"/>
              <a:gd name="connsiteY2" fmla="*/ 4873238 h 4904074"/>
              <a:gd name="connsiteX3" fmla="*/ 140056 w 2134674"/>
              <a:gd name="connsiteY3" fmla="*/ 2499494 h 4904074"/>
              <a:gd name="connsiteX4" fmla="*/ 371573 w 2134674"/>
              <a:gd name="connsiteY4" fmla="*/ 227538 h 4904074"/>
              <a:gd name="connsiteX5" fmla="*/ 2129064 w 2134674"/>
              <a:gd name="connsiteY5" fmla="*/ 1426308 h 4904074"/>
              <a:gd name="connsiteX0" fmla="*/ 2129064 w 2134674"/>
              <a:gd name="connsiteY0" fmla="*/ 1394334 h 4872100"/>
              <a:gd name="connsiteX1" fmla="*/ 2134674 w 2134674"/>
              <a:gd name="connsiteY1" fmla="*/ 4784875 h 4872100"/>
              <a:gd name="connsiteX2" fmla="*/ 2030010 w 2134674"/>
              <a:gd name="connsiteY2" fmla="*/ 4841264 h 4872100"/>
              <a:gd name="connsiteX3" fmla="*/ 140056 w 2134674"/>
              <a:gd name="connsiteY3" fmla="*/ 2467520 h 4872100"/>
              <a:gd name="connsiteX4" fmla="*/ 371573 w 2134674"/>
              <a:gd name="connsiteY4" fmla="*/ 195564 h 4872100"/>
              <a:gd name="connsiteX5" fmla="*/ 2129064 w 2134674"/>
              <a:gd name="connsiteY5" fmla="*/ 1394334 h 4872100"/>
              <a:gd name="connsiteX0" fmla="*/ 2299717 w 2305327"/>
              <a:gd name="connsiteY0" fmla="*/ 1394334 h 4872100"/>
              <a:gd name="connsiteX1" fmla="*/ 2305327 w 2305327"/>
              <a:gd name="connsiteY1" fmla="*/ 4784875 h 4872100"/>
              <a:gd name="connsiteX2" fmla="*/ 2200663 w 2305327"/>
              <a:gd name="connsiteY2" fmla="*/ 4841264 h 4872100"/>
              <a:gd name="connsiteX3" fmla="*/ 310709 w 2305327"/>
              <a:gd name="connsiteY3" fmla="*/ 2467520 h 4872100"/>
              <a:gd name="connsiteX4" fmla="*/ 542226 w 2305327"/>
              <a:gd name="connsiteY4" fmla="*/ 195564 h 4872100"/>
              <a:gd name="connsiteX5" fmla="*/ 2299717 w 2305327"/>
              <a:gd name="connsiteY5" fmla="*/ 1394334 h 4872100"/>
              <a:gd name="connsiteX0" fmla="*/ 2308970 w 2314580"/>
              <a:gd name="connsiteY0" fmla="*/ 1394334 h 4872100"/>
              <a:gd name="connsiteX1" fmla="*/ 2314580 w 2314580"/>
              <a:gd name="connsiteY1" fmla="*/ 4784875 h 4872100"/>
              <a:gd name="connsiteX2" fmla="*/ 2209916 w 2314580"/>
              <a:gd name="connsiteY2" fmla="*/ 4841264 h 4872100"/>
              <a:gd name="connsiteX3" fmla="*/ 319962 w 2314580"/>
              <a:gd name="connsiteY3" fmla="*/ 2467520 h 4872100"/>
              <a:gd name="connsiteX4" fmla="*/ 551479 w 2314580"/>
              <a:gd name="connsiteY4" fmla="*/ 195564 h 4872100"/>
              <a:gd name="connsiteX5" fmla="*/ 2308970 w 2314580"/>
              <a:gd name="connsiteY5" fmla="*/ 1394334 h 4872100"/>
              <a:gd name="connsiteX0" fmla="*/ 2334610 w 2340220"/>
              <a:gd name="connsiteY0" fmla="*/ 1394334 h 4872100"/>
              <a:gd name="connsiteX1" fmla="*/ 2340220 w 2340220"/>
              <a:gd name="connsiteY1" fmla="*/ 4784875 h 4872100"/>
              <a:gd name="connsiteX2" fmla="*/ 2235556 w 2340220"/>
              <a:gd name="connsiteY2" fmla="*/ 4841264 h 4872100"/>
              <a:gd name="connsiteX3" fmla="*/ 345602 w 2340220"/>
              <a:gd name="connsiteY3" fmla="*/ 2467520 h 4872100"/>
              <a:gd name="connsiteX4" fmla="*/ 577119 w 2340220"/>
              <a:gd name="connsiteY4" fmla="*/ 195564 h 4872100"/>
              <a:gd name="connsiteX5" fmla="*/ 2334610 w 2340220"/>
              <a:gd name="connsiteY5" fmla="*/ 1394334 h 4872100"/>
              <a:gd name="connsiteX0" fmla="*/ 2317496 w 2323106"/>
              <a:gd name="connsiteY0" fmla="*/ 1394334 h 4872100"/>
              <a:gd name="connsiteX1" fmla="*/ 2323106 w 2323106"/>
              <a:gd name="connsiteY1" fmla="*/ 4784875 h 4872100"/>
              <a:gd name="connsiteX2" fmla="*/ 2218442 w 2323106"/>
              <a:gd name="connsiteY2" fmla="*/ 4841264 h 4872100"/>
              <a:gd name="connsiteX3" fmla="*/ 328488 w 2323106"/>
              <a:gd name="connsiteY3" fmla="*/ 2467520 h 4872100"/>
              <a:gd name="connsiteX4" fmla="*/ 560005 w 2323106"/>
              <a:gd name="connsiteY4" fmla="*/ 195564 h 4872100"/>
              <a:gd name="connsiteX5" fmla="*/ 2317496 w 2323106"/>
              <a:gd name="connsiteY5" fmla="*/ 1394334 h 4872100"/>
              <a:gd name="connsiteX0" fmla="*/ 2317496 w 2323106"/>
              <a:gd name="connsiteY0" fmla="*/ 1396095 h 4873861"/>
              <a:gd name="connsiteX1" fmla="*/ 2323106 w 2323106"/>
              <a:gd name="connsiteY1" fmla="*/ 4786636 h 4873861"/>
              <a:gd name="connsiteX2" fmla="*/ 2218442 w 2323106"/>
              <a:gd name="connsiteY2" fmla="*/ 4843025 h 4873861"/>
              <a:gd name="connsiteX3" fmla="*/ 328488 w 2323106"/>
              <a:gd name="connsiteY3" fmla="*/ 2469281 h 4873861"/>
              <a:gd name="connsiteX4" fmla="*/ 560005 w 2323106"/>
              <a:gd name="connsiteY4" fmla="*/ 197325 h 4873861"/>
              <a:gd name="connsiteX5" fmla="*/ 2317496 w 2323106"/>
              <a:gd name="connsiteY5" fmla="*/ 1396095 h 4873861"/>
              <a:gd name="connsiteX0" fmla="*/ 2317496 w 2323106"/>
              <a:gd name="connsiteY0" fmla="*/ 1398561 h 4876327"/>
              <a:gd name="connsiteX1" fmla="*/ 2323106 w 2323106"/>
              <a:gd name="connsiteY1" fmla="*/ 4789102 h 4876327"/>
              <a:gd name="connsiteX2" fmla="*/ 2218442 w 2323106"/>
              <a:gd name="connsiteY2" fmla="*/ 4845491 h 4876327"/>
              <a:gd name="connsiteX3" fmla="*/ 328488 w 2323106"/>
              <a:gd name="connsiteY3" fmla="*/ 2471747 h 4876327"/>
              <a:gd name="connsiteX4" fmla="*/ 560005 w 2323106"/>
              <a:gd name="connsiteY4" fmla="*/ 199791 h 4876327"/>
              <a:gd name="connsiteX5" fmla="*/ 2317496 w 2323106"/>
              <a:gd name="connsiteY5" fmla="*/ 1398561 h 4876327"/>
              <a:gd name="connsiteX0" fmla="*/ 2317496 w 2323106"/>
              <a:gd name="connsiteY0" fmla="*/ 1389720 h 4867486"/>
              <a:gd name="connsiteX1" fmla="*/ 2323106 w 2323106"/>
              <a:gd name="connsiteY1" fmla="*/ 4780261 h 4867486"/>
              <a:gd name="connsiteX2" fmla="*/ 2218442 w 2323106"/>
              <a:gd name="connsiteY2" fmla="*/ 4836650 h 4867486"/>
              <a:gd name="connsiteX3" fmla="*/ 328488 w 2323106"/>
              <a:gd name="connsiteY3" fmla="*/ 2462906 h 4867486"/>
              <a:gd name="connsiteX4" fmla="*/ 560005 w 2323106"/>
              <a:gd name="connsiteY4" fmla="*/ 190950 h 4867486"/>
              <a:gd name="connsiteX5" fmla="*/ 2317496 w 2323106"/>
              <a:gd name="connsiteY5" fmla="*/ 1389720 h 4867486"/>
              <a:gd name="connsiteX0" fmla="*/ 2317496 w 2323106"/>
              <a:gd name="connsiteY0" fmla="*/ 1392690 h 4870456"/>
              <a:gd name="connsiteX1" fmla="*/ 2323106 w 2323106"/>
              <a:gd name="connsiteY1" fmla="*/ 4783231 h 4870456"/>
              <a:gd name="connsiteX2" fmla="*/ 2218442 w 2323106"/>
              <a:gd name="connsiteY2" fmla="*/ 4839620 h 4870456"/>
              <a:gd name="connsiteX3" fmla="*/ 328488 w 2323106"/>
              <a:gd name="connsiteY3" fmla="*/ 2465876 h 4870456"/>
              <a:gd name="connsiteX4" fmla="*/ 560005 w 2323106"/>
              <a:gd name="connsiteY4" fmla="*/ 193920 h 4870456"/>
              <a:gd name="connsiteX5" fmla="*/ 2317496 w 2323106"/>
              <a:gd name="connsiteY5" fmla="*/ 1392690 h 4870456"/>
              <a:gd name="connsiteX0" fmla="*/ 2317496 w 2323106"/>
              <a:gd name="connsiteY0" fmla="*/ 1392690 h 4870456"/>
              <a:gd name="connsiteX1" fmla="*/ 2323106 w 2323106"/>
              <a:gd name="connsiteY1" fmla="*/ 4783231 h 4870456"/>
              <a:gd name="connsiteX2" fmla="*/ 2218442 w 2323106"/>
              <a:gd name="connsiteY2" fmla="*/ 4839620 h 4870456"/>
              <a:gd name="connsiteX3" fmla="*/ 328488 w 2323106"/>
              <a:gd name="connsiteY3" fmla="*/ 2465876 h 4870456"/>
              <a:gd name="connsiteX4" fmla="*/ 560005 w 2323106"/>
              <a:gd name="connsiteY4" fmla="*/ 193920 h 4870456"/>
              <a:gd name="connsiteX5" fmla="*/ 2317496 w 2323106"/>
              <a:gd name="connsiteY5" fmla="*/ 1392690 h 4870456"/>
              <a:gd name="connsiteX0" fmla="*/ 2317496 w 2323106"/>
              <a:gd name="connsiteY0" fmla="*/ 1398024 h 4875790"/>
              <a:gd name="connsiteX1" fmla="*/ 2323106 w 2323106"/>
              <a:gd name="connsiteY1" fmla="*/ 4788565 h 4875790"/>
              <a:gd name="connsiteX2" fmla="*/ 2218442 w 2323106"/>
              <a:gd name="connsiteY2" fmla="*/ 4844954 h 4875790"/>
              <a:gd name="connsiteX3" fmla="*/ 328488 w 2323106"/>
              <a:gd name="connsiteY3" fmla="*/ 2471210 h 4875790"/>
              <a:gd name="connsiteX4" fmla="*/ 560005 w 2323106"/>
              <a:gd name="connsiteY4" fmla="*/ 199254 h 4875790"/>
              <a:gd name="connsiteX5" fmla="*/ 2317496 w 2323106"/>
              <a:gd name="connsiteY5" fmla="*/ 1398024 h 4875790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9806 h 4877572"/>
              <a:gd name="connsiteX1" fmla="*/ 2323106 w 2323106"/>
              <a:gd name="connsiteY1" fmla="*/ 4790347 h 4877572"/>
              <a:gd name="connsiteX2" fmla="*/ 2218442 w 2323106"/>
              <a:gd name="connsiteY2" fmla="*/ 4846736 h 4877572"/>
              <a:gd name="connsiteX3" fmla="*/ 328488 w 2323106"/>
              <a:gd name="connsiteY3" fmla="*/ 2472992 h 4877572"/>
              <a:gd name="connsiteX4" fmla="*/ 560005 w 2323106"/>
              <a:gd name="connsiteY4" fmla="*/ 201036 h 4877572"/>
              <a:gd name="connsiteX5" fmla="*/ 2317496 w 2323106"/>
              <a:gd name="connsiteY5" fmla="*/ 1399806 h 4877572"/>
              <a:gd name="connsiteX0" fmla="*/ 2317496 w 2323106"/>
              <a:gd name="connsiteY0" fmla="*/ 1399806 h 4877572"/>
              <a:gd name="connsiteX1" fmla="*/ 2323106 w 2323106"/>
              <a:gd name="connsiteY1" fmla="*/ 4790347 h 4877572"/>
              <a:gd name="connsiteX2" fmla="*/ 2218442 w 2323106"/>
              <a:gd name="connsiteY2" fmla="*/ 4846736 h 4877572"/>
              <a:gd name="connsiteX3" fmla="*/ 328488 w 2323106"/>
              <a:gd name="connsiteY3" fmla="*/ 2472992 h 4877572"/>
              <a:gd name="connsiteX4" fmla="*/ 560005 w 2323106"/>
              <a:gd name="connsiteY4" fmla="*/ 201036 h 4877572"/>
              <a:gd name="connsiteX5" fmla="*/ 2317496 w 2323106"/>
              <a:gd name="connsiteY5" fmla="*/ 1399806 h 4877572"/>
              <a:gd name="connsiteX0" fmla="*/ 2317496 w 2323106"/>
              <a:gd name="connsiteY0" fmla="*/ 1396245 h 4874011"/>
              <a:gd name="connsiteX1" fmla="*/ 2323106 w 2323106"/>
              <a:gd name="connsiteY1" fmla="*/ 4786786 h 4874011"/>
              <a:gd name="connsiteX2" fmla="*/ 2218442 w 2323106"/>
              <a:gd name="connsiteY2" fmla="*/ 4843175 h 4874011"/>
              <a:gd name="connsiteX3" fmla="*/ 328488 w 2323106"/>
              <a:gd name="connsiteY3" fmla="*/ 2469431 h 4874011"/>
              <a:gd name="connsiteX4" fmla="*/ 560005 w 2323106"/>
              <a:gd name="connsiteY4" fmla="*/ 197475 h 4874011"/>
              <a:gd name="connsiteX5" fmla="*/ 2317496 w 2323106"/>
              <a:gd name="connsiteY5" fmla="*/ 1396245 h 4874011"/>
              <a:gd name="connsiteX0" fmla="*/ 2317496 w 2323106"/>
              <a:gd name="connsiteY0" fmla="*/ 1399314 h 4877080"/>
              <a:gd name="connsiteX1" fmla="*/ 2323106 w 2323106"/>
              <a:gd name="connsiteY1" fmla="*/ 4789855 h 4877080"/>
              <a:gd name="connsiteX2" fmla="*/ 2218442 w 2323106"/>
              <a:gd name="connsiteY2" fmla="*/ 4846244 h 4877080"/>
              <a:gd name="connsiteX3" fmla="*/ 328488 w 2323106"/>
              <a:gd name="connsiteY3" fmla="*/ 2472500 h 4877080"/>
              <a:gd name="connsiteX4" fmla="*/ 560005 w 2323106"/>
              <a:gd name="connsiteY4" fmla="*/ 200544 h 4877080"/>
              <a:gd name="connsiteX5" fmla="*/ 2317496 w 2323106"/>
              <a:gd name="connsiteY5" fmla="*/ 1399314 h 4877080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9830 w 2323106"/>
              <a:gd name="connsiteY0" fmla="*/ 1399683 h 4868852"/>
              <a:gd name="connsiteX1" fmla="*/ 2323106 w 2323106"/>
              <a:gd name="connsiteY1" fmla="*/ 4781627 h 4868852"/>
              <a:gd name="connsiteX2" fmla="*/ 2218442 w 2323106"/>
              <a:gd name="connsiteY2" fmla="*/ 4838016 h 4868852"/>
              <a:gd name="connsiteX3" fmla="*/ 328488 w 2323106"/>
              <a:gd name="connsiteY3" fmla="*/ 2464272 h 4868852"/>
              <a:gd name="connsiteX4" fmla="*/ 560005 w 2323106"/>
              <a:gd name="connsiteY4" fmla="*/ 192316 h 4868852"/>
              <a:gd name="connsiteX5" fmla="*/ 2319830 w 2323106"/>
              <a:gd name="connsiteY5" fmla="*/ 1399683 h 4868852"/>
              <a:gd name="connsiteX0" fmla="*/ 2319830 w 2323106"/>
              <a:gd name="connsiteY0" fmla="*/ 1402669 h 4871838"/>
              <a:gd name="connsiteX1" fmla="*/ 2323106 w 2323106"/>
              <a:gd name="connsiteY1" fmla="*/ 4784613 h 4871838"/>
              <a:gd name="connsiteX2" fmla="*/ 2218442 w 2323106"/>
              <a:gd name="connsiteY2" fmla="*/ 4841002 h 4871838"/>
              <a:gd name="connsiteX3" fmla="*/ 328488 w 2323106"/>
              <a:gd name="connsiteY3" fmla="*/ 2467258 h 4871838"/>
              <a:gd name="connsiteX4" fmla="*/ 560005 w 2323106"/>
              <a:gd name="connsiteY4" fmla="*/ 195302 h 4871838"/>
              <a:gd name="connsiteX5" fmla="*/ 2319830 w 2323106"/>
              <a:gd name="connsiteY5" fmla="*/ 1402669 h 4871838"/>
              <a:gd name="connsiteX0" fmla="*/ 2319830 w 2323106"/>
              <a:gd name="connsiteY0" fmla="*/ 1403343 h 4872512"/>
              <a:gd name="connsiteX1" fmla="*/ 2323106 w 2323106"/>
              <a:gd name="connsiteY1" fmla="*/ 4785287 h 4872512"/>
              <a:gd name="connsiteX2" fmla="*/ 2218442 w 2323106"/>
              <a:gd name="connsiteY2" fmla="*/ 4841676 h 4872512"/>
              <a:gd name="connsiteX3" fmla="*/ 328488 w 2323106"/>
              <a:gd name="connsiteY3" fmla="*/ 2467932 h 4872512"/>
              <a:gd name="connsiteX4" fmla="*/ 560005 w 2323106"/>
              <a:gd name="connsiteY4" fmla="*/ 195976 h 4872512"/>
              <a:gd name="connsiteX5" fmla="*/ 2319830 w 2323106"/>
              <a:gd name="connsiteY5" fmla="*/ 1403343 h 4872512"/>
              <a:gd name="connsiteX0" fmla="*/ 2324359 w 2327635"/>
              <a:gd name="connsiteY0" fmla="*/ 1403343 h 4872512"/>
              <a:gd name="connsiteX1" fmla="*/ 2327635 w 2327635"/>
              <a:gd name="connsiteY1" fmla="*/ 4785287 h 4872512"/>
              <a:gd name="connsiteX2" fmla="*/ 2222971 w 2327635"/>
              <a:gd name="connsiteY2" fmla="*/ 4841676 h 4872512"/>
              <a:gd name="connsiteX3" fmla="*/ 333017 w 2327635"/>
              <a:gd name="connsiteY3" fmla="*/ 2467932 h 4872512"/>
              <a:gd name="connsiteX4" fmla="*/ 564534 w 2327635"/>
              <a:gd name="connsiteY4" fmla="*/ 195976 h 4872512"/>
              <a:gd name="connsiteX5" fmla="*/ 2324359 w 2327635"/>
              <a:gd name="connsiteY5" fmla="*/ 1403343 h 4872512"/>
              <a:gd name="connsiteX0" fmla="*/ 2326563 w 2458304"/>
              <a:gd name="connsiteY0" fmla="*/ 1388146 h 4857315"/>
              <a:gd name="connsiteX1" fmla="*/ 2329839 w 2458304"/>
              <a:gd name="connsiteY1" fmla="*/ 4770090 h 4857315"/>
              <a:gd name="connsiteX2" fmla="*/ 2225175 w 2458304"/>
              <a:gd name="connsiteY2" fmla="*/ 4826479 h 4857315"/>
              <a:gd name="connsiteX3" fmla="*/ 335221 w 2458304"/>
              <a:gd name="connsiteY3" fmla="*/ 2452735 h 4857315"/>
              <a:gd name="connsiteX4" fmla="*/ 562070 w 2458304"/>
              <a:gd name="connsiteY4" fmla="*/ 180779 h 4857315"/>
              <a:gd name="connsiteX5" fmla="*/ 2326563 w 2458304"/>
              <a:gd name="connsiteY5" fmla="*/ 1388146 h 4857315"/>
              <a:gd name="connsiteX0" fmla="*/ 2326563 w 2329839"/>
              <a:gd name="connsiteY0" fmla="*/ 1396124 h 4865293"/>
              <a:gd name="connsiteX1" fmla="*/ 2329839 w 2329839"/>
              <a:gd name="connsiteY1" fmla="*/ 4778068 h 4865293"/>
              <a:gd name="connsiteX2" fmla="*/ 2225175 w 2329839"/>
              <a:gd name="connsiteY2" fmla="*/ 4834457 h 4865293"/>
              <a:gd name="connsiteX3" fmla="*/ 335221 w 2329839"/>
              <a:gd name="connsiteY3" fmla="*/ 2460713 h 4865293"/>
              <a:gd name="connsiteX4" fmla="*/ 562070 w 2329839"/>
              <a:gd name="connsiteY4" fmla="*/ 188757 h 4865293"/>
              <a:gd name="connsiteX5" fmla="*/ 2326563 w 2329839"/>
              <a:gd name="connsiteY5" fmla="*/ 1396124 h 4865293"/>
              <a:gd name="connsiteX0" fmla="*/ 2326563 w 2329839"/>
              <a:gd name="connsiteY0" fmla="*/ 1394861 h 4864030"/>
              <a:gd name="connsiteX1" fmla="*/ 2329839 w 2329839"/>
              <a:gd name="connsiteY1" fmla="*/ 4776805 h 4864030"/>
              <a:gd name="connsiteX2" fmla="*/ 2225175 w 2329839"/>
              <a:gd name="connsiteY2" fmla="*/ 4833194 h 4864030"/>
              <a:gd name="connsiteX3" fmla="*/ 335221 w 2329839"/>
              <a:gd name="connsiteY3" fmla="*/ 2459450 h 4864030"/>
              <a:gd name="connsiteX4" fmla="*/ 562070 w 2329839"/>
              <a:gd name="connsiteY4" fmla="*/ 187494 h 4864030"/>
              <a:gd name="connsiteX5" fmla="*/ 2326563 w 2329839"/>
              <a:gd name="connsiteY5" fmla="*/ 1394861 h 4864030"/>
              <a:gd name="connsiteX0" fmla="*/ 2326563 w 2329839"/>
              <a:gd name="connsiteY0" fmla="*/ 1401537 h 4870706"/>
              <a:gd name="connsiteX1" fmla="*/ 2329839 w 2329839"/>
              <a:gd name="connsiteY1" fmla="*/ 4783481 h 4870706"/>
              <a:gd name="connsiteX2" fmla="*/ 2225175 w 2329839"/>
              <a:gd name="connsiteY2" fmla="*/ 4839870 h 4870706"/>
              <a:gd name="connsiteX3" fmla="*/ 335221 w 2329839"/>
              <a:gd name="connsiteY3" fmla="*/ 2466126 h 4870706"/>
              <a:gd name="connsiteX4" fmla="*/ 562070 w 2329839"/>
              <a:gd name="connsiteY4" fmla="*/ 194170 h 4870706"/>
              <a:gd name="connsiteX5" fmla="*/ 2326563 w 2329839"/>
              <a:gd name="connsiteY5" fmla="*/ 1401537 h 4870706"/>
              <a:gd name="connsiteX0" fmla="*/ 2326563 w 2329839"/>
              <a:gd name="connsiteY0" fmla="*/ 1403211 h 4872380"/>
              <a:gd name="connsiteX1" fmla="*/ 2329839 w 2329839"/>
              <a:gd name="connsiteY1" fmla="*/ 4785155 h 4872380"/>
              <a:gd name="connsiteX2" fmla="*/ 2225175 w 2329839"/>
              <a:gd name="connsiteY2" fmla="*/ 4841544 h 4872380"/>
              <a:gd name="connsiteX3" fmla="*/ 335221 w 2329839"/>
              <a:gd name="connsiteY3" fmla="*/ 2467800 h 4872380"/>
              <a:gd name="connsiteX4" fmla="*/ 562070 w 2329839"/>
              <a:gd name="connsiteY4" fmla="*/ 195844 h 4872380"/>
              <a:gd name="connsiteX5" fmla="*/ 2326563 w 2329839"/>
              <a:gd name="connsiteY5" fmla="*/ 1403211 h 4872380"/>
              <a:gd name="connsiteX0" fmla="*/ 2326563 w 2330469"/>
              <a:gd name="connsiteY0" fmla="*/ 1418627 h 4887796"/>
              <a:gd name="connsiteX1" fmla="*/ 2329839 w 2330469"/>
              <a:gd name="connsiteY1" fmla="*/ 4800571 h 4887796"/>
              <a:gd name="connsiteX2" fmla="*/ 2225175 w 2330469"/>
              <a:gd name="connsiteY2" fmla="*/ 4856960 h 4887796"/>
              <a:gd name="connsiteX3" fmla="*/ 335221 w 2330469"/>
              <a:gd name="connsiteY3" fmla="*/ 2483216 h 4887796"/>
              <a:gd name="connsiteX4" fmla="*/ 562070 w 2330469"/>
              <a:gd name="connsiteY4" fmla="*/ 211260 h 4887796"/>
              <a:gd name="connsiteX5" fmla="*/ 2326563 w 2330469"/>
              <a:gd name="connsiteY5" fmla="*/ 1418627 h 4887796"/>
              <a:gd name="connsiteX0" fmla="*/ 2326563 w 2330469"/>
              <a:gd name="connsiteY0" fmla="*/ 1403156 h 4872325"/>
              <a:gd name="connsiteX1" fmla="*/ 2329839 w 2330469"/>
              <a:gd name="connsiteY1" fmla="*/ 4785100 h 4872325"/>
              <a:gd name="connsiteX2" fmla="*/ 2225175 w 2330469"/>
              <a:gd name="connsiteY2" fmla="*/ 4841489 h 4872325"/>
              <a:gd name="connsiteX3" fmla="*/ 335221 w 2330469"/>
              <a:gd name="connsiteY3" fmla="*/ 2467745 h 4872325"/>
              <a:gd name="connsiteX4" fmla="*/ 562070 w 2330469"/>
              <a:gd name="connsiteY4" fmla="*/ 195789 h 4872325"/>
              <a:gd name="connsiteX5" fmla="*/ 2326563 w 2330469"/>
              <a:gd name="connsiteY5" fmla="*/ 1403156 h 4872325"/>
              <a:gd name="connsiteX0" fmla="*/ 2326563 w 2330469"/>
              <a:gd name="connsiteY0" fmla="*/ 1377614 h 4846783"/>
              <a:gd name="connsiteX1" fmla="*/ 2329839 w 2330469"/>
              <a:gd name="connsiteY1" fmla="*/ 4759558 h 4846783"/>
              <a:gd name="connsiteX2" fmla="*/ 2225175 w 2330469"/>
              <a:gd name="connsiteY2" fmla="*/ 4815947 h 4846783"/>
              <a:gd name="connsiteX3" fmla="*/ 335221 w 2330469"/>
              <a:gd name="connsiteY3" fmla="*/ 2442203 h 4846783"/>
              <a:gd name="connsiteX4" fmla="*/ 562070 w 2330469"/>
              <a:gd name="connsiteY4" fmla="*/ 170247 h 4846783"/>
              <a:gd name="connsiteX5" fmla="*/ 2326563 w 2330469"/>
              <a:gd name="connsiteY5" fmla="*/ 1377614 h 4846783"/>
              <a:gd name="connsiteX0" fmla="*/ 2326563 w 2330469"/>
              <a:gd name="connsiteY0" fmla="*/ 1403155 h 4872324"/>
              <a:gd name="connsiteX1" fmla="*/ 2329839 w 2330469"/>
              <a:gd name="connsiteY1" fmla="*/ 4785099 h 4872324"/>
              <a:gd name="connsiteX2" fmla="*/ 2225175 w 2330469"/>
              <a:gd name="connsiteY2" fmla="*/ 4841488 h 4872324"/>
              <a:gd name="connsiteX3" fmla="*/ 335221 w 2330469"/>
              <a:gd name="connsiteY3" fmla="*/ 2467744 h 4872324"/>
              <a:gd name="connsiteX4" fmla="*/ 562070 w 2330469"/>
              <a:gd name="connsiteY4" fmla="*/ 195788 h 4872324"/>
              <a:gd name="connsiteX5" fmla="*/ 2326563 w 2330469"/>
              <a:gd name="connsiteY5" fmla="*/ 1403155 h 4872324"/>
              <a:gd name="connsiteX0" fmla="*/ 2278081 w 2281987"/>
              <a:gd name="connsiteY0" fmla="*/ 1403155 h 4872324"/>
              <a:gd name="connsiteX1" fmla="*/ 2281357 w 2281987"/>
              <a:gd name="connsiteY1" fmla="*/ 4785099 h 4872324"/>
              <a:gd name="connsiteX2" fmla="*/ 2176693 w 2281987"/>
              <a:gd name="connsiteY2" fmla="*/ 4841488 h 4872324"/>
              <a:gd name="connsiteX3" fmla="*/ 286739 w 2281987"/>
              <a:gd name="connsiteY3" fmla="*/ 2467744 h 4872324"/>
              <a:gd name="connsiteX4" fmla="*/ 513588 w 2281987"/>
              <a:gd name="connsiteY4" fmla="*/ 195788 h 4872324"/>
              <a:gd name="connsiteX5" fmla="*/ 2278081 w 2281987"/>
              <a:gd name="connsiteY5" fmla="*/ 1403155 h 4872324"/>
              <a:gd name="connsiteX0" fmla="*/ 2321655 w 2325561"/>
              <a:gd name="connsiteY0" fmla="*/ 1403155 h 4872324"/>
              <a:gd name="connsiteX1" fmla="*/ 2324931 w 2325561"/>
              <a:gd name="connsiteY1" fmla="*/ 4785099 h 4872324"/>
              <a:gd name="connsiteX2" fmla="*/ 2220267 w 2325561"/>
              <a:gd name="connsiteY2" fmla="*/ 4841488 h 4872324"/>
              <a:gd name="connsiteX3" fmla="*/ 330313 w 2325561"/>
              <a:gd name="connsiteY3" fmla="*/ 2467744 h 4872324"/>
              <a:gd name="connsiteX4" fmla="*/ 557162 w 2325561"/>
              <a:gd name="connsiteY4" fmla="*/ 195788 h 4872324"/>
              <a:gd name="connsiteX5" fmla="*/ 2321655 w 2325561"/>
              <a:gd name="connsiteY5" fmla="*/ 1403155 h 4872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25561" h="4872324">
                <a:moveTo>
                  <a:pt x="2321655" y="1403155"/>
                </a:moveTo>
                <a:cubicBezTo>
                  <a:pt x="2327968" y="2360767"/>
                  <a:pt x="2324666" y="4001780"/>
                  <a:pt x="2324931" y="4785099"/>
                </a:cubicBezTo>
                <a:cubicBezTo>
                  <a:pt x="2321552" y="4937375"/>
                  <a:pt x="2214114" y="4844655"/>
                  <a:pt x="2220267" y="4841488"/>
                </a:cubicBezTo>
                <a:cubicBezTo>
                  <a:pt x="1934243" y="4471710"/>
                  <a:pt x="788411" y="3040549"/>
                  <a:pt x="330313" y="2467744"/>
                </a:cubicBezTo>
                <a:cubicBezTo>
                  <a:pt x="-81862" y="1937583"/>
                  <a:pt x="-211970" y="817537"/>
                  <a:pt x="557162" y="195788"/>
                </a:cubicBezTo>
                <a:cubicBezTo>
                  <a:pt x="1466748" y="-393302"/>
                  <a:pt x="2315342" y="445543"/>
                  <a:pt x="2321655" y="140315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4950651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corazón fondo verde">
    <p:bg>
      <p:bgPr>
        <a:solidFill>
          <a:srgbClr val="00793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5" name="Marcador de posición de imagen 3">
            <a:extLst>
              <a:ext uri="{FF2B5EF4-FFF2-40B4-BE49-F238E27FC236}">
                <a16:creationId xmlns:a16="http://schemas.microsoft.com/office/drawing/2014/main" id="{EEEB83C0-B14D-6640-A385-18254BC4D1C0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9091023" y="1325834"/>
            <a:ext cx="2648241" cy="4519122"/>
          </a:xfrm>
          <a:custGeom>
            <a:avLst/>
            <a:gdLst>
              <a:gd name="connsiteX0" fmla="*/ 1726784 w 3453568"/>
              <a:gd name="connsiteY0" fmla="*/ 761850 h 3047398"/>
              <a:gd name="connsiteX1" fmla="*/ 1726784 w 3453568"/>
              <a:gd name="connsiteY1" fmla="*/ 3047398 h 3047398"/>
              <a:gd name="connsiteX2" fmla="*/ 1726784 w 3453568"/>
              <a:gd name="connsiteY2" fmla="*/ 761850 h 3047398"/>
              <a:gd name="connsiteX0" fmla="*/ 323012 w 2062385"/>
              <a:gd name="connsiteY0" fmla="*/ 724098 h 3009646"/>
              <a:gd name="connsiteX1" fmla="*/ 323012 w 2062385"/>
              <a:gd name="connsiteY1" fmla="*/ 3009646 h 3009646"/>
              <a:gd name="connsiteX2" fmla="*/ 323012 w 2062385"/>
              <a:gd name="connsiteY2" fmla="*/ 724098 h 3009646"/>
              <a:gd name="connsiteX0" fmla="*/ 5073 w 1744446"/>
              <a:gd name="connsiteY0" fmla="*/ 724098 h 3009646"/>
              <a:gd name="connsiteX1" fmla="*/ 5073 w 1744446"/>
              <a:gd name="connsiteY1" fmla="*/ 3009646 h 3009646"/>
              <a:gd name="connsiteX2" fmla="*/ 5073 w 1744446"/>
              <a:gd name="connsiteY2" fmla="*/ 724098 h 3009646"/>
              <a:gd name="connsiteX0" fmla="*/ 0 w 1739373"/>
              <a:gd name="connsiteY0" fmla="*/ 724098 h 3009646"/>
              <a:gd name="connsiteX1" fmla="*/ 0 w 1739373"/>
              <a:gd name="connsiteY1" fmla="*/ 3009646 h 3009646"/>
              <a:gd name="connsiteX2" fmla="*/ 0 w 1739373"/>
              <a:gd name="connsiteY2" fmla="*/ 724098 h 3009646"/>
              <a:gd name="connsiteX0" fmla="*/ 0 w 1741571"/>
              <a:gd name="connsiteY0" fmla="*/ 741338 h 2941161"/>
              <a:gd name="connsiteX1" fmla="*/ 3175 w 1741571"/>
              <a:gd name="connsiteY1" fmla="*/ 2941161 h 2941161"/>
              <a:gd name="connsiteX2" fmla="*/ 0 w 1741571"/>
              <a:gd name="connsiteY2" fmla="*/ 741338 h 2941161"/>
              <a:gd name="connsiteX0" fmla="*/ 0 w 1662955"/>
              <a:gd name="connsiteY0" fmla="*/ 770826 h 2970649"/>
              <a:gd name="connsiteX1" fmla="*/ 3175 w 1662955"/>
              <a:gd name="connsiteY1" fmla="*/ 2970649 h 2970649"/>
              <a:gd name="connsiteX2" fmla="*/ 0 w 1662955"/>
              <a:gd name="connsiteY2" fmla="*/ 770826 h 2970649"/>
              <a:gd name="connsiteX0" fmla="*/ 0 w 1754580"/>
              <a:gd name="connsiteY0" fmla="*/ 790877 h 2990700"/>
              <a:gd name="connsiteX1" fmla="*/ 3175 w 1754580"/>
              <a:gd name="connsiteY1" fmla="*/ 2990700 h 2990700"/>
              <a:gd name="connsiteX2" fmla="*/ 0 w 1754580"/>
              <a:gd name="connsiteY2" fmla="*/ 790877 h 2990700"/>
              <a:gd name="connsiteX0" fmla="*/ 46 w 1754626"/>
              <a:gd name="connsiteY0" fmla="*/ 790877 h 3268319"/>
              <a:gd name="connsiteX1" fmla="*/ 3221 w 1754626"/>
              <a:gd name="connsiteY1" fmla="*/ 2990700 h 3268319"/>
              <a:gd name="connsiteX2" fmla="*/ 1457 w 1754626"/>
              <a:gd name="connsiteY2" fmla="*/ 2995379 h 3268319"/>
              <a:gd name="connsiteX3" fmla="*/ 46 w 1754626"/>
              <a:gd name="connsiteY3" fmla="*/ 790877 h 3268319"/>
              <a:gd name="connsiteX0" fmla="*/ 46 w 2123706"/>
              <a:gd name="connsiteY0" fmla="*/ 879416 h 3232836"/>
              <a:gd name="connsiteX1" fmla="*/ 504333 w 2123706"/>
              <a:gd name="connsiteY1" fmla="*/ 2702113 h 3232836"/>
              <a:gd name="connsiteX2" fmla="*/ 1457 w 2123706"/>
              <a:gd name="connsiteY2" fmla="*/ 3083918 h 3232836"/>
              <a:gd name="connsiteX3" fmla="*/ 46 w 2123706"/>
              <a:gd name="connsiteY3" fmla="*/ 879416 h 3232836"/>
              <a:gd name="connsiteX0" fmla="*/ 46 w 1814106"/>
              <a:gd name="connsiteY0" fmla="*/ 793104 h 3265479"/>
              <a:gd name="connsiteX1" fmla="*/ 85878 w 1814106"/>
              <a:gd name="connsiteY1" fmla="*/ 2982594 h 3265479"/>
              <a:gd name="connsiteX2" fmla="*/ 1457 w 1814106"/>
              <a:gd name="connsiteY2" fmla="*/ 2997606 h 3265479"/>
              <a:gd name="connsiteX3" fmla="*/ 46 w 1814106"/>
              <a:gd name="connsiteY3" fmla="*/ 793104 h 3265479"/>
              <a:gd name="connsiteX0" fmla="*/ 46 w 1814106"/>
              <a:gd name="connsiteY0" fmla="*/ 793104 h 3237717"/>
              <a:gd name="connsiteX1" fmla="*/ 85878 w 1814106"/>
              <a:gd name="connsiteY1" fmla="*/ 2982594 h 3237717"/>
              <a:gd name="connsiteX2" fmla="*/ 1457 w 1814106"/>
              <a:gd name="connsiteY2" fmla="*/ 2940456 h 3237717"/>
              <a:gd name="connsiteX3" fmla="*/ 46 w 1814106"/>
              <a:gd name="connsiteY3" fmla="*/ 793104 h 3237717"/>
              <a:gd name="connsiteX0" fmla="*/ 46 w 1766081"/>
              <a:gd name="connsiteY0" fmla="*/ 801401 h 3226052"/>
              <a:gd name="connsiteX1" fmla="*/ 19203 w 1766081"/>
              <a:gd name="connsiteY1" fmla="*/ 2952791 h 3226052"/>
              <a:gd name="connsiteX2" fmla="*/ 1457 w 1766081"/>
              <a:gd name="connsiteY2" fmla="*/ 2948753 h 3226052"/>
              <a:gd name="connsiteX3" fmla="*/ 46 w 1766081"/>
              <a:gd name="connsiteY3" fmla="*/ 801401 h 3226052"/>
              <a:gd name="connsiteX0" fmla="*/ 46 w 1825596"/>
              <a:gd name="connsiteY0" fmla="*/ 800705 h 3226963"/>
              <a:gd name="connsiteX1" fmla="*/ 101753 w 1825596"/>
              <a:gd name="connsiteY1" fmla="*/ 2955270 h 3226963"/>
              <a:gd name="connsiteX2" fmla="*/ 1457 w 1825596"/>
              <a:gd name="connsiteY2" fmla="*/ 2948057 h 3226963"/>
              <a:gd name="connsiteX3" fmla="*/ 46 w 1825596"/>
              <a:gd name="connsiteY3" fmla="*/ 800705 h 3226963"/>
              <a:gd name="connsiteX0" fmla="*/ 46 w 1825596"/>
              <a:gd name="connsiteY0" fmla="*/ 800705 h 3113418"/>
              <a:gd name="connsiteX1" fmla="*/ 101753 w 1825596"/>
              <a:gd name="connsiteY1" fmla="*/ 2955270 h 3113418"/>
              <a:gd name="connsiteX2" fmla="*/ 1457 w 1825596"/>
              <a:gd name="connsiteY2" fmla="*/ 2948057 h 3113418"/>
              <a:gd name="connsiteX3" fmla="*/ 46 w 1825596"/>
              <a:gd name="connsiteY3" fmla="*/ 800705 h 3113418"/>
              <a:gd name="connsiteX0" fmla="*/ 46 w 1825596"/>
              <a:gd name="connsiteY0" fmla="*/ 801401 h 3113272"/>
              <a:gd name="connsiteX1" fmla="*/ 101753 w 1825596"/>
              <a:gd name="connsiteY1" fmla="*/ 2952791 h 3113272"/>
              <a:gd name="connsiteX2" fmla="*/ 1457 w 1825596"/>
              <a:gd name="connsiteY2" fmla="*/ 2948753 h 3113272"/>
              <a:gd name="connsiteX3" fmla="*/ 46 w 1825596"/>
              <a:gd name="connsiteY3" fmla="*/ 801401 h 3113272"/>
              <a:gd name="connsiteX0" fmla="*/ 46 w 1825596"/>
              <a:gd name="connsiteY0" fmla="*/ 801401 h 2999004"/>
              <a:gd name="connsiteX1" fmla="*/ 101753 w 1825596"/>
              <a:gd name="connsiteY1" fmla="*/ 2952791 h 2999004"/>
              <a:gd name="connsiteX2" fmla="*/ 1457 w 1825596"/>
              <a:gd name="connsiteY2" fmla="*/ 2948753 h 2999004"/>
              <a:gd name="connsiteX3" fmla="*/ 46 w 1825596"/>
              <a:gd name="connsiteY3" fmla="*/ 801401 h 2999004"/>
              <a:gd name="connsiteX0" fmla="*/ 46 w 1825596"/>
              <a:gd name="connsiteY0" fmla="*/ 801401 h 3003762"/>
              <a:gd name="connsiteX1" fmla="*/ 101753 w 1825596"/>
              <a:gd name="connsiteY1" fmla="*/ 2952791 h 3003762"/>
              <a:gd name="connsiteX2" fmla="*/ 1457 w 1825596"/>
              <a:gd name="connsiteY2" fmla="*/ 2948753 h 3003762"/>
              <a:gd name="connsiteX3" fmla="*/ 46 w 1825596"/>
              <a:gd name="connsiteY3" fmla="*/ 801401 h 3003762"/>
              <a:gd name="connsiteX0" fmla="*/ 46 w 1751080"/>
              <a:gd name="connsiteY0" fmla="*/ 791490 h 2993851"/>
              <a:gd name="connsiteX1" fmla="*/ 101753 w 1751080"/>
              <a:gd name="connsiteY1" fmla="*/ 2942880 h 2993851"/>
              <a:gd name="connsiteX2" fmla="*/ 1457 w 1751080"/>
              <a:gd name="connsiteY2" fmla="*/ 2938842 h 2993851"/>
              <a:gd name="connsiteX3" fmla="*/ 46 w 1751080"/>
              <a:gd name="connsiteY3" fmla="*/ 791490 h 2993851"/>
              <a:gd name="connsiteX0" fmla="*/ 46 w 1754103"/>
              <a:gd name="connsiteY0" fmla="*/ 794198 h 2992817"/>
              <a:gd name="connsiteX1" fmla="*/ 105929 w 1754103"/>
              <a:gd name="connsiteY1" fmla="*/ 2933062 h 2992817"/>
              <a:gd name="connsiteX2" fmla="*/ 1457 w 1754103"/>
              <a:gd name="connsiteY2" fmla="*/ 2941550 h 2992817"/>
              <a:gd name="connsiteX3" fmla="*/ 46 w 1754103"/>
              <a:gd name="connsiteY3" fmla="*/ 794198 h 2992817"/>
              <a:gd name="connsiteX0" fmla="*/ 46 w 1754103"/>
              <a:gd name="connsiteY0" fmla="*/ 794198 h 3092665"/>
              <a:gd name="connsiteX1" fmla="*/ 105929 w 1754103"/>
              <a:gd name="connsiteY1" fmla="*/ 2933062 h 3092665"/>
              <a:gd name="connsiteX2" fmla="*/ 112493 w 1754103"/>
              <a:gd name="connsiteY2" fmla="*/ 2916042 h 3092665"/>
              <a:gd name="connsiteX3" fmla="*/ 1457 w 1754103"/>
              <a:gd name="connsiteY3" fmla="*/ 2941550 h 3092665"/>
              <a:gd name="connsiteX4" fmla="*/ 46 w 1754103"/>
              <a:gd name="connsiteY4" fmla="*/ 794198 h 3092665"/>
              <a:gd name="connsiteX0" fmla="*/ 46 w 1754103"/>
              <a:gd name="connsiteY0" fmla="*/ 794198 h 3137950"/>
              <a:gd name="connsiteX1" fmla="*/ 105929 w 1754103"/>
              <a:gd name="connsiteY1" fmla="*/ 2933062 h 3137950"/>
              <a:gd name="connsiteX2" fmla="*/ 49862 w 1754103"/>
              <a:gd name="connsiteY2" fmla="*/ 3062179 h 3137950"/>
              <a:gd name="connsiteX3" fmla="*/ 1457 w 1754103"/>
              <a:gd name="connsiteY3" fmla="*/ 2941550 h 3137950"/>
              <a:gd name="connsiteX4" fmla="*/ 46 w 1754103"/>
              <a:gd name="connsiteY4" fmla="*/ 794198 h 3137950"/>
              <a:gd name="connsiteX0" fmla="*/ 46 w 1947503"/>
              <a:gd name="connsiteY0" fmla="*/ 855901 h 3199653"/>
              <a:gd name="connsiteX1" fmla="*/ 368976 w 1947503"/>
              <a:gd name="connsiteY1" fmla="*/ 2727543 h 3199653"/>
              <a:gd name="connsiteX2" fmla="*/ 49862 w 1947503"/>
              <a:gd name="connsiteY2" fmla="*/ 3123882 h 3199653"/>
              <a:gd name="connsiteX3" fmla="*/ 1457 w 1947503"/>
              <a:gd name="connsiteY3" fmla="*/ 3003253 h 3199653"/>
              <a:gd name="connsiteX4" fmla="*/ 46 w 1947503"/>
              <a:gd name="connsiteY4" fmla="*/ 855901 h 3199653"/>
              <a:gd name="connsiteX0" fmla="*/ 46 w 1947503"/>
              <a:gd name="connsiteY0" fmla="*/ 855901 h 3157433"/>
              <a:gd name="connsiteX1" fmla="*/ 368976 w 1947503"/>
              <a:gd name="connsiteY1" fmla="*/ 2727543 h 3157433"/>
              <a:gd name="connsiteX2" fmla="*/ 125018 w 1947503"/>
              <a:gd name="connsiteY2" fmla="*/ 2990271 h 3157433"/>
              <a:gd name="connsiteX3" fmla="*/ 1457 w 1947503"/>
              <a:gd name="connsiteY3" fmla="*/ 3003253 h 3157433"/>
              <a:gd name="connsiteX4" fmla="*/ 46 w 1947503"/>
              <a:gd name="connsiteY4" fmla="*/ 855901 h 3157433"/>
              <a:gd name="connsiteX0" fmla="*/ 46 w 1947503"/>
              <a:gd name="connsiteY0" fmla="*/ 855901 h 3166659"/>
              <a:gd name="connsiteX1" fmla="*/ 368976 w 1947503"/>
              <a:gd name="connsiteY1" fmla="*/ 2727543 h 3166659"/>
              <a:gd name="connsiteX2" fmla="*/ 96443 w 1947503"/>
              <a:gd name="connsiteY2" fmla="*/ 3025196 h 3166659"/>
              <a:gd name="connsiteX3" fmla="*/ 1457 w 1947503"/>
              <a:gd name="connsiteY3" fmla="*/ 3003253 h 3166659"/>
              <a:gd name="connsiteX4" fmla="*/ 46 w 1947503"/>
              <a:gd name="connsiteY4" fmla="*/ 855901 h 3166659"/>
              <a:gd name="connsiteX0" fmla="*/ 46 w 1947503"/>
              <a:gd name="connsiteY0" fmla="*/ 855901 h 3154564"/>
              <a:gd name="connsiteX1" fmla="*/ 368976 w 1947503"/>
              <a:gd name="connsiteY1" fmla="*/ 2727543 h 3154564"/>
              <a:gd name="connsiteX2" fmla="*/ 96443 w 1947503"/>
              <a:gd name="connsiteY2" fmla="*/ 3025196 h 3154564"/>
              <a:gd name="connsiteX3" fmla="*/ 1457 w 1947503"/>
              <a:gd name="connsiteY3" fmla="*/ 3003253 h 3154564"/>
              <a:gd name="connsiteX4" fmla="*/ 46 w 1947503"/>
              <a:gd name="connsiteY4" fmla="*/ 855901 h 3154564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63511"/>
              <a:gd name="connsiteX1" fmla="*/ 368976 w 1947503"/>
              <a:gd name="connsiteY1" fmla="*/ 2727543 h 3063511"/>
              <a:gd name="connsiteX2" fmla="*/ 96443 w 1947503"/>
              <a:gd name="connsiteY2" fmla="*/ 3025196 h 3063511"/>
              <a:gd name="connsiteX3" fmla="*/ 1457 w 1947503"/>
              <a:gd name="connsiteY3" fmla="*/ 3003253 h 3063511"/>
              <a:gd name="connsiteX4" fmla="*/ 46 w 1947503"/>
              <a:gd name="connsiteY4" fmla="*/ 855901 h 3063511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748161"/>
              <a:gd name="connsiteY0" fmla="*/ 802155 h 3002262"/>
              <a:gd name="connsiteX1" fmla="*/ 368976 w 1748161"/>
              <a:gd name="connsiteY1" fmla="*/ 2673797 h 3002262"/>
              <a:gd name="connsiteX2" fmla="*/ 96443 w 1748161"/>
              <a:gd name="connsiteY2" fmla="*/ 2971450 h 3002262"/>
              <a:gd name="connsiteX3" fmla="*/ 1457 w 1748161"/>
              <a:gd name="connsiteY3" fmla="*/ 2949507 h 3002262"/>
              <a:gd name="connsiteX4" fmla="*/ 46 w 1748161"/>
              <a:gd name="connsiteY4" fmla="*/ 802155 h 3002262"/>
              <a:gd name="connsiteX0" fmla="*/ 46 w 1748161"/>
              <a:gd name="connsiteY0" fmla="*/ 802155 h 3002262"/>
              <a:gd name="connsiteX1" fmla="*/ 368976 w 1748161"/>
              <a:gd name="connsiteY1" fmla="*/ 2673797 h 3002262"/>
              <a:gd name="connsiteX2" fmla="*/ 96443 w 1748161"/>
              <a:gd name="connsiteY2" fmla="*/ 2971450 h 3002262"/>
              <a:gd name="connsiteX3" fmla="*/ 1457 w 1748161"/>
              <a:gd name="connsiteY3" fmla="*/ 2949507 h 3002262"/>
              <a:gd name="connsiteX4" fmla="*/ 46 w 1748161"/>
              <a:gd name="connsiteY4" fmla="*/ 802155 h 3002262"/>
              <a:gd name="connsiteX0" fmla="*/ 46 w 1752318"/>
              <a:gd name="connsiteY0" fmla="*/ 788682 h 2988789"/>
              <a:gd name="connsiteX1" fmla="*/ 368976 w 1752318"/>
              <a:gd name="connsiteY1" fmla="*/ 2660324 h 2988789"/>
              <a:gd name="connsiteX2" fmla="*/ 96443 w 1752318"/>
              <a:gd name="connsiteY2" fmla="*/ 2957977 h 2988789"/>
              <a:gd name="connsiteX3" fmla="*/ 1457 w 1752318"/>
              <a:gd name="connsiteY3" fmla="*/ 2936034 h 2988789"/>
              <a:gd name="connsiteX4" fmla="*/ 46 w 1752318"/>
              <a:gd name="connsiteY4" fmla="*/ 788682 h 2988789"/>
              <a:gd name="connsiteX0" fmla="*/ 46 w 1749822"/>
              <a:gd name="connsiteY0" fmla="*/ 793733 h 2993840"/>
              <a:gd name="connsiteX1" fmla="*/ 368976 w 1749822"/>
              <a:gd name="connsiteY1" fmla="*/ 2665375 h 2993840"/>
              <a:gd name="connsiteX2" fmla="*/ 96443 w 1749822"/>
              <a:gd name="connsiteY2" fmla="*/ 2963028 h 2993840"/>
              <a:gd name="connsiteX3" fmla="*/ 1457 w 1749822"/>
              <a:gd name="connsiteY3" fmla="*/ 2941085 h 2993840"/>
              <a:gd name="connsiteX4" fmla="*/ 46 w 1749822"/>
              <a:gd name="connsiteY4" fmla="*/ 793733 h 2993840"/>
              <a:gd name="connsiteX0" fmla="*/ 46 w 1749822"/>
              <a:gd name="connsiteY0" fmla="*/ 793733 h 2993840"/>
              <a:gd name="connsiteX1" fmla="*/ 368976 w 1749822"/>
              <a:gd name="connsiteY1" fmla="*/ 2665375 h 2993840"/>
              <a:gd name="connsiteX2" fmla="*/ 96443 w 1749822"/>
              <a:gd name="connsiteY2" fmla="*/ 2963028 h 2993840"/>
              <a:gd name="connsiteX3" fmla="*/ 1457 w 1749822"/>
              <a:gd name="connsiteY3" fmla="*/ 2941085 h 2993840"/>
              <a:gd name="connsiteX4" fmla="*/ 46 w 1749822"/>
              <a:gd name="connsiteY4" fmla="*/ 793733 h 2993840"/>
              <a:gd name="connsiteX0" fmla="*/ 46 w 404090"/>
              <a:gd name="connsiteY0" fmla="*/ 516228 h 2716335"/>
              <a:gd name="connsiteX1" fmla="*/ 368976 w 404090"/>
              <a:gd name="connsiteY1" fmla="*/ 2387870 h 2716335"/>
              <a:gd name="connsiteX2" fmla="*/ 96443 w 404090"/>
              <a:gd name="connsiteY2" fmla="*/ 2685523 h 2716335"/>
              <a:gd name="connsiteX3" fmla="*/ 1457 w 404090"/>
              <a:gd name="connsiteY3" fmla="*/ 2663580 h 2716335"/>
              <a:gd name="connsiteX4" fmla="*/ 46 w 404090"/>
              <a:gd name="connsiteY4" fmla="*/ 516228 h 2716335"/>
              <a:gd name="connsiteX0" fmla="*/ 777284 w 2211803"/>
              <a:gd name="connsiteY0" fmla="*/ 744448 h 3507127"/>
              <a:gd name="connsiteX1" fmla="*/ 1146214 w 2211803"/>
              <a:gd name="connsiteY1" fmla="*/ 2616090 h 3507127"/>
              <a:gd name="connsiteX2" fmla="*/ 873681 w 2211803"/>
              <a:gd name="connsiteY2" fmla="*/ 2913743 h 3507127"/>
              <a:gd name="connsiteX3" fmla="*/ 778695 w 2211803"/>
              <a:gd name="connsiteY3" fmla="*/ 2891800 h 3507127"/>
              <a:gd name="connsiteX4" fmla="*/ 777284 w 2211803"/>
              <a:gd name="connsiteY4" fmla="*/ 744448 h 3507127"/>
              <a:gd name="connsiteX0" fmla="*/ 1076399 w 2811144"/>
              <a:gd name="connsiteY0" fmla="*/ 804551 h 3708291"/>
              <a:gd name="connsiteX1" fmla="*/ 1445329 w 2811144"/>
              <a:gd name="connsiteY1" fmla="*/ 2676193 h 3708291"/>
              <a:gd name="connsiteX2" fmla="*/ 1172796 w 2811144"/>
              <a:gd name="connsiteY2" fmla="*/ 2973846 h 3708291"/>
              <a:gd name="connsiteX3" fmla="*/ 1077810 w 2811144"/>
              <a:gd name="connsiteY3" fmla="*/ 2951903 h 3708291"/>
              <a:gd name="connsiteX4" fmla="*/ 1076399 w 2811144"/>
              <a:gd name="connsiteY4" fmla="*/ 804551 h 3708291"/>
              <a:gd name="connsiteX0" fmla="*/ 47 w 399202"/>
              <a:gd name="connsiteY0" fmla="*/ 512681 h 2712788"/>
              <a:gd name="connsiteX1" fmla="*/ 368977 w 399202"/>
              <a:gd name="connsiteY1" fmla="*/ 2384323 h 2712788"/>
              <a:gd name="connsiteX2" fmla="*/ 96444 w 399202"/>
              <a:gd name="connsiteY2" fmla="*/ 2681976 h 2712788"/>
              <a:gd name="connsiteX3" fmla="*/ 1458 w 399202"/>
              <a:gd name="connsiteY3" fmla="*/ 2660033 h 2712788"/>
              <a:gd name="connsiteX4" fmla="*/ 47 w 399202"/>
              <a:gd name="connsiteY4" fmla="*/ 512681 h 2712788"/>
              <a:gd name="connsiteX0" fmla="*/ 47 w 544902"/>
              <a:gd name="connsiteY0" fmla="*/ 553542 h 2753649"/>
              <a:gd name="connsiteX1" fmla="*/ 368977 w 544902"/>
              <a:gd name="connsiteY1" fmla="*/ 2425184 h 2753649"/>
              <a:gd name="connsiteX2" fmla="*/ 96444 w 544902"/>
              <a:gd name="connsiteY2" fmla="*/ 2722837 h 2753649"/>
              <a:gd name="connsiteX3" fmla="*/ 1458 w 544902"/>
              <a:gd name="connsiteY3" fmla="*/ 2700894 h 2753649"/>
              <a:gd name="connsiteX4" fmla="*/ 47 w 544902"/>
              <a:gd name="connsiteY4" fmla="*/ 553542 h 2753649"/>
              <a:gd name="connsiteX0" fmla="*/ 736083 w 2129194"/>
              <a:gd name="connsiteY0" fmla="*/ 737259 h 3482022"/>
              <a:gd name="connsiteX1" fmla="*/ 1105013 w 2129194"/>
              <a:gd name="connsiteY1" fmla="*/ 2608901 h 3482022"/>
              <a:gd name="connsiteX2" fmla="*/ 832480 w 2129194"/>
              <a:gd name="connsiteY2" fmla="*/ 2906554 h 3482022"/>
              <a:gd name="connsiteX3" fmla="*/ 737494 w 2129194"/>
              <a:gd name="connsiteY3" fmla="*/ 2884611 h 3482022"/>
              <a:gd name="connsiteX4" fmla="*/ 736083 w 2129194"/>
              <a:gd name="connsiteY4" fmla="*/ 737259 h 3482022"/>
              <a:gd name="connsiteX0" fmla="*/ 47 w 511420"/>
              <a:gd name="connsiteY0" fmla="*/ 531224 h 2731331"/>
              <a:gd name="connsiteX1" fmla="*/ 368977 w 511420"/>
              <a:gd name="connsiteY1" fmla="*/ 2402866 h 2731331"/>
              <a:gd name="connsiteX2" fmla="*/ 96444 w 511420"/>
              <a:gd name="connsiteY2" fmla="*/ 2700519 h 2731331"/>
              <a:gd name="connsiteX3" fmla="*/ 1458 w 511420"/>
              <a:gd name="connsiteY3" fmla="*/ 2678576 h 2731331"/>
              <a:gd name="connsiteX4" fmla="*/ 47 w 511420"/>
              <a:gd name="connsiteY4" fmla="*/ 531224 h 2731331"/>
              <a:gd name="connsiteX0" fmla="*/ 47 w 730958"/>
              <a:gd name="connsiteY0" fmla="*/ 555697 h 2755804"/>
              <a:gd name="connsiteX1" fmla="*/ 631066 w 730958"/>
              <a:gd name="connsiteY1" fmla="*/ 2217668 h 2755804"/>
              <a:gd name="connsiteX2" fmla="*/ 96444 w 730958"/>
              <a:gd name="connsiteY2" fmla="*/ 2724992 h 2755804"/>
              <a:gd name="connsiteX3" fmla="*/ 1458 w 730958"/>
              <a:gd name="connsiteY3" fmla="*/ 2703049 h 2755804"/>
              <a:gd name="connsiteX4" fmla="*/ 47 w 730958"/>
              <a:gd name="connsiteY4" fmla="*/ 555697 h 2755804"/>
              <a:gd name="connsiteX0" fmla="*/ 47 w 928515"/>
              <a:gd name="connsiteY0" fmla="*/ 653539 h 2950202"/>
              <a:gd name="connsiteX1" fmla="*/ 631066 w 928515"/>
              <a:gd name="connsiteY1" fmla="*/ 2315510 h 2950202"/>
              <a:gd name="connsiteX2" fmla="*/ 96444 w 928515"/>
              <a:gd name="connsiteY2" fmla="*/ 2822834 h 2950202"/>
              <a:gd name="connsiteX3" fmla="*/ 1458 w 928515"/>
              <a:gd name="connsiteY3" fmla="*/ 2800891 h 2950202"/>
              <a:gd name="connsiteX4" fmla="*/ 47 w 928515"/>
              <a:gd name="connsiteY4" fmla="*/ 653539 h 2950202"/>
              <a:gd name="connsiteX0" fmla="*/ 705076 w 2447495"/>
              <a:gd name="connsiteY0" fmla="*/ 796906 h 3438718"/>
              <a:gd name="connsiteX1" fmla="*/ 1336095 w 2447495"/>
              <a:gd name="connsiteY1" fmla="*/ 2458877 h 3438718"/>
              <a:gd name="connsiteX2" fmla="*/ 801473 w 2447495"/>
              <a:gd name="connsiteY2" fmla="*/ 2966201 h 3438718"/>
              <a:gd name="connsiteX3" fmla="*/ 706487 w 2447495"/>
              <a:gd name="connsiteY3" fmla="*/ 2944258 h 3438718"/>
              <a:gd name="connsiteX4" fmla="*/ 705076 w 2447495"/>
              <a:gd name="connsiteY4" fmla="*/ 796906 h 3438718"/>
              <a:gd name="connsiteX0" fmla="*/ 750894 w 2539724"/>
              <a:gd name="connsiteY0" fmla="*/ 791191 h 3420519"/>
              <a:gd name="connsiteX1" fmla="*/ 1381913 w 2539724"/>
              <a:gd name="connsiteY1" fmla="*/ 2453162 h 3420519"/>
              <a:gd name="connsiteX2" fmla="*/ 847291 w 2539724"/>
              <a:gd name="connsiteY2" fmla="*/ 2960486 h 3420519"/>
              <a:gd name="connsiteX3" fmla="*/ 752305 w 2539724"/>
              <a:gd name="connsiteY3" fmla="*/ 2938543 h 3420519"/>
              <a:gd name="connsiteX4" fmla="*/ 750894 w 2539724"/>
              <a:gd name="connsiteY4" fmla="*/ 791191 h 3420519"/>
              <a:gd name="connsiteX0" fmla="*/ 738161 w 2514098"/>
              <a:gd name="connsiteY0" fmla="*/ 798057 h 3442368"/>
              <a:gd name="connsiteX1" fmla="*/ 1369180 w 2514098"/>
              <a:gd name="connsiteY1" fmla="*/ 2460028 h 3442368"/>
              <a:gd name="connsiteX2" fmla="*/ 834558 w 2514098"/>
              <a:gd name="connsiteY2" fmla="*/ 2967352 h 3442368"/>
              <a:gd name="connsiteX3" fmla="*/ 739572 w 2514098"/>
              <a:gd name="connsiteY3" fmla="*/ 2945409 h 3442368"/>
              <a:gd name="connsiteX4" fmla="*/ 738161 w 2514098"/>
              <a:gd name="connsiteY4" fmla="*/ 798057 h 3442368"/>
              <a:gd name="connsiteX0" fmla="*/ 722887 w 2483353"/>
              <a:gd name="connsiteY0" fmla="*/ 798057 h 3442368"/>
              <a:gd name="connsiteX1" fmla="*/ 1353906 w 2483353"/>
              <a:gd name="connsiteY1" fmla="*/ 2460028 h 3442368"/>
              <a:gd name="connsiteX2" fmla="*/ 819284 w 2483353"/>
              <a:gd name="connsiteY2" fmla="*/ 2967352 h 3442368"/>
              <a:gd name="connsiteX3" fmla="*/ 724298 w 2483353"/>
              <a:gd name="connsiteY3" fmla="*/ 2945409 h 3442368"/>
              <a:gd name="connsiteX4" fmla="*/ 722887 w 2483353"/>
              <a:gd name="connsiteY4" fmla="*/ 798057 h 3442368"/>
              <a:gd name="connsiteX0" fmla="*/ 395918 w 2572118"/>
              <a:gd name="connsiteY0" fmla="*/ 953184 h 3278390"/>
              <a:gd name="connsiteX1" fmla="*/ 1551115 w 2572118"/>
              <a:gd name="connsiteY1" fmla="*/ 2026911 h 3278390"/>
              <a:gd name="connsiteX2" fmla="*/ 492315 w 2572118"/>
              <a:gd name="connsiteY2" fmla="*/ 3122479 h 3278390"/>
              <a:gd name="connsiteX3" fmla="*/ 397329 w 2572118"/>
              <a:gd name="connsiteY3" fmla="*/ 3100536 h 3278390"/>
              <a:gd name="connsiteX4" fmla="*/ 395918 w 2572118"/>
              <a:gd name="connsiteY4" fmla="*/ 953184 h 3278390"/>
              <a:gd name="connsiteX0" fmla="*/ 30230 w 1788185"/>
              <a:gd name="connsiteY0" fmla="*/ 831274 h 3031381"/>
              <a:gd name="connsiteX1" fmla="*/ 1185427 w 1788185"/>
              <a:gd name="connsiteY1" fmla="*/ 1905001 h 3031381"/>
              <a:gd name="connsiteX2" fmla="*/ 126627 w 1788185"/>
              <a:gd name="connsiteY2" fmla="*/ 3000569 h 3031381"/>
              <a:gd name="connsiteX3" fmla="*/ 31641 w 1788185"/>
              <a:gd name="connsiteY3" fmla="*/ 2978626 h 3031381"/>
              <a:gd name="connsiteX4" fmla="*/ 30230 w 1788185"/>
              <a:gd name="connsiteY4" fmla="*/ 831274 h 3031381"/>
              <a:gd name="connsiteX0" fmla="*/ 47 w 1256820"/>
              <a:gd name="connsiteY0" fmla="*/ 681223 h 2881330"/>
              <a:gd name="connsiteX1" fmla="*/ 1155244 w 1256820"/>
              <a:gd name="connsiteY1" fmla="*/ 1754950 h 2881330"/>
              <a:gd name="connsiteX2" fmla="*/ 96444 w 1256820"/>
              <a:gd name="connsiteY2" fmla="*/ 2850518 h 2881330"/>
              <a:gd name="connsiteX3" fmla="*/ 1458 w 1256820"/>
              <a:gd name="connsiteY3" fmla="*/ 2828575 h 2881330"/>
              <a:gd name="connsiteX4" fmla="*/ 47 w 1256820"/>
              <a:gd name="connsiteY4" fmla="*/ 681223 h 2881330"/>
              <a:gd name="connsiteX0" fmla="*/ 47 w 1256820"/>
              <a:gd name="connsiteY0" fmla="*/ 681223 h 2881330"/>
              <a:gd name="connsiteX1" fmla="*/ 1155244 w 1256820"/>
              <a:gd name="connsiteY1" fmla="*/ 1754950 h 2881330"/>
              <a:gd name="connsiteX2" fmla="*/ 96444 w 1256820"/>
              <a:gd name="connsiteY2" fmla="*/ 2850518 h 2881330"/>
              <a:gd name="connsiteX3" fmla="*/ 1458 w 1256820"/>
              <a:gd name="connsiteY3" fmla="*/ 2828575 h 2881330"/>
              <a:gd name="connsiteX4" fmla="*/ 47 w 1256820"/>
              <a:gd name="connsiteY4" fmla="*/ 681223 h 2881330"/>
              <a:gd name="connsiteX0" fmla="*/ 47 w 1760471"/>
              <a:gd name="connsiteY0" fmla="*/ 813967 h 3014074"/>
              <a:gd name="connsiteX1" fmla="*/ 1155244 w 1760471"/>
              <a:gd name="connsiteY1" fmla="*/ 1887694 h 3014074"/>
              <a:gd name="connsiteX2" fmla="*/ 96444 w 1760471"/>
              <a:gd name="connsiteY2" fmla="*/ 2983262 h 3014074"/>
              <a:gd name="connsiteX3" fmla="*/ 1458 w 1760471"/>
              <a:gd name="connsiteY3" fmla="*/ 2961319 h 3014074"/>
              <a:gd name="connsiteX4" fmla="*/ 47 w 1760471"/>
              <a:gd name="connsiteY4" fmla="*/ 813967 h 3014074"/>
              <a:gd name="connsiteX0" fmla="*/ 47 w 1675680"/>
              <a:gd name="connsiteY0" fmla="*/ 865670 h 3065777"/>
              <a:gd name="connsiteX1" fmla="*/ 1155244 w 1675680"/>
              <a:gd name="connsiteY1" fmla="*/ 1939397 h 3065777"/>
              <a:gd name="connsiteX2" fmla="*/ 96444 w 1675680"/>
              <a:gd name="connsiteY2" fmla="*/ 3034965 h 3065777"/>
              <a:gd name="connsiteX3" fmla="*/ 1458 w 1675680"/>
              <a:gd name="connsiteY3" fmla="*/ 3013022 h 3065777"/>
              <a:gd name="connsiteX4" fmla="*/ 47 w 1675680"/>
              <a:gd name="connsiteY4" fmla="*/ 865670 h 3065777"/>
              <a:gd name="connsiteX0" fmla="*/ 47 w 1754273"/>
              <a:gd name="connsiteY0" fmla="*/ 834667 h 3034774"/>
              <a:gd name="connsiteX1" fmla="*/ 1155244 w 1754273"/>
              <a:gd name="connsiteY1" fmla="*/ 1908394 h 3034774"/>
              <a:gd name="connsiteX2" fmla="*/ 96444 w 1754273"/>
              <a:gd name="connsiteY2" fmla="*/ 3003962 h 3034774"/>
              <a:gd name="connsiteX3" fmla="*/ 1458 w 1754273"/>
              <a:gd name="connsiteY3" fmla="*/ 2982019 h 3034774"/>
              <a:gd name="connsiteX4" fmla="*/ 47 w 1754273"/>
              <a:gd name="connsiteY4" fmla="*/ 834667 h 3034774"/>
              <a:gd name="connsiteX0" fmla="*/ 47 w 1712428"/>
              <a:gd name="connsiteY0" fmla="*/ 860399 h 3060506"/>
              <a:gd name="connsiteX1" fmla="*/ 1155244 w 1712428"/>
              <a:gd name="connsiteY1" fmla="*/ 1934126 h 3060506"/>
              <a:gd name="connsiteX2" fmla="*/ 96444 w 1712428"/>
              <a:gd name="connsiteY2" fmla="*/ 3029694 h 3060506"/>
              <a:gd name="connsiteX3" fmla="*/ 1458 w 1712428"/>
              <a:gd name="connsiteY3" fmla="*/ 3007751 h 3060506"/>
              <a:gd name="connsiteX4" fmla="*/ 47 w 1712428"/>
              <a:gd name="connsiteY4" fmla="*/ 860399 h 3060506"/>
              <a:gd name="connsiteX0" fmla="*/ 47 w 1749340"/>
              <a:gd name="connsiteY0" fmla="*/ 813600 h 3013707"/>
              <a:gd name="connsiteX1" fmla="*/ 1155244 w 1749340"/>
              <a:gd name="connsiteY1" fmla="*/ 1887327 h 3013707"/>
              <a:gd name="connsiteX2" fmla="*/ 96444 w 1749340"/>
              <a:gd name="connsiteY2" fmla="*/ 2982895 h 3013707"/>
              <a:gd name="connsiteX3" fmla="*/ 1458 w 1749340"/>
              <a:gd name="connsiteY3" fmla="*/ 2960952 h 3013707"/>
              <a:gd name="connsiteX4" fmla="*/ 47 w 1749340"/>
              <a:gd name="connsiteY4" fmla="*/ 813600 h 3013707"/>
              <a:gd name="connsiteX0" fmla="*/ 47 w 2123694"/>
              <a:gd name="connsiteY0" fmla="*/ 939789 h 3139896"/>
              <a:gd name="connsiteX1" fmla="*/ 1592060 w 2123694"/>
              <a:gd name="connsiteY1" fmla="*/ 1553404 h 3139896"/>
              <a:gd name="connsiteX2" fmla="*/ 96444 w 2123694"/>
              <a:gd name="connsiteY2" fmla="*/ 3109084 h 3139896"/>
              <a:gd name="connsiteX3" fmla="*/ 1458 w 2123694"/>
              <a:gd name="connsiteY3" fmla="*/ 3087141 h 3139896"/>
              <a:gd name="connsiteX4" fmla="*/ 47 w 2123694"/>
              <a:gd name="connsiteY4" fmla="*/ 939789 h 3139896"/>
              <a:gd name="connsiteX0" fmla="*/ 47 w 1761213"/>
              <a:gd name="connsiteY0" fmla="*/ 891556 h 3091663"/>
              <a:gd name="connsiteX1" fmla="*/ 1592060 w 1761213"/>
              <a:gd name="connsiteY1" fmla="*/ 1505171 h 3091663"/>
              <a:gd name="connsiteX2" fmla="*/ 96444 w 1761213"/>
              <a:gd name="connsiteY2" fmla="*/ 3060851 h 3091663"/>
              <a:gd name="connsiteX3" fmla="*/ 1458 w 1761213"/>
              <a:gd name="connsiteY3" fmla="*/ 3038908 h 3091663"/>
              <a:gd name="connsiteX4" fmla="*/ 47 w 1761213"/>
              <a:gd name="connsiteY4" fmla="*/ 891556 h 3091663"/>
              <a:gd name="connsiteX0" fmla="*/ 47 w 1765403"/>
              <a:gd name="connsiteY0" fmla="*/ 808980 h 3009087"/>
              <a:gd name="connsiteX1" fmla="*/ 1592060 w 1765403"/>
              <a:gd name="connsiteY1" fmla="*/ 1422595 h 3009087"/>
              <a:gd name="connsiteX2" fmla="*/ 96444 w 1765403"/>
              <a:gd name="connsiteY2" fmla="*/ 2978275 h 3009087"/>
              <a:gd name="connsiteX3" fmla="*/ 1458 w 1765403"/>
              <a:gd name="connsiteY3" fmla="*/ 2956332 h 3009087"/>
              <a:gd name="connsiteX4" fmla="*/ 47 w 1765403"/>
              <a:gd name="connsiteY4" fmla="*/ 808980 h 3009087"/>
              <a:gd name="connsiteX0" fmla="*/ 47 w 1814671"/>
              <a:gd name="connsiteY0" fmla="*/ 781904 h 2982011"/>
              <a:gd name="connsiteX1" fmla="*/ 1592060 w 1814671"/>
              <a:gd name="connsiteY1" fmla="*/ 1395519 h 2982011"/>
              <a:gd name="connsiteX2" fmla="*/ 96444 w 1814671"/>
              <a:gd name="connsiteY2" fmla="*/ 2951199 h 2982011"/>
              <a:gd name="connsiteX3" fmla="*/ 1458 w 1814671"/>
              <a:gd name="connsiteY3" fmla="*/ 2929256 h 2982011"/>
              <a:gd name="connsiteX4" fmla="*/ 47 w 1814671"/>
              <a:gd name="connsiteY4" fmla="*/ 781904 h 2982011"/>
              <a:gd name="connsiteX0" fmla="*/ 47 w 1669744"/>
              <a:gd name="connsiteY0" fmla="*/ 678598 h 2878705"/>
              <a:gd name="connsiteX1" fmla="*/ 1304433 w 1669744"/>
              <a:gd name="connsiteY1" fmla="*/ 20356 h 2878705"/>
              <a:gd name="connsiteX2" fmla="*/ 1592060 w 1669744"/>
              <a:gd name="connsiteY2" fmla="*/ 1292213 h 2878705"/>
              <a:gd name="connsiteX3" fmla="*/ 96444 w 1669744"/>
              <a:gd name="connsiteY3" fmla="*/ 2847893 h 2878705"/>
              <a:gd name="connsiteX4" fmla="*/ 1458 w 1669744"/>
              <a:gd name="connsiteY4" fmla="*/ 2825950 h 2878705"/>
              <a:gd name="connsiteX5" fmla="*/ 47 w 1669744"/>
              <a:gd name="connsiteY5" fmla="*/ 678598 h 2878705"/>
              <a:gd name="connsiteX0" fmla="*/ 47 w 1669744"/>
              <a:gd name="connsiteY0" fmla="*/ 797492 h 2997599"/>
              <a:gd name="connsiteX1" fmla="*/ 1304433 w 1669744"/>
              <a:gd name="connsiteY1" fmla="*/ 139250 h 2997599"/>
              <a:gd name="connsiteX2" fmla="*/ 1592060 w 1669744"/>
              <a:gd name="connsiteY2" fmla="*/ 1411107 h 2997599"/>
              <a:gd name="connsiteX3" fmla="*/ 96444 w 1669744"/>
              <a:gd name="connsiteY3" fmla="*/ 2966787 h 2997599"/>
              <a:gd name="connsiteX4" fmla="*/ 1458 w 1669744"/>
              <a:gd name="connsiteY4" fmla="*/ 2944844 h 2997599"/>
              <a:gd name="connsiteX5" fmla="*/ 47 w 1669744"/>
              <a:gd name="connsiteY5" fmla="*/ 797492 h 2997599"/>
              <a:gd name="connsiteX0" fmla="*/ 47 w 1669744"/>
              <a:gd name="connsiteY0" fmla="*/ 796759 h 2996866"/>
              <a:gd name="connsiteX1" fmla="*/ 1304433 w 1669744"/>
              <a:gd name="connsiteY1" fmla="*/ 138517 h 2996866"/>
              <a:gd name="connsiteX2" fmla="*/ 1592060 w 1669744"/>
              <a:gd name="connsiteY2" fmla="*/ 1410374 h 2996866"/>
              <a:gd name="connsiteX3" fmla="*/ 96444 w 1669744"/>
              <a:gd name="connsiteY3" fmla="*/ 2966054 h 2996866"/>
              <a:gd name="connsiteX4" fmla="*/ 1458 w 1669744"/>
              <a:gd name="connsiteY4" fmla="*/ 2944111 h 2996866"/>
              <a:gd name="connsiteX5" fmla="*/ 47 w 1669744"/>
              <a:gd name="connsiteY5" fmla="*/ 796759 h 2996866"/>
              <a:gd name="connsiteX0" fmla="*/ 47 w 1674254"/>
              <a:gd name="connsiteY0" fmla="*/ 816902 h 3017009"/>
              <a:gd name="connsiteX1" fmla="*/ 1321905 w 1674254"/>
              <a:gd name="connsiteY1" fmla="*/ 135363 h 3017009"/>
              <a:gd name="connsiteX2" fmla="*/ 1592060 w 1674254"/>
              <a:gd name="connsiteY2" fmla="*/ 1430517 h 3017009"/>
              <a:gd name="connsiteX3" fmla="*/ 96444 w 1674254"/>
              <a:gd name="connsiteY3" fmla="*/ 2986197 h 3017009"/>
              <a:gd name="connsiteX4" fmla="*/ 1458 w 1674254"/>
              <a:gd name="connsiteY4" fmla="*/ 2964254 h 3017009"/>
              <a:gd name="connsiteX5" fmla="*/ 47 w 1674254"/>
              <a:gd name="connsiteY5" fmla="*/ 816902 h 3017009"/>
              <a:gd name="connsiteX0" fmla="*/ 47 w 1674254"/>
              <a:gd name="connsiteY0" fmla="*/ 795700 h 2995807"/>
              <a:gd name="connsiteX1" fmla="*/ 1321905 w 1674254"/>
              <a:gd name="connsiteY1" fmla="*/ 114161 h 2995807"/>
              <a:gd name="connsiteX2" fmla="*/ 1592060 w 1674254"/>
              <a:gd name="connsiteY2" fmla="*/ 1409315 h 2995807"/>
              <a:gd name="connsiteX3" fmla="*/ 96444 w 1674254"/>
              <a:gd name="connsiteY3" fmla="*/ 2964995 h 2995807"/>
              <a:gd name="connsiteX4" fmla="*/ 1458 w 1674254"/>
              <a:gd name="connsiteY4" fmla="*/ 2943052 h 2995807"/>
              <a:gd name="connsiteX5" fmla="*/ 47 w 1674254"/>
              <a:gd name="connsiteY5" fmla="*/ 795700 h 2995807"/>
              <a:gd name="connsiteX0" fmla="*/ 47 w 1689928"/>
              <a:gd name="connsiteY0" fmla="*/ 795700 h 2995807"/>
              <a:gd name="connsiteX1" fmla="*/ 1321905 w 1689928"/>
              <a:gd name="connsiteY1" fmla="*/ 114161 h 2995807"/>
              <a:gd name="connsiteX2" fmla="*/ 1592060 w 1689928"/>
              <a:gd name="connsiteY2" fmla="*/ 1409315 h 2995807"/>
              <a:gd name="connsiteX3" fmla="*/ 96444 w 1689928"/>
              <a:gd name="connsiteY3" fmla="*/ 2964995 h 2995807"/>
              <a:gd name="connsiteX4" fmla="*/ 1458 w 1689928"/>
              <a:gd name="connsiteY4" fmla="*/ 2943052 h 2995807"/>
              <a:gd name="connsiteX5" fmla="*/ 47 w 1689928"/>
              <a:gd name="connsiteY5" fmla="*/ 795700 h 2995807"/>
              <a:gd name="connsiteX0" fmla="*/ 47 w 1746860"/>
              <a:gd name="connsiteY0" fmla="*/ 795700 h 2995807"/>
              <a:gd name="connsiteX1" fmla="*/ 1321905 w 1746860"/>
              <a:gd name="connsiteY1" fmla="*/ 114161 h 2995807"/>
              <a:gd name="connsiteX2" fmla="*/ 1592060 w 1746860"/>
              <a:gd name="connsiteY2" fmla="*/ 1409315 h 2995807"/>
              <a:gd name="connsiteX3" fmla="*/ 96444 w 1746860"/>
              <a:gd name="connsiteY3" fmla="*/ 2964995 h 2995807"/>
              <a:gd name="connsiteX4" fmla="*/ 1458 w 1746860"/>
              <a:gd name="connsiteY4" fmla="*/ 2943052 h 2995807"/>
              <a:gd name="connsiteX5" fmla="*/ 47 w 1746860"/>
              <a:gd name="connsiteY5" fmla="*/ 795700 h 2995807"/>
              <a:gd name="connsiteX0" fmla="*/ 47 w 1817082"/>
              <a:gd name="connsiteY0" fmla="*/ 795700 h 2995807"/>
              <a:gd name="connsiteX1" fmla="*/ 1321905 w 1817082"/>
              <a:gd name="connsiteY1" fmla="*/ 114161 h 2995807"/>
              <a:gd name="connsiteX2" fmla="*/ 1592060 w 1817082"/>
              <a:gd name="connsiteY2" fmla="*/ 1409315 h 2995807"/>
              <a:gd name="connsiteX3" fmla="*/ 96444 w 1817082"/>
              <a:gd name="connsiteY3" fmla="*/ 2964995 h 2995807"/>
              <a:gd name="connsiteX4" fmla="*/ 1458 w 1817082"/>
              <a:gd name="connsiteY4" fmla="*/ 2943052 h 2995807"/>
              <a:gd name="connsiteX5" fmla="*/ 47 w 1817082"/>
              <a:gd name="connsiteY5" fmla="*/ 795700 h 2995807"/>
              <a:gd name="connsiteX0" fmla="*/ 47 w 1765318"/>
              <a:gd name="connsiteY0" fmla="*/ 795700 h 2995807"/>
              <a:gd name="connsiteX1" fmla="*/ 1321905 w 1765318"/>
              <a:gd name="connsiteY1" fmla="*/ 114161 h 2995807"/>
              <a:gd name="connsiteX2" fmla="*/ 1592060 w 1765318"/>
              <a:gd name="connsiteY2" fmla="*/ 1409315 h 2995807"/>
              <a:gd name="connsiteX3" fmla="*/ 96444 w 1765318"/>
              <a:gd name="connsiteY3" fmla="*/ 2964995 h 2995807"/>
              <a:gd name="connsiteX4" fmla="*/ 1458 w 1765318"/>
              <a:gd name="connsiteY4" fmla="*/ 2943052 h 2995807"/>
              <a:gd name="connsiteX5" fmla="*/ 47 w 1765318"/>
              <a:gd name="connsiteY5" fmla="*/ 795700 h 2995807"/>
              <a:gd name="connsiteX0" fmla="*/ 47 w 1773136"/>
              <a:gd name="connsiteY0" fmla="*/ 795700 h 2995807"/>
              <a:gd name="connsiteX1" fmla="*/ 1321905 w 1773136"/>
              <a:gd name="connsiteY1" fmla="*/ 114161 h 2995807"/>
              <a:gd name="connsiteX2" fmla="*/ 1592060 w 1773136"/>
              <a:gd name="connsiteY2" fmla="*/ 1409315 h 2995807"/>
              <a:gd name="connsiteX3" fmla="*/ 96444 w 1773136"/>
              <a:gd name="connsiteY3" fmla="*/ 2964995 h 2995807"/>
              <a:gd name="connsiteX4" fmla="*/ 1458 w 1773136"/>
              <a:gd name="connsiteY4" fmla="*/ 2943052 h 2995807"/>
              <a:gd name="connsiteX5" fmla="*/ 47 w 1773136"/>
              <a:gd name="connsiteY5" fmla="*/ 795700 h 2995807"/>
              <a:gd name="connsiteX0" fmla="*/ 47 w 1812096"/>
              <a:gd name="connsiteY0" fmla="*/ 795700 h 2995807"/>
              <a:gd name="connsiteX1" fmla="*/ 1321905 w 1812096"/>
              <a:gd name="connsiteY1" fmla="*/ 114161 h 2995807"/>
              <a:gd name="connsiteX2" fmla="*/ 1592060 w 1812096"/>
              <a:gd name="connsiteY2" fmla="*/ 1409315 h 2995807"/>
              <a:gd name="connsiteX3" fmla="*/ 96444 w 1812096"/>
              <a:gd name="connsiteY3" fmla="*/ 2964995 h 2995807"/>
              <a:gd name="connsiteX4" fmla="*/ 1458 w 1812096"/>
              <a:gd name="connsiteY4" fmla="*/ 2943052 h 2995807"/>
              <a:gd name="connsiteX5" fmla="*/ 47 w 1812096"/>
              <a:gd name="connsiteY5" fmla="*/ 795700 h 2995807"/>
              <a:gd name="connsiteX0" fmla="*/ 47 w 1759473"/>
              <a:gd name="connsiteY0" fmla="*/ 795700 h 2995807"/>
              <a:gd name="connsiteX1" fmla="*/ 1321905 w 1759473"/>
              <a:gd name="connsiteY1" fmla="*/ 114161 h 2995807"/>
              <a:gd name="connsiteX2" fmla="*/ 1592060 w 1759473"/>
              <a:gd name="connsiteY2" fmla="*/ 1409315 h 2995807"/>
              <a:gd name="connsiteX3" fmla="*/ 96444 w 1759473"/>
              <a:gd name="connsiteY3" fmla="*/ 2964995 h 2995807"/>
              <a:gd name="connsiteX4" fmla="*/ 1458 w 1759473"/>
              <a:gd name="connsiteY4" fmla="*/ 2943052 h 2995807"/>
              <a:gd name="connsiteX5" fmla="*/ 47 w 1759473"/>
              <a:gd name="connsiteY5" fmla="*/ 795700 h 2995807"/>
              <a:gd name="connsiteX0" fmla="*/ 47 w 1747100"/>
              <a:gd name="connsiteY0" fmla="*/ 795700 h 2995807"/>
              <a:gd name="connsiteX1" fmla="*/ 1321905 w 1747100"/>
              <a:gd name="connsiteY1" fmla="*/ 114161 h 2995807"/>
              <a:gd name="connsiteX2" fmla="*/ 1592060 w 1747100"/>
              <a:gd name="connsiteY2" fmla="*/ 1409315 h 2995807"/>
              <a:gd name="connsiteX3" fmla="*/ 96444 w 1747100"/>
              <a:gd name="connsiteY3" fmla="*/ 2964995 h 2995807"/>
              <a:gd name="connsiteX4" fmla="*/ 1458 w 1747100"/>
              <a:gd name="connsiteY4" fmla="*/ 2943052 h 2995807"/>
              <a:gd name="connsiteX5" fmla="*/ 47 w 1747100"/>
              <a:gd name="connsiteY5" fmla="*/ 795700 h 2995807"/>
              <a:gd name="connsiteX0" fmla="*/ 47 w 1747100"/>
              <a:gd name="connsiteY0" fmla="*/ 801068 h 3001175"/>
              <a:gd name="connsiteX1" fmla="*/ 1321905 w 1747100"/>
              <a:gd name="connsiteY1" fmla="*/ 119529 h 3001175"/>
              <a:gd name="connsiteX2" fmla="*/ 1592060 w 1747100"/>
              <a:gd name="connsiteY2" fmla="*/ 1414683 h 3001175"/>
              <a:gd name="connsiteX3" fmla="*/ 96444 w 1747100"/>
              <a:gd name="connsiteY3" fmla="*/ 2970363 h 3001175"/>
              <a:gd name="connsiteX4" fmla="*/ 1458 w 1747100"/>
              <a:gd name="connsiteY4" fmla="*/ 2948420 h 3001175"/>
              <a:gd name="connsiteX5" fmla="*/ 47 w 1747100"/>
              <a:gd name="connsiteY5" fmla="*/ 801068 h 3001175"/>
              <a:gd name="connsiteX0" fmla="*/ 47 w 1747100"/>
              <a:gd name="connsiteY0" fmla="*/ 859428 h 2992860"/>
              <a:gd name="connsiteX1" fmla="*/ 1321905 w 1747100"/>
              <a:gd name="connsiteY1" fmla="*/ 111214 h 2992860"/>
              <a:gd name="connsiteX2" fmla="*/ 1592060 w 1747100"/>
              <a:gd name="connsiteY2" fmla="*/ 1406368 h 2992860"/>
              <a:gd name="connsiteX3" fmla="*/ 96444 w 1747100"/>
              <a:gd name="connsiteY3" fmla="*/ 2962048 h 2992860"/>
              <a:gd name="connsiteX4" fmla="*/ 1458 w 1747100"/>
              <a:gd name="connsiteY4" fmla="*/ 2940105 h 2992860"/>
              <a:gd name="connsiteX5" fmla="*/ 47 w 1747100"/>
              <a:gd name="connsiteY5" fmla="*/ 859428 h 2992860"/>
              <a:gd name="connsiteX0" fmla="*/ 317 w 1747370"/>
              <a:gd name="connsiteY0" fmla="*/ 863993 h 2997425"/>
              <a:gd name="connsiteX1" fmla="*/ 1322175 w 1747370"/>
              <a:gd name="connsiteY1" fmla="*/ 115779 h 2997425"/>
              <a:gd name="connsiteX2" fmla="*/ 1592330 w 1747370"/>
              <a:gd name="connsiteY2" fmla="*/ 1410933 h 2997425"/>
              <a:gd name="connsiteX3" fmla="*/ 96714 w 1747370"/>
              <a:gd name="connsiteY3" fmla="*/ 2966613 h 2997425"/>
              <a:gd name="connsiteX4" fmla="*/ 1728 w 1747370"/>
              <a:gd name="connsiteY4" fmla="*/ 2944670 h 2997425"/>
              <a:gd name="connsiteX5" fmla="*/ 317 w 1747370"/>
              <a:gd name="connsiteY5" fmla="*/ 863993 h 2997425"/>
              <a:gd name="connsiteX0" fmla="*/ 317 w 1758362"/>
              <a:gd name="connsiteY0" fmla="*/ 863993 h 2997425"/>
              <a:gd name="connsiteX1" fmla="*/ 1322175 w 1758362"/>
              <a:gd name="connsiteY1" fmla="*/ 115779 h 2997425"/>
              <a:gd name="connsiteX2" fmla="*/ 1592330 w 1758362"/>
              <a:gd name="connsiteY2" fmla="*/ 1410933 h 2997425"/>
              <a:gd name="connsiteX3" fmla="*/ 96714 w 1758362"/>
              <a:gd name="connsiteY3" fmla="*/ 2966613 h 2997425"/>
              <a:gd name="connsiteX4" fmla="*/ 1728 w 1758362"/>
              <a:gd name="connsiteY4" fmla="*/ 2944670 h 2997425"/>
              <a:gd name="connsiteX5" fmla="*/ 317 w 1758362"/>
              <a:gd name="connsiteY5" fmla="*/ 863993 h 2997425"/>
              <a:gd name="connsiteX0" fmla="*/ 317 w 1753088"/>
              <a:gd name="connsiteY0" fmla="*/ 863993 h 2997425"/>
              <a:gd name="connsiteX1" fmla="*/ 1322175 w 1753088"/>
              <a:gd name="connsiteY1" fmla="*/ 115779 h 2997425"/>
              <a:gd name="connsiteX2" fmla="*/ 1592330 w 1753088"/>
              <a:gd name="connsiteY2" fmla="*/ 1410933 h 2997425"/>
              <a:gd name="connsiteX3" fmla="*/ 96714 w 1753088"/>
              <a:gd name="connsiteY3" fmla="*/ 2966613 h 2997425"/>
              <a:gd name="connsiteX4" fmla="*/ 1728 w 1753088"/>
              <a:gd name="connsiteY4" fmla="*/ 2944670 h 2997425"/>
              <a:gd name="connsiteX5" fmla="*/ 317 w 1753088"/>
              <a:gd name="connsiteY5" fmla="*/ 863993 h 2997425"/>
              <a:gd name="connsiteX0" fmla="*/ 317 w 1756975"/>
              <a:gd name="connsiteY0" fmla="*/ 863993 h 2997425"/>
              <a:gd name="connsiteX1" fmla="*/ 1322175 w 1756975"/>
              <a:gd name="connsiteY1" fmla="*/ 115779 h 2997425"/>
              <a:gd name="connsiteX2" fmla="*/ 1592330 w 1756975"/>
              <a:gd name="connsiteY2" fmla="*/ 1410933 h 2997425"/>
              <a:gd name="connsiteX3" fmla="*/ 96714 w 1756975"/>
              <a:gd name="connsiteY3" fmla="*/ 2966613 h 2997425"/>
              <a:gd name="connsiteX4" fmla="*/ 1728 w 1756975"/>
              <a:gd name="connsiteY4" fmla="*/ 2944670 h 2997425"/>
              <a:gd name="connsiteX5" fmla="*/ 317 w 1756975"/>
              <a:gd name="connsiteY5" fmla="*/ 863993 h 2997425"/>
              <a:gd name="connsiteX0" fmla="*/ 317 w 1756975"/>
              <a:gd name="connsiteY0" fmla="*/ 863993 h 3004928"/>
              <a:gd name="connsiteX1" fmla="*/ 1322175 w 1756975"/>
              <a:gd name="connsiteY1" fmla="*/ 115779 h 3004928"/>
              <a:gd name="connsiteX2" fmla="*/ 1592330 w 1756975"/>
              <a:gd name="connsiteY2" fmla="*/ 1410933 h 3004928"/>
              <a:gd name="connsiteX3" fmla="*/ 96714 w 1756975"/>
              <a:gd name="connsiteY3" fmla="*/ 2966613 h 3004928"/>
              <a:gd name="connsiteX4" fmla="*/ 1728 w 1756975"/>
              <a:gd name="connsiteY4" fmla="*/ 2944670 h 3004928"/>
              <a:gd name="connsiteX5" fmla="*/ 317 w 1756975"/>
              <a:gd name="connsiteY5" fmla="*/ 863993 h 3004928"/>
              <a:gd name="connsiteX0" fmla="*/ 317 w 1756975"/>
              <a:gd name="connsiteY0" fmla="*/ 863993 h 3009727"/>
              <a:gd name="connsiteX1" fmla="*/ 1322175 w 1756975"/>
              <a:gd name="connsiteY1" fmla="*/ 115779 h 3009727"/>
              <a:gd name="connsiteX2" fmla="*/ 1592330 w 1756975"/>
              <a:gd name="connsiteY2" fmla="*/ 1410933 h 3009727"/>
              <a:gd name="connsiteX3" fmla="*/ 96714 w 1756975"/>
              <a:gd name="connsiteY3" fmla="*/ 2966613 h 3009727"/>
              <a:gd name="connsiteX4" fmla="*/ 1728 w 1756975"/>
              <a:gd name="connsiteY4" fmla="*/ 2944670 h 3009727"/>
              <a:gd name="connsiteX5" fmla="*/ 317 w 1756975"/>
              <a:gd name="connsiteY5" fmla="*/ 863993 h 3009727"/>
              <a:gd name="connsiteX0" fmla="*/ 317 w 1756975"/>
              <a:gd name="connsiteY0" fmla="*/ 863993 h 2995855"/>
              <a:gd name="connsiteX1" fmla="*/ 1322175 w 1756975"/>
              <a:gd name="connsiteY1" fmla="*/ 115779 h 2995855"/>
              <a:gd name="connsiteX2" fmla="*/ 1592330 w 1756975"/>
              <a:gd name="connsiteY2" fmla="*/ 1410933 h 2995855"/>
              <a:gd name="connsiteX3" fmla="*/ 96714 w 1756975"/>
              <a:gd name="connsiteY3" fmla="*/ 2966613 h 2995855"/>
              <a:gd name="connsiteX4" fmla="*/ 1728 w 1756975"/>
              <a:gd name="connsiteY4" fmla="*/ 2944670 h 2995855"/>
              <a:gd name="connsiteX5" fmla="*/ 317 w 1756975"/>
              <a:gd name="connsiteY5" fmla="*/ 863993 h 2995855"/>
              <a:gd name="connsiteX0" fmla="*/ 317 w 1756975"/>
              <a:gd name="connsiteY0" fmla="*/ 863993 h 2995855"/>
              <a:gd name="connsiteX1" fmla="*/ 1322175 w 1756975"/>
              <a:gd name="connsiteY1" fmla="*/ 115779 h 2995855"/>
              <a:gd name="connsiteX2" fmla="*/ 1592330 w 1756975"/>
              <a:gd name="connsiteY2" fmla="*/ 1410933 h 2995855"/>
              <a:gd name="connsiteX3" fmla="*/ 96714 w 1756975"/>
              <a:gd name="connsiteY3" fmla="*/ 2966613 h 2995855"/>
              <a:gd name="connsiteX4" fmla="*/ 1728 w 1756975"/>
              <a:gd name="connsiteY4" fmla="*/ 2944670 h 2995855"/>
              <a:gd name="connsiteX5" fmla="*/ 317 w 1756975"/>
              <a:gd name="connsiteY5" fmla="*/ 863993 h 2995855"/>
              <a:gd name="connsiteX0" fmla="*/ 317 w 1756975"/>
              <a:gd name="connsiteY0" fmla="*/ 861441 h 2993303"/>
              <a:gd name="connsiteX1" fmla="*/ 1322175 w 1756975"/>
              <a:gd name="connsiteY1" fmla="*/ 113227 h 2993303"/>
              <a:gd name="connsiteX2" fmla="*/ 1592330 w 1756975"/>
              <a:gd name="connsiteY2" fmla="*/ 1408381 h 2993303"/>
              <a:gd name="connsiteX3" fmla="*/ 96714 w 1756975"/>
              <a:gd name="connsiteY3" fmla="*/ 2964061 h 2993303"/>
              <a:gd name="connsiteX4" fmla="*/ 1728 w 1756975"/>
              <a:gd name="connsiteY4" fmla="*/ 2942118 h 2993303"/>
              <a:gd name="connsiteX5" fmla="*/ 317 w 1756975"/>
              <a:gd name="connsiteY5" fmla="*/ 861441 h 2993303"/>
              <a:gd name="connsiteX0" fmla="*/ 317 w 1749504"/>
              <a:gd name="connsiteY0" fmla="*/ 861441 h 2993303"/>
              <a:gd name="connsiteX1" fmla="*/ 1322175 w 1749504"/>
              <a:gd name="connsiteY1" fmla="*/ 113227 h 2993303"/>
              <a:gd name="connsiteX2" fmla="*/ 1579626 w 1749504"/>
              <a:gd name="connsiteY2" fmla="*/ 1430606 h 2993303"/>
              <a:gd name="connsiteX3" fmla="*/ 96714 w 1749504"/>
              <a:gd name="connsiteY3" fmla="*/ 2964061 h 2993303"/>
              <a:gd name="connsiteX4" fmla="*/ 1728 w 1749504"/>
              <a:gd name="connsiteY4" fmla="*/ 2942118 h 2993303"/>
              <a:gd name="connsiteX5" fmla="*/ 317 w 1749504"/>
              <a:gd name="connsiteY5" fmla="*/ 861441 h 2993303"/>
              <a:gd name="connsiteX0" fmla="*/ 317 w 1751386"/>
              <a:gd name="connsiteY0" fmla="*/ 861441 h 2993303"/>
              <a:gd name="connsiteX1" fmla="*/ 1322175 w 1751386"/>
              <a:gd name="connsiteY1" fmla="*/ 113227 h 2993303"/>
              <a:gd name="connsiteX2" fmla="*/ 1579626 w 1751386"/>
              <a:gd name="connsiteY2" fmla="*/ 1430606 h 2993303"/>
              <a:gd name="connsiteX3" fmla="*/ 96714 w 1751386"/>
              <a:gd name="connsiteY3" fmla="*/ 2964061 h 2993303"/>
              <a:gd name="connsiteX4" fmla="*/ 1728 w 1751386"/>
              <a:gd name="connsiteY4" fmla="*/ 2942118 h 2993303"/>
              <a:gd name="connsiteX5" fmla="*/ 317 w 1751386"/>
              <a:gd name="connsiteY5" fmla="*/ 861441 h 2993303"/>
              <a:gd name="connsiteX0" fmla="*/ 317 w 1754160"/>
              <a:gd name="connsiteY0" fmla="*/ 861441 h 2993303"/>
              <a:gd name="connsiteX1" fmla="*/ 1322175 w 1754160"/>
              <a:gd name="connsiteY1" fmla="*/ 113227 h 2993303"/>
              <a:gd name="connsiteX2" fmla="*/ 1584360 w 1754160"/>
              <a:gd name="connsiteY2" fmla="*/ 1416408 h 2993303"/>
              <a:gd name="connsiteX3" fmla="*/ 96714 w 1754160"/>
              <a:gd name="connsiteY3" fmla="*/ 2964061 h 2993303"/>
              <a:gd name="connsiteX4" fmla="*/ 1728 w 1754160"/>
              <a:gd name="connsiteY4" fmla="*/ 2942118 h 2993303"/>
              <a:gd name="connsiteX5" fmla="*/ 317 w 1754160"/>
              <a:gd name="connsiteY5" fmla="*/ 861441 h 2993303"/>
              <a:gd name="connsiteX0" fmla="*/ 97212 w 1840728"/>
              <a:gd name="connsiteY0" fmla="*/ 851039 h 2982901"/>
              <a:gd name="connsiteX1" fmla="*/ 1414336 w 1840728"/>
              <a:gd name="connsiteY1" fmla="*/ 105192 h 2982901"/>
              <a:gd name="connsiteX2" fmla="*/ 1681255 w 1840728"/>
              <a:gd name="connsiteY2" fmla="*/ 1406006 h 2982901"/>
              <a:gd name="connsiteX3" fmla="*/ 193609 w 1840728"/>
              <a:gd name="connsiteY3" fmla="*/ 2953659 h 2982901"/>
              <a:gd name="connsiteX4" fmla="*/ 98623 w 1840728"/>
              <a:gd name="connsiteY4" fmla="*/ 2931716 h 2982901"/>
              <a:gd name="connsiteX5" fmla="*/ 97212 w 1840728"/>
              <a:gd name="connsiteY5" fmla="*/ 851039 h 2982901"/>
              <a:gd name="connsiteX0" fmla="*/ 97212 w 1850529"/>
              <a:gd name="connsiteY0" fmla="*/ 851039 h 2982901"/>
              <a:gd name="connsiteX1" fmla="*/ 1414336 w 1850529"/>
              <a:gd name="connsiteY1" fmla="*/ 105192 h 2982901"/>
              <a:gd name="connsiteX2" fmla="*/ 1681255 w 1850529"/>
              <a:gd name="connsiteY2" fmla="*/ 1406006 h 2982901"/>
              <a:gd name="connsiteX3" fmla="*/ 193609 w 1850529"/>
              <a:gd name="connsiteY3" fmla="*/ 2953659 h 2982901"/>
              <a:gd name="connsiteX4" fmla="*/ 98623 w 1850529"/>
              <a:gd name="connsiteY4" fmla="*/ 2931716 h 2982901"/>
              <a:gd name="connsiteX5" fmla="*/ 97212 w 1850529"/>
              <a:gd name="connsiteY5" fmla="*/ 851039 h 2982901"/>
              <a:gd name="connsiteX0" fmla="*/ 13 w 1753330"/>
              <a:gd name="connsiteY0" fmla="*/ 858319 h 2990181"/>
              <a:gd name="connsiteX1" fmla="*/ 1317137 w 1753330"/>
              <a:gd name="connsiteY1" fmla="*/ 112472 h 2990181"/>
              <a:gd name="connsiteX2" fmla="*/ 1584056 w 1753330"/>
              <a:gd name="connsiteY2" fmla="*/ 1413286 h 2990181"/>
              <a:gd name="connsiteX3" fmla="*/ 96410 w 1753330"/>
              <a:gd name="connsiteY3" fmla="*/ 2960939 h 2990181"/>
              <a:gd name="connsiteX4" fmla="*/ 1424 w 1753330"/>
              <a:gd name="connsiteY4" fmla="*/ 2938996 h 2990181"/>
              <a:gd name="connsiteX5" fmla="*/ 13 w 1753330"/>
              <a:gd name="connsiteY5" fmla="*/ 858319 h 2990181"/>
              <a:gd name="connsiteX0" fmla="*/ 13 w 1760528"/>
              <a:gd name="connsiteY0" fmla="*/ 858319 h 2990181"/>
              <a:gd name="connsiteX1" fmla="*/ 1317137 w 1760528"/>
              <a:gd name="connsiteY1" fmla="*/ 112472 h 2990181"/>
              <a:gd name="connsiteX2" fmla="*/ 1584056 w 1760528"/>
              <a:gd name="connsiteY2" fmla="*/ 1413286 h 2990181"/>
              <a:gd name="connsiteX3" fmla="*/ 96410 w 1760528"/>
              <a:gd name="connsiteY3" fmla="*/ 2960939 h 2990181"/>
              <a:gd name="connsiteX4" fmla="*/ 1424 w 1760528"/>
              <a:gd name="connsiteY4" fmla="*/ 2938996 h 2990181"/>
              <a:gd name="connsiteX5" fmla="*/ 13 w 1760528"/>
              <a:gd name="connsiteY5" fmla="*/ 858319 h 2990181"/>
              <a:gd name="connsiteX0" fmla="*/ 13 w 1751658"/>
              <a:gd name="connsiteY0" fmla="*/ 858319 h 2990181"/>
              <a:gd name="connsiteX1" fmla="*/ 1317137 w 1751658"/>
              <a:gd name="connsiteY1" fmla="*/ 112472 h 2990181"/>
              <a:gd name="connsiteX2" fmla="*/ 1584056 w 1751658"/>
              <a:gd name="connsiteY2" fmla="*/ 1413286 h 2990181"/>
              <a:gd name="connsiteX3" fmla="*/ 96410 w 1751658"/>
              <a:gd name="connsiteY3" fmla="*/ 2960939 h 2990181"/>
              <a:gd name="connsiteX4" fmla="*/ 1424 w 1751658"/>
              <a:gd name="connsiteY4" fmla="*/ 2938996 h 2990181"/>
              <a:gd name="connsiteX5" fmla="*/ 13 w 1751658"/>
              <a:gd name="connsiteY5" fmla="*/ 858319 h 2990181"/>
              <a:gd name="connsiteX0" fmla="*/ 13 w 1759584"/>
              <a:gd name="connsiteY0" fmla="*/ 858319 h 2990181"/>
              <a:gd name="connsiteX1" fmla="*/ 1317137 w 1759584"/>
              <a:gd name="connsiteY1" fmla="*/ 112472 h 2990181"/>
              <a:gd name="connsiteX2" fmla="*/ 1584056 w 1759584"/>
              <a:gd name="connsiteY2" fmla="*/ 1413286 h 2990181"/>
              <a:gd name="connsiteX3" fmla="*/ 96410 w 1759584"/>
              <a:gd name="connsiteY3" fmla="*/ 2960939 h 2990181"/>
              <a:gd name="connsiteX4" fmla="*/ 1424 w 1759584"/>
              <a:gd name="connsiteY4" fmla="*/ 2938996 h 2990181"/>
              <a:gd name="connsiteX5" fmla="*/ 13 w 1759584"/>
              <a:gd name="connsiteY5" fmla="*/ 858319 h 2990181"/>
              <a:gd name="connsiteX0" fmla="*/ 13 w 1714478"/>
              <a:gd name="connsiteY0" fmla="*/ 858319 h 2990181"/>
              <a:gd name="connsiteX1" fmla="*/ 1317137 w 1714478"/>
              <a:gd name="connsiteY1" fmla="*/ 112472 h 2990181"/>
              <a:gd name="connsiteX2" fmla="*/ 1503572 w 1714478"/>
              <a:gd name="connsiteY2" fmla="*/ 1515045 h 2990181"/>
              <a:gd name="connsiteX3" fmla="*/ 96410 w 1714478"/>
              <a:gd name="connsiteY3" fmla="*/ 2960939 h 2990181"/>
              <a:gd name="connsiteX4" fmla="*/ 1424 w 1714478"/>
              <a:gd name="connsiteY4" fmla="*/ 2938996 h 2990181"/>
              <a:gd name="connsiteX5" fmla="*/ 13 w 1714478"/>
              <a:gd name="connsiteY5" fmla="*/ 858319 h 2990181"/>
              <a:gd name="connsiteX0" fmla="*/ 13 w 1755639"/>
              <a:gd name="connsiteY0" fmla="*/ 858319 h 2990181"/>
              <a:gd name="connsiteX1" fmla="*/ 1317137 w 1755639"/>
              <a:gd name="connsiteY1" fmla="*/ 112472 h 2990181"/>
              <a:gd name="connsiteX2" fmla="*/ 1503572 w 1755639"/>
              <a:gd name="connsiteY2" fmla="*/ 1515045 h 2990181"/>
              <a:gd name="connsiteX3" fmla="*/ 96410 w 1755639"/>
              <a:gd name="connsiteY3" fmla="*/ 2960939 h 2990181"/>
              <a:gd name="connsiteX4" fmla="*/ 1424 w 1755639"/>
              <a:gd name="connsiteY4" fmla="*/ 2938996 h 2990181"/>
              <a:gd name="connsiteX5" fmla="*/ 13 w 1755639"/>
              <a:gd name="connsiteY5" fmla="*/ 858319 h 2990181"/>
              <a:gd name="connsiteX0" fmla="*/ 13 w 1748972"/>
              <a:gd name="connsiteY0" fmla="*/ 858319 h 2990181"/>
              <a:gd name="connsiteX1" fmla="*/ 1317137 w 1748972"/>
              <a:gd name="connsiteY1" fmla="*/ 112472 h 2990181"/>
              <a:gd name="connsiteX2" fmla="*/ 1503572 w 1748972"/>
              <a:gd name="connsiteY2" fmla="*/ 1515045 h 2990181"/>
              <a:gd name="connsiteX3" fmla="*/ 96410 w 1748972"/>
              <a:gd name="connsiteY3" fmla="*/ 2960939 h 2990181"/>
              <a:gd name="connsiteX4" fmla="*/ 1424 w 1748972"/>
              <a:gd name="connsiteY4" fmla="*/ 2938996 h 2990181"/>
              <a:gd name="connsiteX5" fmla="*/ 13 w 1748972"/>
              <a:gd name="connsiteY5" fmla="*/ 858319 h 2990181"/>
              <a:gd name="connsiteX0" fmla="*/ 13 w 1754684"/>
              <a:gd name="connsiteY0" fmla="*/ 858319 h 2990181"/>
              <a:gd name="connsiteX1" fmla="*/ 1317137 w 1754684"/>
              <a:gd name="connsiteY1" fmla="*/ 112472 h 2990181"/>
              <a:gd name="connsiteX2" fmla="*/ 1503572 w 1754684"/>
              <a:gd name="connsiteY2" fmla="*/ 1515045 h 2990181"/>
              <a:gd name="connsiteX3" fmla="*/ 96410 w 1754684"/>
              <a:gd name="connsiteY3" fmla="*/ 2960939 h 2990181"/>
              <a:gd name="connsiteX4" fmla="*/ 1424 w 1754684"/>
              <a:gd name="connsiteY4" fmla="*/ 2938996 h 2990181"/>
              <a:gd name="connsiteX5" fmla="*/ 13 w 1754684"/>
              <a:gd name="connsiteY5" fmla="*/ 858319 h 2990181"/>
              <a:gd name="connsiteX0" fmla="*/ 13 w 1753730"/>
              <a:gd name="connsiteY0" fmla="*/ 858319 h 2990181"/>
              <a:gd name="connsiteX1" fmla="*/ 1317137 w 1753730"/>
              <a:gd name="connsiteY1" fmla="*/ 112472 h 2990181"/>
              <a:gd name="connsiteX2" fmla="*/ 1503572 w 1753730"/>
              <a:gd name="connsiteY2" fmla="*/ 1515045 h 2990181"/>
              <a:gd name="connsiteX3" fmla="*/ 96410 w 1753730"/>
              <a:gd name="connsiteY3" fmla="*/ 2960939 h 2990181"/>
              <a:gd name="connsiteX4" fmla="*/ 1424 w 1753730"/>
              <a:gd name="connsiteY4" fmla="*/ 2938996 h 2990181"/>
              <a:gd name="connsiteX5" fmla="*/ 13 w 1753730"/>
              <a:gd name="connsiteY5" fmla="*/ 858319 h 2990181"/>
              <a:gd name="connsiteX0" fmla="*/ 13 w 1700318"/>
              <a:gd name="connsiteY0" fmla="*/ 858319 h 2991855"/>
              <a:gd name="connsiteX1" fmla="*/ 1317137 w 1700318"/>
              <a:gd name="connsiteY1" fmla="*/ 112472 h 2991855"/>
              <a:gd name="connsiteX2" fmla="*/ 1503572 w 1700318"/>
              <a:gd name="connsiteY2" fmla="*/ 1515045 h 2991855"/>
              <a:gd name="connsiteX3" fmla="*/ 86941 w 1700318"/>
              <a:gd name="connsiteY3" fmla="*/ 2965672 h 2991855"/>
              <a:gd name="connsiteX4" fmla="*/ 1424 w 1700318"/>
              <a:gd name="connsiteY4" fmla="*/ 2938996 h 2991855"/>
              <a:gd name="connsiteX5" fmla="*/ 13 w 1700318"/>
              <a:gd name="connsiteY5" fmla="*/ 858319 h 2991855"/>
              <a:gd name="connsiteX0" fmla="*/ 13 w 1763120"/>
              <a:gd name="connsiteY0" fmla="*/ 858319 h 2991855"/>
              <a:gd name="connsiteX1" fmla="*/ 1317137 w 1763120"/>
              <a:gd name="connsiteY1" fmla="*/ 112472 h 2991855"/>
              <a:gd name="connsiteX2" fmla="*/ 1503572 w 1763120"/>
              <a:gd name="connsiteY2" fmla="*/ 1515045 h 2991855"/>
              <a:gd name="connsiteX3" fmla="*/ 86941 w 1763120"/>
              <a:gd name="connsiteY3" fmla="*/ 2965672 h 2991855"/>
              <a:gd name="connsiteX4" fmla="*/ 1424 w 1763120"/>
              <a:gd name="connsiteY4" fmla="*/ 2938996 h 2991855"/>
              <a:gd name="connsiteX5" fmla="*/ 13 w 1763120"/>
              <a:gd name="connsiteY5" fmla="*/ 858319 h 2991855"/>
              <a:gd name="connsiteX0" fmla="*/ 13 w 1745944"/>
              <a:gd name="connsiteY0" fmla="*/ 858319 h 2991855"/>
              <a:gd name="connsiteX1" fmla="*/ 1317137 w 1745944"/>
              <a:gd name="connsiteY1" fmla="*/ 112472 h 2991855"/>
              <a:gd name="connsiteX2" fmla="*/ 1503572 w 1745944"/>
              <a:gd name="connsiteY2" fmla="*/ 1515045 h 2991855"/>
              <a:gd name="connsiteX3" fmla="*/ 86941 w 1745944"/>
              <a:gd name="connsiteY3" fmla="*/ 2965672 h 2991855"/>
              <a:gd name="connsiteX4" fmla="*/ 1424 w 1745944"/>
              <a:gd name="connsiteY4" fmla="*/ 2938996 h 2991855"/>
              <a:gd name="connsiteX5" fmla="*/ 13 w 1745944"/>
              <a:gd name="connsiteY5" fmla="*/ 858319 h 2991855"/>
              <a:gd name="connsiteX0" fmla="*/ 13 w 1752593"/>
              <a:gd name="connsiteY0" fmla="*/ 858319 h 2991855"/>
              <a:gd name="connsiteX1" fmla="*/ 1317137 w 1752593"/>
              <a:gd name="connsiteY1" fmla="*/ 112472 h 2991855"/>
              <a:gd name="connsiteX2" fmla="*/ 1503572 w 1752593"/>
              <a:gd name="connsiteY2" fmla="*/ 1515045 h 2991855"/>
              <a:gd name="connsiteX3" fmla="*/ 86941 w 1752593"/>
              <a:gd name="connsiteY3" fmla="*/ 2965672 h 2991855"/>
              <a:gd name="connsiteX4" fmla="*/ 1424 w 1752593"/>
              <a:gd name="connsiteY4" fmla="*/ 2938996 h 2991855"/>
              <a:gd name="connsiteX5" fmla="*/ 13 w 1752593"/>
              <a:gd name="connsiteY5" fmla="*/ 858319 h 2991855"/>
              <a:gd name="connsiteX0" fmla="*/ 13 w 1752593"/>
              <a:gd name="connsiteY0" fmla="*/ 858319 h 2984818"/>
              <a:gd name="connsiteX1" fmla="*/ 1317137 w 1752593"/>
              <a:gd name="connsiteY1" fmla="*/ 112472 h 2984818"/>
              <a:gd name="connsiteX2" fmla="*/ 1503572 w 1752593"/>
              <a:gd name="connsiteY2" fmla="*/ 1515045 h 2984818"/>
              <a:gd name="connsiteX3" fmla="*/ 86941 w 1752593"/>
              <a:gd name="connsiteY3" fmla="*/ 2965672 h 2984818"/>
              <a:gd name="connsiteX4" fmla="*/ 1424 w 1752593"/>
              <a:gd name="connsiteY4" fmla="*/ 2938996 h 2984818"/>
              <a:gd name="connsiteX5" fmla="*/ 13 w 1752593"/>
              <a:gd name="connsiteY5" fmla="*/ 858319 h 2984818"/>
              <a:gd name="connsiteX0" fmla="*/ 13 w 1701062"/>
              <a:gd name="connsiteY0" fmla="*/ 858319 h 2994906"/>
              <a:gd name="connsiteX1" fmla="*/ 1317137 w 1701062"/>
              <a:gd name="connsiteY1" fmla="*/ 112472 h 2994906"/>
              <a:gd name="connsiteX2" fmla="*/ 1503572 w 1701062"/>
              <a:gd name="connsiteY2" fmla="*/ 1515045 h 2994906"/>
              <a:gd name="connsiteX3" fmla="*/ 75105 w 1701062"/>
              <a:gd name="connsiteY3" fmla="*/ 2986970 h 2994906"/>
              <a:gd name="connsiteX4" fmla="*/ 1424 w 1701062"/>
              <a:gd name="connsiteY4" fmla="*/ 2938996 h 2994906"/>
              <a:gd name="connsiteX5" fmla="*/ 13 w 1701062"/>
              <a:gd name="connsiteY5" fmla="*/ 858319 h 2994906"/>
              <a:gd name="connsiteX0" fmla="*/ 13 w 1700318"/>
              <a:gd name="connsiteY0" fmla="*/ 858319 h 2984818"/>
              <a:gd name="connsiteX1" fmla="*/ 1317137 w 1700318"/>
              <a:gd name="connsiteY1" fmla="*/ 112472 h 2984818"/>
              <a:gd name="connsiteX2" fmla="*/ 1503572 w 1700318"/>
              <a:gd name="connsiteY2" fmla="*/ 1515045 h 2984818"/>
              <a:gd name="connsiteX3" fmla="*/ 86941 w 1700318"/>
              <a:gd name="connsiteY3" fmla="*/ 2965672 h 2984818"/>
              <a:gd name="connsiteX4" fmla="*/ 1424 w 1700318"/>
              <a:gd name="connsiteY4" fmla="*/ 2938996 h 2984818"/>
              <a:gd name="connsiteX5" fmla="*/ 13 w 1700318"/>
              <a:gd name="connsiteY5" fmla="*/ 858319 h 2984818"/>
              <a:gd name="connsiteX0" fmla="*/ 13 w 1700318"/>
              <a:gd name="connsiteY0" fmla="*/ 858319 h 2984818"/>
              <a:gd name="connsiteX1" fmla="*/ 1317137 w 1700318"/>
              <a:gd name="connsiteY1" fmla="*/ 112472 h 2984818"/>
              <a:gd name="connsiteX2" fmla="*/ 1503572 w 1700318"/>
              <a:gd name="connsiteY2" fmla="*/ 1515045 h 2984818"/>
              <a:gd name="connsiteX3" fmla="*/ 86941 w 1700318"/>
              <a:gd name="connsiteY3" fmla="*/ 2965672 h 2984818"/>
              <a:gd name="connsiteX4" fmla="*/ 1424 w 1700318"/>
              <a:gd name="connsiteY4" fmla="*/ 2938996 h 2984818"/>
              <a:gd name="connsiteX5" fmla="*/ 13 w 1700318"/>
              <a:gd name="connsiteY5" fmla="*/ 858319 h 2984818"/>
              <a:gd name="connsiteX0" fmla="*/ 13 w 1699425"/>
              <a:gd name="connsiteY0" fmla="*/ 858319 h 3009727"/>
              <a:gd name="connsiteX1" fmla="*/ 1317137 w 1699425"/>
              <a:gd name="connsiteY1" fmla="*/ 112472 h 3009727"/>
              <a:gd name="connsiteX2" fmla="*/ 1503572 w 1699425"/>
              <a:gd name="connsiteY2" fmla="*/ 1515045 h 3009727"/>
              <a:gd name="connsiteX3" fmla="*/ 101144 w 1699425"/>
              <a:gd name="connsiteY3" fmla="*/ 3008269 h 3009727"/>
              <a:gd name="connsiteX4" fmla="*/ 1424 w 1699425"/>
              <a:gd name="connsiteY4" fmla="*/ 2938996 h 3009727"/>
              <a:gd name="connsiteX5" fmla="*/ 13 w 1699425"/>
              <a:gd name="connsiteY5" fmla="*/ 858319 h 3009727"/>
              <a:gd name="connsiteX0" fmla="*/ 13 w 1699425"/>
              <a:gd name="connsiteY0" fmla="*/ 858319 h 3045227"/>
              <a:gd name="connsiteX1" fmla="*/ 1317137 w 1699425"/>
              <a:gd name="connsiteY1" fmla="*/ 112472 h 3045227"/>
              <a:gd name="connsiteX2" fmla="*/ 1503572 w 1699425"/>
              <a:gd name="connsiteY2" fmla="*/ 1515045 h 3045227"/>
              <a:gd name="connsiteX3" fmla="*/ 101144 w 1699425"/>
              <a:gd name="connsiteY3" fmla="*/ 3008269 h 3045227"/>
              <a:gd name="connsiteX4" fmla="*/ 1424 w 1699425"/>
              <a:gd name="connsiteY4" fmla="*/ 2938996 h 3045227"/>
              <a:gd name="connsiteX5" fmla="*/ 13 w 1699425"/>
              <a:gd name="connsiteY5" fmla="*/ 858319 h 3045227"/>
              <a:gd name="connsiteX0" fmla="*/ 13 w 1698831"/>
              <a:gd name="connsiteY0" fmla="*/ 858319 h 3004841"/>
              <a:gd name="connsiteX1" fmla="*/ 1317137 w 1698831"/>
              <a:gd name="connsiteY1" fmla="*/ 112472 h 3004841"/>
              <a:gd name="connsiteX2" fmla="*/ 1503572 w 1698831"/>
              <a:gd name="connsiteY2" fmla="*/ 1515045 h 3004841"/>
              <a:gd name="connsiteX3" fmla="*/ 110613 w 1698831"/>
              <a:gd name="connsiteY3" fmla="*/ 2946741 h 3004841"/>
              <a:gd name="connsiteX4" fmla="*/ 1424 w 1698831"/>
              <a:gd name="connsiteY4" fmla="*/ 2938996 h 3004841"/>
              <a:gd name="connsiteX5" fmla="*/ 13 w 1698831"/>
              <a:gd name="connsiteY5" fmla="*/ 858319 h 3004841"/>
              <a:gd name="connsiteX0" fmla="*/ 13 w 1698831"/>
              <a:gd name="connsiteY0" fmla="*/ 858319 h 3007635"/>
              <a:gd name="connsiteX1" fmla="*/ 1317137 w 1698831"/>
              <a:gd name="connsiteY1" fmla="*/ 112472 h 3007635"/>
              <a:gd name="connsiteX2" fmla="*/ 1503572 w 1698831"/>
              <a:gd name="connsiteY2" fmla="*/ 1515045 h 3007635"/>
              <a:gd name="connsiteX3" fmla="*/ 110613 w 1698831"/>
              <a:gd name="connsiteY3" fmla="*/ 2946741 h 3007635"/>
              <a:gd name="connsiteX4" fmla="*/ 1424 w 1698831"/>
              <a:gd name="connsiteY4" fmla="*/ 2938996 h 3007635"/>
              <a:gd name="connsiteX5" fmla="*/ 13 w 1698831"/>
              <a:gd name="connsiteY5" fmla="*/ 858319 h 3007635"/>
              <a:gd name="connsiteX0" fmla="*/ 13 w 1698979"/>
              <a:gd name="connsiteY0" fmla="*/ 858319 h 3005098"/>
              <a:gd name="connsiteX1" fmla="*/ 1317137 w 1698979"/>
              <a:gd name="connsiteY1" fmla="*/ 112472 h 3005098"/>
              <a:gd name="connsiteX2" fmla="*/ 1503572 w 1698979"/>
              <a:gd name="connsiteY2" fmla="*/ 1515045 h 3005098"/>
              <a:gd name="connsiteX3" fmla="*/ 108246 w 1698979"/>
              <a:gd name="connsiteY3" fmla="*/ 2942008 h 3005098"/>
              <a:gd name="connsiteX4" fmla="*/ 1424 w 1698979"/>
              <a:gd name="connsiteY4" fmla="*/ 2938996 h 3005098"/>
              <a:gd name="connsiteX5" fmla="*/ 13 w 1698979"/>
              <a:gd name="connsiteY5" fmla="*/ 858319 h 3005098"/>
              <a:gd name="connsiteX0" fmla="*/ 13 w 1701077"/>
              <a:gd name="connsiteY0" fmla="*/ 858319 h 3022766"/>
              <a:gd name="connsiteX1" fmla="*/ 1317137 w 1701077"/>
              <a:gd name="connsiteY1" fmla="*/ 112472 h 3022766"/>
              <a:gd name="connsiteX2" fmla="*/ 1503572 w 1701077"/>
              <a:gd name="connsiteY2" fmla="*/ 1515045 h 3022766"/>
              <a:gd name="connsiteX3" fmla="*/ 74876 w 1701077"/>
              <a:gd name="connsiteY3" fmla="*/ 2972033 h 3022766"/>
              <a:gd name="connsiteX4" fmla="*/ 1424 w 1701077"/>
              <a:gd name="connsiteY4" fmla="*/ 2938996 h 3022766"/>
              <a:gd name="connsiteX5" fmla="*/ 13 w 1701077"/>
              <a:gd name="connsiteY5" fmla="*/ 858319 h 3022766"/>
              <a:gd name="connsiteX0" fmla="*/ 13 w 1701077"/>
              <a:gd name="connsiteY0" fmla="*/ 858319 h 2995037"/>
              <a:gd name="connsiteX1" fmla="*/ 1317137 w 1701077"/>
              <a:gd name="connsiteY1" fmla="*/ 112472 h 2995037"/>
              <a:gd name="connsiteX2" fmla="*/ 1503572 w 1701077"/>
              <a:gd name="connsiteY2" fmla="*/ 1515045 h 2995037"/>
              <a:gd name="connsiteX3" fmla="*/ 74876 w 1701077"/>
              <a:gd name="connsiteY3" fmla="*/ 2972033 h 2995037"/>
              <a:gd name="connsiteX4" fmla="*/ 1424 w 1701077"/>
              <a:gd name="connsiteY4" fmla="*/ 2938996 h 2995037"/>
              <a:gd name="connsiteX5" fmla="*/ 13 w 1701077"/>
              <a:gd name="connsiteY5" fmla="*/ 858319 h 2995037"/>
              <a:gd name="connsiteX0" fmla="*/ 13 w 1760182"/>
              <a:gd name="connsiteY0" fmla="*/ 858319 h 2995037"/>
              <a:gd name="connsiteX1" fmla="*/ 1317137 w 1760182"/>
              <a:gd name="connsiteY1" fmla="*/ 112472 h 2995037"/>
              <a:gd name="connsiteX2" fmla="*/ 1503572 w 1760182"/>
              <a:gd name="connsiteY2" fmla="*/ 1515045 h 2995037"/>
              <a:gd name="connsiteX3" fmla="*/ 74876 w 1760182"/>
              <a:gd name="connsiteY3" fmla="*/ 2972033 h 2995037"/>
              <a:gd name="connsiteX4" fmla="*/ 1424 w 1760182"/>
              <a:gd name="connsiteY4" fmla="*/ 2938996 h 2995037"/>
              <a:gd name="connsiteX5" fmla="*/ 13 w 1760182"/>
              <a:gd name="connsiteY5" fmla="*/ 858319 h 2995037"/>
              <a:gd name="connsiteX0" fmla="*/ 13 w 1760182"/>
              <a:gd name="connsiteY0" fmla="*/ 858319 h 3003213"/>
              <a:gd name="connsiteX1" fmla="*/ 1317137 w 1760182"/>
              <a:gd name="connsiteY1" fmla="*/ 112472 h 3003213"/>
              <a:gd name="connsiteX2" fmla="*/ 1503572 w 1760182"/>
              <a:gd name="connsiteY2" fmla="*/ 1515045 h 3003213"/>
              <a:gd name="connsiteX3" fmla="*/ 74876 w 1760182"/>
              <a:gd name="connsiteY3" fmla="*/ 2972033 h 3003213"/>
              <a:gd name="connsiteX4" fmla="*/ 1424 w 1760182"/>
              <a:gd name="connsiteY4" fmla="*/ 2938996 h 3003213"/>
              <a:gd name="connsiteX5" fmla="*/ 13 w 1760182"/>
              <a:gd name="connsiteY5" fmla="*/ 858319 h 3003213"/>
              <a:gd name="connsiteX0" fmla="*/ 13 w 1699398"/>
              <a:gd name="connsiteY0" fmla="*/ 858319 h 2990793"/>
              <a:gd name="connsiteX1" fmla="*/ 1317137 w 1699398"/>
              <a:gd name="connsiteY1" fmla="*/ 112472 h 2990793"/>
              <a:gd name="connsiteX2" fmla="*/ 1503572 w 1699398"/>
              <a:gd name="connsiteY2" fmla="*/ 1515045 h 2990793"/>
              <a:gd name="connsiteX3" fmla="*/ 101572 w 1699398"/>
              <a:gd name="connsiteY3" fmla="*/ 2947397 h 2990793"/>
              <a:gd name="connsiteX4" fmla="*/ 1424 w 1699398"/>
              <a:gd name="connsiteY4" fmla="*/ 2938996 h 2990793"/>
              <a:gd name="connsiteX5" fmla="*/ 13 w 1699398"/>
              <a:gd name="connsiteY5" fmla="*/ 858319 h 2990793"/>
              <a:gd name="connsiteX0" fmla="*/ 13 w 1699398"/>
              <a:gd name="connsiteY0" fmla="*/ 858319 h 2992199"/>
              <a:gd name="connsiteX1" fmla="*/ 1317137 w 1699398"/>
              <a:gd name="connsiteY1" fmla="*/ 112472 h 2992199"/>
              <a:gd name="connsiteX2" fmla="*/ 1503572 w 1699398"/>
              <a:gd name="connsiteY2" fmla="*/ 1515045 h 2992199"/>
              <a:gd name="connsiteX3" fmla="*/ 101572 w 1699398"/>
              <a:gd name="connsiteY3" fmla="*/ 2947397 h 2992199"/>
              <a:gd name="connsiteX4" fmla="*/ 1424 w 1699398"/>
              <a:gd name="connsiteY4" fmla="*/ 2938996 h 2992199"/>
              <a:gd name="connsiteX5" fmla="*/ 13 w 1699398"/>
              <a:gd name="connsiteY5" fmla="*/ 858319 h 2992199"/>
              <a:gd name="connsiteX0" fmla="*/ 13 w 1701077"/>
              <a:gd name="connsiteY0" fmla="*/ 858319 h 3006121"/>
              <a:gd name="connsiteX1" fmla="*/ 1317137 w 1701077"/>
              <a:gd name="connsiteY1" fmla="*/ 112472 h 3006121"/>
              <a:gd name="connsiteX2" fmla="*/ 1503572 w 1701077"/>
              <a:gd name="connsiteY2" fmla="*/ 1515045 h 3006121"/>
              <a:gd name="connsiteX3" fmla="*/ 74876 w 1701077"/>
              <a:gd name="connsiteY3" fmla="*/ 2974086 h 3006121"/>
              <a:gd name="connsiteX4" fmla="*/ 1424 w 1701077"/>
              <a:gd name="connsiteY4" fmla="*/ 2938996 h 3006121"/>
              <a:gd name="connsiteX5" fmla="*/ 13 w 1701077"/>
              <a:gd name="connsiteY5" fmla="*/ 858319 h 3006121"/>
              <a:gd name="connsiteX0" fmla="*/ 13 w 1701077"/>
              <a:gd name="connsiteY0" fmla="*/ 858319 h 2994525"/>
              <a:gd name="connsiteX1" fmla="*/ 1317137 w 1701077"/>
              <a:gd name="connsiteY1" fmla="*/ 112472 h 2994525"/>
              <a:gd name="connsiteX2" fmla="*/ 1503572 w 1701077"/>
              <a:gd name="connsiteY2" fmla="*/ 1515045 h 2994525"/>
              <a:gd name="connsiteX3" fmla="*/ 74876 w 1701077"/>
              <a:gd name="connsiteY3" fmla="*/ 2974086 h 2994525"/>
              <a:gd name="connsiteX4" fmla="*/ 1424 w 1701077"/>
              <a:gd name="connsiteY4" fmla="*/ 2938996 h 2994525"/>
              <a:gd name="connsiteX5" fmla="*/ 13 w 1701077"/>
              <a:gd name="connsiteY5" fmla="*/ 858319 h 2994525"/>
              <a:gd name="connsiteX0" fmla="*/ 13 w 1761447"/>
              <a:gd name="connsiteY0" fmla="*/ 858319 h 2994525"/>
              <a:gd name="connsiteX1" fmla="*/ 1317137 w 1761447"/>
              <a:gd name="connsiteY1" fmla="*/ 112472 h 2994525"/>
              <a:gd name="connsiteX2" fmla="*/ 1503572 w 1761447"/>
              <a:gd name="connsiteY2" fmla="*/ 1515045 h 2994525"/>
              <a:gd name="connsiteX3" fmla="*/ 74876 w 1761447"/>
              <a:gd name="connsiteY3" fmla="*/ 2974086 h 2994525"/>
              <a:gd name="connsiteX4" fmla="*/ 1424 w 1761447"/>
              <a:gd name="connsiteY4" fmla="*/ 2938996 h 2994525"/>
              <a:gd name="connsiteX5" fmla="*/ 13 w 1761447"/>
              <a:gd name="connsiteY5" fmla="*/ 858319 h 2994525"/>
              <a:gd name="connsiteX0" fmla="*/ 13 w 1753976"/>
              <a:gd name="connsiteY0" fmla="*/ 858319 h 2994525"/>
              <a:gd name="connsiteX1" fmla="*/ 1317137 w 1753976"/>
              <a:gd name="connsiteY1" fmla="*/ 112472 h 2994525"/>
              <a:gd name="connsiteX2" fmla="*/ 1503572 w 1753976"/>
              <a:gd name="connsiteY2" fmla="*/ 1515045 h 2994525"/>
              <a:gd name="connsiteX3" fmla="*/ 74876 w 1753976"/>
              <a:gd name="connsiteY3" fmla="*/ 2974086 h 2994525"/>
              <a:gd name="connsiteX4" fmla="*/ 1424 w 1753976"/>
              <a:gd name="connsiteY4" fmla="*/ 2938996 h 2994525"/>
              <a:gd name="connsiteX5" fmla="*/ 13 w 1753976"/>
              <a:gd name="connsiteY5" fmla="*/ 858319 h 2994525"/>
              <a:gd name="connsiteX0" fmla="*/ 13 w 1753976"/>
              <a:gd name="connsiteY0" fmla="*/ 858319 h 2994525"/>
              <a:gd name="connsiteX1" fmla="*/ 1317137 w 1753976"/>
              <a:gd name="connsiteY1" fmla="*/ 112472 h 2994525"/>
              <a:gd name="connsiteX2" fmla="*/ 1503572 w 1753976"/>
              <a:gd name="connsiteY2" fmla="*/ 1515045 h 2994525"/>
              <a:gd name="connsiteX3" fmla="*/ 74876 w 1753976"/>
              <a:gd name="connsiteY3" fmla="*/ 2974086 h 2994525"/>
              <a:gd name="connsiteX4" fmla="*/ 1424 w 1753976"/>
              <a:gd name="connsiteY4" fmla="*/ 2938996 h 2994525"/>
              <a:gd name="connsiteX5" fmla="*/ 13 w 1753976"/>
              <a:gd name="connsiteY5" fmla="*/ 858319 h 2994525"/>
              <a:gd name="connsiteX0" fmla="*/ 13 w 1753976"/>
              <a:gd name="connsiteY0" fmla="*/ 858319 h 2995168"/>
              <a:gd name="connsiteX1" fmla="*/ 1317137 w 1753976"/>
              <a:gd name="connsiteY1" fmla="*/ 112472 h 2995168"/>
              <a:gd name="connsiteX2" fmla="*/ 1503572 w 1753976"/>
              <a:gd name="connsiteY2" fmla="*/ 1515045 h 2995168"/>
              <a:gd name="connsiteX3" fmla="*/ 74876 w 1753976"/>
              <a:gd name="connsiteY3" fmla="*/ 2974086 h 2995168"/>
              <a:gd name="connsiteX4" fmla="*/ 1424 w 1753976"/>
              <a:gd name="connsiteY4" fmla="*/ 2938996 h 2995168"/>
              <a:gd name="connsiteX5" fmla="*/ 13 w 1753976"/>
              <a:gd name="connsiteY5" fmla="*/ 858319 h 2995168"/>
              <a:gd name="connsiteX0" fmla="*/ 13 w 1753976"/>
              <a:gd name="connsiteY0" fmla="*/ 858319 h 2992234"/>
              <a:gd name="connsiteX1" fmla="*/ 1317137 w 1753976"/>
              <a:gd name="connsiteY1" fmla="*/ 112472 h 2992234"/>
              <a:gd name="connsiteX2" fmla="*/ 1503572 w 1753976"/>
              <a:gd name="connsiteY2" fmla="*/ 1515045 h 2992234"/>
              <a:gd name="connsiteX3" fmla="*/ 74876 w 1753976"/>
              <a:gd name="connsiteY3" fmla="*/ 2974086 h 2992234"/>
              <a:gd name="connsiteX4" fmla="*/ 1424 w 1753976"/>
              <a:gd name="connsiteY4" fmla="*/ 2938996 h 2992234"/>
              <a:gd name="connsiteX5" fmla="*/ 13 w 1753976"/>
              <a:gd name="connsiteY5" fmla="*/ 858319 h 29922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53976" h="2992234">
                <a:moveTo>
                  <a:pt x="13" y="858319"/>
                </a:moveTo>
                <a:cubicBezTo>
                  <a:pt x="-3215" y="318604"/>
                  <a:pt x="626118" y="-245536"/>
                  <a:pt x="1317137" y="112472"/>
                </a:cubicBezTo>
                <a:cubicBezTo>
                  <a:pt x="1885310" y="453554"/>
                  <a:pt x="1845745" y="1161058"/>
                  <a:pt x="1503572" y="1515045"/>
                </a:cubicBezTo>
                <a:cubicBezTo>
                  <a:pt x="1211764" y="1816929"/>
                  <a:pt x="93646" y="2954272"/>
                  <a:pt x="74876" y="2974086"/>
                </a:cubicBezTo>
                <a:cubicBezTo>
                  <a:pt x="56106" y="2993900"/>
                  <a:pt x="3595" y="3013732"/>
                  <a:pt x="1424" y="2938996"/>
                </a:cubicBezTo>
                <a:cubicBezTo>
                  <a:pt x="895" y="2572359"/>
                  <a:pt x="3241" y="1398034"/>
                  <a:pt x="13" y="85831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s-ES_tradnl" dirty="0"/>
          </a:p>
        </p:txBody>
      </p:sp>
      <p:sp>
        <p:nvSpPr>
          <p:cNvPr id="6" name="Marcador de posición de imagen 4">
            <a:extLst>
              <a:ext uri="{FF2B5EF4-FFF2-40B4-BE49-F238E27FC236}">
                <a16:creationId xmlns:a16="http://schemas.microsoft.com/office/drawing/2014/main" id="{367F83AD-6ADF-5348-8FFD-8503F5B8E997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251936" y="1327310"/>
            <a:ext cx="2648283" cy="4518780"/>
          </a:xfrm>
          <a:custGeom>
            <a:avLst/>
            <a:gdLst>
              <a:gd name="connsiteX0" fmla="*/ 2432050 w 4864100"/>
              <a:gd name="connsiteY0" fmla="*/ 1423800 h 5695200"/>
              <a:gd name="connsiteX1" fmla="*/ 2432050 w 4864100"/>
              <a:gd name="connsiteY1" fmla="*/ 5695200 h 5695200"/>
              <a:gd name="connsiteX2" fmla="*/ 2432050 w 4864100"/>
              <a:gd name="connsiteY2" fmla="*/ 1423800 h 5695200"/>
              <a:gd name="connsiteX0" fmla="*/ 2217600 w 4435199"/>
              <a:gd name="connsiteY0" fmla="*/ 632423 h 4903823"/>
              <a:gd name="connsiteX1" fmla="*/ 2217600 w 4435199"/>
              <a:gd name="connsiteY1" fmla="*/ 4903823 h 4903823"/>
              <a:gd name="connsiteX2" fmla="*/ 2217600 w 4435199"/>
              <a:gd name="connsiteY2" fmla="*/ 632423 h 4903823"/>
              <a:gd name="connsiteX0" fmla="*/ 2217600 w 2259560"/>
              <a:gd name="connsiteY0" fmla="*/ 632423 h 4903823"/>
              <a:gd name="connsiteX1" fmla="*/ 2217600 w 2259560"/>
              <a:gd name="connsiteY1" fmla="*/ 4903823 h 4903823"/>
              <a:gd name="connsiteX2" fmla="*/ 2217600 w 2259560"/>
              <a:gd name="connsiteY2" fmla="*/ 632423 h 4903823"/>
              <a:gd name="connsiteX0" fmla="*/ 2217600 w 2238943"/>
              <a:gd name="connsiteY0" fmla="*/ 632423 h 4903823"/>
              <a:gd name="connsiteX1" fmla="*/ 2217600 w 2238943"/>
              <a:gd name="connsiteY1" fmla="*/ 4903823 h 4903823"/>
              <a:gd name="connsiteX2" fmla="*/ 2217600 w 2238943"/>
              <a:gd name="connsiteY2" fmla="*/ 632423 h 4903823"/>
              <a:gd name="connsiteX0" fmla="*/ 2216202 w 2237545"/>
              <a:gd name="connsiteY0" fmla="*/ 219464 h 4495351"/>
              <a:gd name="connsiteX1" fmla="*/ 2216202 w 2237545"/>
              <a:gd name="connsiteY1" fmla="*/ 4490864 h 4495351"/>
              <a:gd name="connsiteX2" fmla="*/ 0 w 2237545"/>
              <a:gd name="connsiteY2" fmla="*/ 1021473 h 4495351"/>
              <a:gd name="connsiteX3" fmla="*/ 2216202 w 2237545"/>
              <a:gd name="connsiteY3" fmla="*/ 219464 h 4495351"/>
              <a:gd name="connsiteX0" fmla="*/ 2218054 w 2239397"/>
              <a:gd name="connsiteY0" fmla="*/ 219464 h 4872422"/>
              <a:gd name="connsiteX1" fmla="*/ 2218054 w 2239397"/>
              <a:gd name="connsiteY1" fmla="*/ 4490864 h 4872422"/>
              <a:gd name="connsiteX2" fmla="*/ 1843352 w 2239397"/>
              <a:gd name="connsiteY2" fmla="*/ 4272672 h 4872422"/>
              <a:gd name="connsiteX3" fmla="*/ 1852 w 2239397"/>
              <a:gd name="connsiteY3" fmla="*/ 1021473 h 4872422"/>
              <a:gd name="connsiteX4" fmla="*/ 2218054 w 2239397"/>
              <a:gd name="connsiteY4" fmla="*/ 219464 h 4872422"/>
              <a:gd name="connsiteX0" fmla="*/ 2303891 w 2325234"/>
              <a:gd name="connsiteY0" fmla="*/ 219464 h 4872422"/>
              <a:gd name="connsiteX1" fmla="*/ 2303891 w 2325234"/>
              <a:gd name="connsiteY1" fmla="*/ 4490864 h 4872422"/>
              <a:gd name="connsiteX2" fmla="*/ 1929189 w 2325234"/>
              <a:gd name="connsiteY2" fmla="*/ 4272672 h 4872422"/>
              <a:gd name="connsiteX3" fmla="*/ 587749 w 2325234"/>
              <a:gd name="connsiteY3" fmla="*/ 2272196 h 4872422"/>
              <a:gd name="connsiteX4" fmla="*/ 87689 w 2325234"/>
              <a:gd name="connsiteY4" fmla="*/ 1021473 h 4872422"/>
              <a:gd name="connsiteX5" fmla="*/ 2303891 w 2325234"/>
              <a:gd name="connsiteY5" fmla="*/ 219464 h 4872422"/>
              <a:gd name="connsiteX0" fmla="*/ 2303891 w 2475206"/>
              <a:gd name="connsiteY0" fmla="*/ 238803 h 5082435"/>
              <a:gd name="connsiteX1" fmla="*/ 2324987 w 2475206"/>
              <a:gd name="connsiteY1" fmla="*/ 4779604 h 5082435"/>
              <a:gd name="connsiteX2" fmla="*/ 1929189 w 2475206"/>
              <a:gd name="connsiteY2" fmla="*/ 4292011 h 5082435"/>
              <a:gd name="connsiteX3" fmla="*/ 587749 w 2475206"/>
              <a:gd name="connsiteY3" fmla="*/ 2291535 h 5082435"/>
              <a:gd name="connsiteX4" fmla="*/ 87689 w 2475206"/>
              <a:gd name="connsiteY4" fmla="*/ 1040812 h 5082435"/>
              <a:gd name="connsiteX5" fmla="*/ 2303891 w 2475206"/>
              <a:gd name="connsiteY5" fmla="*/ 238803 h 5082435"/>
              <a:gd name="connsiteX0" fmla="*/ 2303891 w 2475206"/>
              <a:gd name="connsiteY0" fmla="*/ 240665 h 5104077"/>
              <a:gd name="connsiteX1" fmla="*/ 2324987 w 2475206"/>
              <a:gd name="connsiteY1" fmla="*/ 4807370 h 5104077"/>
              <a:gd name="connsiteX2" fmla="*/ 1929189 w 2475206"/>
              <a:gd name="connsiteY2" fmla="*/ 4293873 h 5104077"/>
              <a:gd name="connsiteX3" fmla="*/ 587749 w 2475206"/>
              <a:gd name="connsiteY3" fmla="*/ 2293397 h 5104077"/>
              <a:gd name="connsiteX4" fmla="*/ 87689 w 2475206"/>
              <a:gd name="connsiteY4" fmla="*/ 1042674 h 5104077"/>
              <a:gd name="connsiteX5" fmla="*/ 2303891 w 2475206"/>
              <a:gd name="connsiteY5" fmla="*/ 240665 h 5104077"/>
              <a:gd name="connsiteX0" fmla="*/ 2303891 w 2475206"/>
              <a:gd name="connsiteY0" fmla="*/ 240665 h 4905038"/>
              <a:gd name="connsiteX1" fmla="*/ 2324987 w 2475206"/>
              <a:gd name="connsiteY1" fmla="*/ 4807370 h 4905038"/>
              <a:gd name="connsiteX2" fmla="*/ 1929189 w 2475206"/>
              <a:gd name="connsiteY2" fmla="*/ 4293873 h 4905038"/>
              <a:gd name="connsiteX3" fmla="*/ 587749 w 2475206"/>
              <a:gd name="connsiteY3" fmla="*/ 2293397 h 4905038"/>
              <a:gd name="connsiteX4" fmla="*/ 87689 w 2475206"/>
              <a:gd name="connsiteY4" fmla="*/ 1042674 h 4905038"/>
              <a:gd name="connsiteX5" fmla="*/ 2303891 w 2475206"/>
              <a:gd name="connsiteY5" fmla="*/ 240665 h 4905038"/>
              <a:gd name="connsiteX0" fmla="*/ 2303891 w 2475206"/>
              <a:gd name="connsiteY0" fmla="*/ 240665 h 5162840"/>
              <a:gd name="connsiteX1" fmla="*/ 2324987 w 2475206"/>
              <a:gd name="connsiteY1" fmla="*/ 4807370 h 5162840"/>
              <a:gd name="connsiteX2" fmla="*/ 2224542 w 2475206"/>
              <a:gd name="connsiteY2" fmla="*/ 4868940 h 5162840"/>
              <a:gd name="connsiteX3" fmla="*/ 587749 w 2475206"/>
              <a:gd name="connsiteY3" fmla="*/ 2293397 h 5162840"/>
              <a:gd name="connsiteX4" fmla="*/ 87689 w 2475206"/>
              <a:gd name="connsiteY4" fmla="*/ 1042674 h 5162840"/>
              <a:gd name="connsiteX5" fmla="*/ 2303891 w 2475206"/>
              <a:gd name="connsiteY5" fmla="*/ 240665 h 5162840"/>
              <a:gd name="connsiteX0" fmla="*/ 2303891 w 2475206"/>
              <a:gd name="connsiteY0" fmla="*/ 240665 h 4894959"/>
              <a:gd name="connsiteX1" fmla="*/ 2324987 w 2475206"/>
              <a:gd name="connsiteY1" fmla="*/ 4807370 h 4894959"/>
              <a:gd name="connsiteX2" fmla="*/ 2224542 w 2475206"/>
              <a:gd name="connsiteY2" fmla="*/ 4868940 h 4894959"/>
              <a:gd name="connsiteX3" fmla="*/ 587749 w 2475206"/>
              <a:gd name="connsiteY3" fmla="*/ 2293397 h 4894959"/>
              <a:gd name="connsiteX4" fmla="*/ 87689 w 2475206"/>
              <a:gd name="connsiteY4" fmla="*/ 1042674 h 4894959"/>
              <a:gd name="connsiteX5" fmla="*/ 2303891 w 2475206"/>
              <a:gd name="connsiteY5" fmla="*/ 240665 h 4894959"/>
              <a:gd name="connsiteX0" fmla="*/ 2303891 w 2475206"/>
              <a:gd name="connsiteY0" fmla="*/ 240665 h 4893879"/>
              <a:gd name="connsiteX1" fmla="*/ 2324987 w 2475206"/>
              <a:gd name="connsiteY1" fmla="*/ 4807370 h 4893879"/>
              <a:gd name="connsiteX2" fmla="*/ 2220323 w 2475206"/>
              <a:gd name="connsiteY2" fmla="*/ 4863759 h 4893879"/>
              <a:gd name="connsiteX3" fmla="*/ 587749 w 2475206"/>
              <a:gd name="connsiteY3" fmla="*/ 2293397 h 4893879"/>
              <a:gd name="connsiteX4" fmla="*/ 87689 w 2475206"/>
              <a:gd name="connsiteY4" fmla="*/ 1042674 h 4893879"/>
              <a:gd name="connsiteX5" fmla="*/ 2303891 w 2475206"/>
              <a:gd name="connsiteY5" fmla="*/ 240665 h 4893879"/>
              <a:gd name="connsiteX0" fmla="*/ 2303891 w 2475206"/>
              <a:gd name="connsiteY0" fmla="*/ 240665 h 4925253"/>
              <a:gd name="connsiteX1" fmla="*/ 2324987 w 2475206"/>
              <a:gd name="connsiteY1" fmla="*/ 4807370 h 4925253"/>
              <a:gd name="connsiteX2" fmla="*/ 2220323 w 2475206"/>
              <a:gd name="connsiteY2" fmla="*/ 4863759 h 4925253"/>
              <a:gd name="connsiteX3" fmla="*/ 587749 w 2475206"/>
              <a:gd name="connsiteY3" fmla="*/ 2293397 h 4925253"/>
              <a:gd name="connsiteX4" fmla="*/ 87689 w 2475206"/>
              <a:gd name="connsiteY4" fmla="*/ 1042674 h 4925253"/>
              <a:gd name="connsiteX5" fmla="*/ 2303891 w 2475206"/>
              <a:gd name="connsiteY5" fmla="*/ 240665 h 4925253"/>
              <a:gd name="connsiteX0" fmla="*/ 2303891 w 2475206"/>
              <a:gd name="connsiteY0" fmla="*/ 240665 h 4894595"/>
              <a:gd name="connsiteX1" fmla="*/ 2324987 w 2475206"/>
              <a:gd name="connsiteY1" fmla="*/ 4807370 h 4894595"/>
              <a:gd name="connsiteX2" fmla="*/ 2220323 w 2475206"/>
              <a:gd name="connsiteY2" fmla="*/ 4863759 h 4894595"/>
              <a:gd name="connsiteX3" fmla="*/ 587749 w 2475206"/>
              <a:gd name="connsiteY3" fmla="*/ 2293397 h 4894595"/>
              <a:gd name="connsiteX4" fmla="*/ 87689 w 2475206"/>
              <a:gd name="connsiteY4" fmla="*/ 1042674 h 4894595"/>
              <a:gd name="connsiteX5" fmla="*/ 2303891 w 2475206"/>
              <a:gd name="connsiteY5" fmla="*/ 240665 h 4894595"/>
              <a:gd name="connsiteX0" fmla="*/ 2348673 w 2519988"/>
              <a:gd name="connsiteY0" fmla="*/ 240665 h 4894595"/>
              <a:gd name="connsiteX1" fmla="*/ 2369769 w 2519988"/>
              <a:gd name="connsiteY1" fmla="*/ 4807370 h 4894595"/>
              <a:gd name="connsiteX2" fmla="*/ 2265105 w 2519988"/>
              <a:gd name="connsiteY2" fmla="*/ 4863759 h 4894595"/>
              <a:gd name="connsiteX3" fmla="*/ 375151 w 2519988"/>
              <a:gd name="connsiteY3" fmla="*/ 2495447 h 4894595"/>
              <a:gd name="connsiteX4" fmla="*/ 132471 w 2519988"/>
              <a:gd name="connsiteY4" fmla="*/ 1042674 h 4894595"/>
              <a:gd name="connsiteX5" fmla="*/ 2348673 w 2519988"/>
              <a:gd name="connsiteY5" fmla="*/ 240665 h 4894595"/>
              <a:gd name="connsiteX0" fmla="*/ 2348673 w 2519988"/>
              <a:gd name="connsiteY0" fmla="*/ 240665 h 4894595"/>
              <a:gd name="connsiteX1" fmla="*/ 2369769 w 2519988"/>
              <a:gd name="connsiteY1" fmla="*/ 4807370 h 4894595"/>
              <a:gd name="connsiteX2" fmla="*/ 2265105 w 2519988"/>
              <a:gd name="connsiteY2" fmla="*/ 4863759 h 4894595"/>
              <a:gd name="connsiteX3" fmla="*/ 375151 w 2519988"/>
              <a:gd name="connsiteY3" fmla="*/ 2490015 h 4894595"/>
              <a:gd name="connsiteX4" fmla="*/ 132471 w 2519988"/>
              <a:gd name="connsiteY4" fmla="*/ 1042674 h 4894595"/>
              <a:gd name="connsiteX5" fmla="*/ 2348673 w 2519988"/>
              <a:gd name="connsiteY5" fmla="*/ 240665 h 4894595"/>
              <a:gd name="connsiteX0" fmla="*/ 2421455 w 2599645"/>
              <a:gd name="connsiteY0" fmla="*/ 164761 h 4818691"/>
              <a:gd name="connsiteX1" fmla="*/ 2442551 w 2599645"/>
              <a:gd name="connsiteY1" fmla="*/ 4731466 h 4818691"/>
              <a:gd name="connsiteX2" fmla="*/ 2337887 w 2599645"/>
              <a:gd name="connsiteY2" fmla="*/ 4787855 h 4818691"/>
              <a:gd name="connsiteX3" fmla="*/ 447933 w 2599645"/>
              <a:gd name="connsiteY3" fmla="*/ 2414111 h 4818691"/>
              <a:gd name="connsiteX4" fmla="*/ 112340 w 2599645"/>
              <a:gd name="connsiteY4" fmla="*/ 1330756 h 4818691"/>
              <a:gd name="connsiteX5" fmla="*/ 2421455 w 2599645"/>
              <a:gd name="connsiteY5" fmla="*/ 164761 h 4818691"/>
              <a:gd name="connsiteX0" fmla="*/ 2416076 w 2593775"/>
              <a:gd name="connsiteY0" fmla="*/ 164295 h 4818225"/>
              <a:gd name="connsiteX1" fmla="*/ 2437172 w 2593775"/>
              <a:gd name="connsiteY1" fmla="*/ 4731000 h 4818225"/>
              <a:gd name="connsiteX2" fmla="*/ 2332508 w 2593775"/>
              <a:gd name="connsiteY2" fmla="*/ 4787389 h 4818225"/>
              <a:gd name="connsiteX3" fmla="*/ 442554 w 2593775"/>
              <a:gd name="connsiteY3" fmla="*/ 2413645 h 4818225"/>
              <a:gd name="connsiteX4" fmla="*/ 113598 w 2593775"/>
              <a:gd name="connsiteY4" fmla="*/ 1333006 h 4818225"/>
              <a:gd name="connsiteX5" fmla="*/ 2416076 w 2593775"/>
              <a:gd name="connsiteY5" fmla="*/ 164295 h 4818225"/>
              <a:gd name="connsiteX0" fmla="*/ 2059909 w 2437172"/>
              <a:gd name="connsiteY0" fmla="*/ 171220 h 4762674"/>
              <a:gd name="connsiteX1" fmla="*/ 2437172 w 2437172"/>
              <a:gd name="connsiteY1" fmla="*/ 4675449 h 4762674"/>
              <a:gd name="connsiteX2" fmla="*/ 2332508 w 2437172"/>
              <a:gd name="connsiteY2" fmla="*/ 4731838 h 4762674"/>
              <a:gd name="connsiteX3" fmla="*/ 442554 w 2437172"/>
              <a:gd name="connsiteY3" fmla="*/ 2358094 h 4762674"/>
              <a:gd name="connsiteX4" fmla="*/ 113598 w 2437172"/>
              <a:gd name="connsiteY4" fmla="*/ 1277455 h 4762674"/>
              <a:gd name="connsiteX5" fmla="*/ 2059909 w 2437172"/>
              <a:gd name="connsiteY5" fmla="*/ 171220 h 4762674"/>
              <a:gd name="connsiteX0" fmla="*/ 1757412 w 2134675"/>
              <a:gd name="connsiteY0" fmla="*/ 598810 h 5190264"/>
              <a:gd name="connsiteX1" fmla="*/ 2134675 w 2134675"/>
              <a:gd name="connsiteY1" fmla="*/ 5103039 h 5190264"/>
              <a:gd name="connsiteX2" fmla="*/ 2030011 w 2134675"/>
              <a:gd name="connsiteY2" fmla="*/ 5159428 h 5190264"/>
              <a:gd name="connsiteX3" fmla="*/ 140057 w 2134675"/>
              <a:gd name="connsiteY3" fmla="*/ 2785684 h 5190264"/>
              <a:gd name="connsiteX4" fmla="*/ 371574 w 2134675"/>
              <a:gd name="connsiteY4" fmla="*/ 511011 h 5190264"/>
              <a:gd name="connsiteX5" fmla="*/ 1757412 w 2134675"/>
              <a:gd name="connsiteY5" fmla="*/ 598810 h 5190264"/>
              <a:gd name="connsiteX0" fmla="*/ 1756869 w 2134132"/>
              <a:gd name="connsiteY0" fmla="*/ 603638 h 5195092"/>
              <a:gd name="connsiteX1" fmla="*/ 2134132 w 2134132"/>
              <a:gd name="connsiteY1" fmla="*/ 5107867 h 5195092"/>
              <a:gd name="connsiteX2" fmla="*/ 2029468 w 2134132"/>
              <a:gd name="connsiteY2" fmla="*/ 5164256 h 5195092"/>
              <a:gd name="connsiteX3" fmla="*/ 139514 w 2134132"/>
              <a:gd name="connsiteY3" fmla="*/ 2790512 h 5195092"/>
              <a:gd name="connsiteX4" fmla="*/ 373243 w 2134132"/>
              <a:gd name="connsiteY4" fmla="*/ 507691 h 5195092"/>
              <a:gd name="connsiteX5" fmla="*/ 1756869 w 2134132"/>
              <a:gd name="connsiteY5" fmla="*/ 603638 h 5195092"/>
              <a:gd name="connsiteX0" fmla="*/ 1757411 w 2134674"/>
              <a:gd name="connsiteY0" fmla="*/ 597207 h 5188661"/>
              <a:gd name="connsiteX1" fmla="*/ 2134674 w 2134674"/>
              <a:gd name="connsiteY1" fmla="*/ 5101436 h 5188661"/>
              <a:gd name="connsiteX2" fmla="*/ 2030010 w 2134674"/>
              <a:gd name="connsiteY2" fmla="*/ 5157825 h 5188661"/>
              <a:gd name="connsiteX3" fmla="*/ 140056 w 2134674"/>
              <a:gd name="connsiteY3" fmla="*/ 2784081 h 5188661"/>
              <a:gd name="connsiteX4" fmla="*/ 371573 w 2134674"/>
              <a:gd name="connsiteY4" fmla="*/ 512125 h 5188661"/>
              <a:gd name="connsiteX5" fmla="*/ 1757411 w 2134674"/>
              <a:gd name="connsiteY5" fmla="*/ 597207 h 5188661"/>
              <a:gd name="connsiteX0" fmla="*/ 2069334 w 2219253"/>
              <a:gd name="connsiteY0" fmla="*/ 1066529 h 4968040"/>
              <a:gd name="connsiteX1" fmla="*/ 2134674 w 2219253"/>
              <a:gd name="connsiteY1" fmla="*/ 4880815 h 4968040"/>
              <a:gd name="connsiteX2" fmla="*/ 2030010 w 2219253"/>
              <a:gd name="connsiteY2" fmla="*/ 4937204 h 4968040"/>
              <a:gd name="connsiteX3" fmla="*/ 140056 w 2219253"/>
              <a:gd name="connsiteY3" fmla="*/ 2563460 h 4968040"/>
              <a:gd name="connsiteX4" fmla="*/ 371573 w 2219253"/>
              <a:gd name="connsiteY4" fmla="*/ 291504 h 4968040"/>
              <a:gd name="connsiteX5" fmla="*/ 2069334 w 2219253"/>
              <a:gd name="connsiteY5" fmla="*/ 1066529 h 4968040"/>
              <a:gd name="connsiteX0" fmla="*/ 2129064 w 2261074"/>
              <a:gd name="connsiteY0" fmla="*/ 1422730 h 4900496"/>
              <a:gd name="connsiteX1" fmla="*/ 2134674 w 2261074"/>
              <a:gd name="connsiteY1" fmla="*/ 4813271 h 4900496"/>
              <a:gd name="connsiteX2" fmla="*/ 2030010 w 2261074"/>
              <a:gd name="connsiteY2" fmla="*/ 4869660 h 4900496"/>
              <a:gd name="connsiteX3" fmla="*/ 140056 w 2261074"/>
              <a:gd name="connsiteY3" fmla="*/ 2495916 h 4900496"/>
              <a:gd name="connsiteX4" fmla="*/ 371573 w 2261074"/>
              <a:gd name="connsiteY4" fmla="*/ 223960 h 4900496"/>
              <a:gd name="connsiteX5" fmla="*/ 2129064 w 2261074"/>
              <a:gd name="connsiteY5" fmla="*/ 1422730 h 4900496"/>
              <a:gd name="connsiteX0" fmla="*/ 2129064 w 2134674"/>
              <a:gd name="connsiteY0" fmla="*/ 1426308 h 4904074"/>
              <a:gd name="connsiteX1" fmla="*/ 2134674 w 2134674"/>
              <a:gd name="connsiteY1" fmla="*/ 4816849 h 4904074"/>
              <a:gd name="connsiteX2" fmla="*/ 2030010 w 2134674"/>
              <a:gd name="connsiteY2" fmla="*/ 4873238 h 4904074"/>
              <a:gd name="connsiteX3" fmla="*/ 140056 w 2134674"/>
              <a:gd name="connsiteY3" fmla="*/ 2499494 h 4904074"/>
              <a:gd name="connsiteX4" fmla="*/ 371573 w 2134674"/>
              <a:gd name="connsiteY4" fmla="*/ 227538 h 4904074"/>
              <a:gd name="connsiteX5" fmla="*/ 2129064 w 2134674"/>
              <a:gd name="connsiteY5" fmla="*/ 1426308 h 4904074"/>
              <a:gd name="connsiteX0" fmla="*/ 2129064 w 2134674"/>
              <a:gd name="connsiteY0" fmla="*/ 1426308 h 4904074"/>
              <a:gd name="connsiteX1" fmla="*/ 2134674 w 2134674"/>
              <a:gd name="connsiteY1" fmla="*/ 4816849 h 4904074"/>
              <a:gd name="connsiteX2" fmla="*/ 2030010 w 2134674"/>
              <a:gd name="connsiteY2" fmla="*/ 4873238 h 4904074"/>
              <a:gd name="connsiteX3" fmla="*/ 140056 w 2134674"/>
              <a:gd name="connsiteY3" fmla="*/ 2499494 h 4904074"/>
              <a:gd name="connsiteX4" fmla="*/ 371573 w 2134674"/>
              <a:gd name="connsiteY4" fmla="*/ 227538 h 4904074"/>
              <a:gd name="connsiteX5" fmla="*/ 2129064 w 2134674"/>
              <a:gd name="connsiteY5" fmla="*/ 1426308 h 4904074"/>
              <a:gd name="connsiteX0" fmla="*/ 2129064 w 2134674"/>
              <a:gd name="connsiteY0" fmla="*/ 1394334 h 4872100"/>
              <a:gd name="connsiteX1" fmla="*/ 2134674 w 2134674"/>
              <a:gd name="connsiteY1" fmla="*/ 4784875 h 4872100"/>
              <a:gd name="connsiteX2" fmla="*/ 2030010 w 2134674"/>
              <a:gd name="connsiteY2" fmla="*/ 4841264 h 4872100"/>
              <a:gd name="connsiteX3" fmla="*/ 140056 w 2134674"/>
              <a:gd name="connsiteY3" fmla="*/ 2467520 h 4872100"/>
              <a:gd name="connsiteX4" fmla="*/ 371573 w 2134674"/>
              <a:gd name="connsiteY4" fmla="*/ 195564 h 4872100"/>
              <a:gd name="connsiteX5" fmla="*/ 2129064 w 2134674"/>
              <a:gd name="connsiteY5" fmla="*/ 1394334 h 4872100"/>
              <a:gd name="connsiteX0" fmla="*/ 2299717 w 2305327"/>
              <a:gd name="connsiteY0" fmla="*/ 1394334 h 4872100"/>
              <a:gd name="connsiteX1" fmla="*/ 2305327 w 2305327"/>
              <a:gd name="connsiteY1" fmla="*/ 4784875 h 4872100"/>
              <a:gd name="connsiteX2" fmla="*/ 2200663 w 2305327"/>
              <a:gd name="connsiteY2" fmla="*/ 4841264 h 4872100"/>
              <a:gd name="connsiteX3" fmla="*/ 310709 w 2305327"/>
              <a:gd name="connsiteY3" fmla="*/ 2467520 h 4872100"/>
              <a:gd name="connsiteX4" fmla="*/ 542226 w 2305327"/>
              <a:gd name="connsiteY4" fmla="*/ 195564 h 4872100"/>
              <a:gd name="connsiteX5" fmla="*/ 2299717 w 2305327"/>
              <a:gd name="connsiteY5" fmla="*/ 1394334 h 4872100"/>
              <a:gd name="connsiteX0" fmla="*/ 2308970 w 2314580"/>
              <a:gd name="connsiteY0" fmla="*/ 1394334 h 4872100"/>
              <a:gd name="connsiteX1" fmla="*/ 2314580 w 2314580"/>
              <a:gd name="connsiteY1" fmla="*/ 4784875 h 4872100"/>
              <a:gd name="connsiteX2" fmla="*/ 2209916 w 2314580"/>
              <a:gd name="connsiteY2" fmla="*/ 4841264 h 4872100"/>
              <a:gd name="connsiteX3" fmla="*/ 319962 w 2314580"/>
              <a:gd name="connsiteY3" fmla="*/ 2467520 h 4872100"/>
              <a:gd name="connsiteX4" fmla="*/ 551479 w 2314580"/>
              <a:gd name="connsiteY4" fmla="*/ 195564 h 4872100"/>
              <a:gd name="connsiteX5" fmla="*/ 2308970 w 2314580"/>
              <a:gd name="connsiteY5" fmla="*/ 1394334 h 4872100"/>
              <a:gd name="connsiteX0" fmla="*/ 2334610 w 2340220"/>
              <a:gd name="connsiteY0" fmla="*/ 1394334 h 4872100"/>
              <a:gd name="connsiteX1" fmla="*/ 2340220 w 2340220"/>
              <a:gd name="connsiteY1" fmla="*/ 4784875 h 4872100"/>
              <a:gd name="connsiteX2" fmla="*/ 2235556 w 2340220"/>
              <a:gd name="connsiteY2" fmla="*/ 4841264 h 4872100"/>
              <a:gd name="connsiteX3" fmla="*/ 345602 w 2340220"/>
              <a:gd name="connsiteY3" fmla="*/ 2467520 h 4872100"/>
              <a:gd name="connsiteX4" fmla="*/ 577119 w 2340220"/>
              <a:gd name="connsiteY4" fmla="*/ 195564 h 4872100"/>
              <a:gd name="connsiteX5" fmla="*/ 2334610 w 2340220"/>
              <a:gd name="connsiteY5" fmla="*/ 1394334 h 4872100"/>
              <a:gd name="connsiteX0" fmla="*/ 2317496 w 2323106"/>
              <a:gd name="connsiteY0" fmla="*/ 1394334 h 4872100"/>
              <a:gd name="connsiteX1" fmla="*/ 2323106 w 2323106"/>
              <a:gd name="connsiteY1" fmla="*/ 4784875 h 4872100"/>
              <a:gd name="connsiteX2" fmla="*/ 2218442 w 2323106"/>
              <a:gd name="connsiteY2" fmla="*/ 4841264 h 4872100"/>
              <a:gd name="connsiteX3" fmla="*/ 328488 w 2323106"/>
              <a:gd name="connsiteY3" fmla="*/ 2467520 h 4872100"/>
              <a:gd name="connsiteX4" fmla="*/ 560005 w 2323106"/>
              <a:gd name="connsiteY4" fmla="*/ 195564 h 4872100"/>
              <a:gd name="connsiteX5" fmla="*/ 2317496 w 2323106"/>
              <a:gd name="connsiteY5" fmla="*/ 1394334 h 4872100"/>
              <a:gd name="connsiteX0" fmla="*/ 2317496 w 2323106"/>
              <a:gd name="connsiteY0" fmla="*/ 1396095 h 4873861"/>
              <a:gd name="connsiteX1" fmla="*/ 2323106 w 2323106"/>
              <a:gd name="connsiteY1" fmla="*/ 4786636 h 4873861"/>
              <a:gd name="connsiteX2" fmla="*/ 2218442 w 2323106"/>
              <a:gd name="connsiteY2" fmla="*/ 4843025 h 4873861"/>
              <a:gd name="connsiteX3" fmla="*/ 328488 w 2323106"/>
              <a:gd name="connsiteY3" fmla="*/ 2469281 h 4873861"/>
              <a:gd name="connsiteX4" fmla="*/ 560005 w 2323106"/>
              <a:gd name="connsiteY4" fmla="*/ 197325 h 4873861"/>
              <a:gd name="connsiteX5" fmla="*/ 2317496 w 2323106"/>
              <a:gd name="connsiteY5" fmla="*/ 1396095 h 4873861"/>
              <a:gd name="connsiteX0" fmla="*/ 2317496 w 2323106"/>
              <a:gd name="connsiteY0" fmla="*/ 1398561 h 4876327"/>
              <a:gd name="connsiteX1" fmla="*/ 2323106 w 2323106"/>
              <a:gd name="connsiteY1" fmla="*/ 4789102 h 4876327"/>
              <a:gd name="connsiteX2" fmla="*/ 2218442 w 2323106"/>
              <a:gd name="connsiteY2" fmla="*/ 4845491 h 4876327"/>
              <a:gd name="connsiteX3" fmla="*/ 328488 w 2323106"/>
              <a:gd name="connsiteY3" fmla="*/ 2471747 h 4876327"/>
              <a:gd name="connsiteX4" fmla="*/ 560005 w 2323106"/>
              <a:gd name="connsiteY4" fmla="*/ 199791 h 4876327"/>
              <a:gd name="connsiteX5" fmla="*/ 2317496 w 2323106"/>
              <a:gd name="connsiteY5" fmla="*/ 1398561 h 4876327"/>
              <a:gd name="connsiteX0" fmla="*/ 2317496 w 2323106"/>
              <a:gd name="connsiteY0" fmla="*/ 1389720 h 4867486"/>
              <a:gd name="connsiteX1" fmla="*/ 2323106 w 2323106"/>
              <a:gd name="connsiteY1" fmla="*/ 4780261 h 4867486"/>
              <a:gd name="connsiteX2" fmla="*/ 2218442 w 2323106"/>
              <a:gd name="connsiteY2" fmla="*/ 4836650 h 4867486"/>
              <a:gd name="connsiteX3" fmla="*/ 328488 w 2323106"/>
              <a:gd name="connsiteY3" fmla="*/ 2462906 h 4867486"/>
              <a:gd name="connsiteX4" fmla="*/ 560005 w 2323106"/>
              <a:gd name="connsiteY4" fmla="*/ 190950 h 4867486"/>
              <a:gd name="connsiteX5" fmla="*/ 2317496 w 2323106"/>
              <a:gd name="connsiteY5" fmla="*/ 1389720 h 4867486"/>
              <a:gd name="connsiteX0" fmla="*/ 2317496 w 2323106"/>
              <a:gd name="connsiteY0" fmla="*/ 1392690 h 4870456"/>
              <a:gd name="connsiteX1" fmla="*/ 2323106 w 2323106"/>
              <a:gd name="connsiteY1" fmla="*/ 4783231 h 4870456"/>
              <a:gd name="connsiteX2" fmla="*/ 2218442 w 2323106"/>
              <a:gd name="connsiteY2" fmla="*/ 4839620 h 4870456"/>
              <a:gd name="connsiteX3" fmla="*/ 328488 w 2323106"/>
              <a:gd name="connsiteY3" fmla="*/ 2465876 h 4870456"/>
              <a:gd name="connsiteX4" fmla="*/ 560005 w 2323106"/>
              <a:gd name="connsiteY4" fmla="*/ 193920 h 4870456"/>
              <a:gd name="connsiteX5" fmla="*/ 2317496 w 2323106"/>
              <a:gd name="connsiteY5" fmla="*/ 1392690 h 4870456"/>
              <a:gd name="connsiteX0" fmla="*/ 2317496 w 2323106"/>
              <a:gd name="connsiteY0" fmla="*/ 1392690 h 4870456"/>
              <a:gd name="connsiteX1" fmla="*/ 2323106 w 2323106"/>
              <a:gd name="connsiteY1" fmla="*/ 4783231 h 4870456"/>
              <a:gd name="connsiteX2" fmla="*/ 2218442 w 2323106"/>
              <a:gd name="connsiteY2" fmla="*/ 4839620 h 4870456"/>
              <a:gd name="connsiteX3" fmla="*/ 328488 w 2323106"/>
              <a:gd name="connsiteY3" fmla="*/ 2465876 h 4870456"/>
              <a:gd name="connsiteX4" fmla="*/ 560005 w 2323106"/>
              <a:gd name="connsiteY4" fmla="*/ 193920 h 4870456"/>
              <a:gd name="connsiteX5" fmla="*/ 2317496 w 2323106"/>
              <a:gd name="connsiteY5" fmla="*/ 1392690 h 4870456"/>
              <a:gd name="connsiteX0" fmla="*/ 2317496 w 2323106"/>
              <a:gd name="connsiteY0" fmla="*/ 1398024 h 4875790"/>
              <a:gd name="connsiteX1" fmla="*/ 2323106 w 2323106"/>
              <a:gd name="connsiteY1" fmla="*/ 4788565 h 4875790"/>
              <a:gd name="connsiteX2" fmla="*/ 2218442 w 2323106"/>
              <a:gd name="connsiteY2" fmla="*/ 4844954 h 4875790"/>
              <a:gd name="connsiteX3" fmla="*/ 328488 w 2323106"/>
              <a:gd name="connsiteY3" fmla="*/ 2471210 h 4875790"/>
              <a:gd name="connsiteX4" fmla="*/ 560005 w 2323106"/>
              <a:gd name="connsiteY4" fmla="*/ 199254 h 4875790"/>
              <a:gd name="connsiteX5" fmla="*/ 2317496 w 2323106"/>
              <a:gd name="connsiteY5" fmla="*/ 1398024 h 4875790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9806 h 4877572"/>
              <a:gd name="connsiteX1" fmla="*/ 2323106 w 2323106"/>
              <a:gd name="connsiteY1" fmla="*/ 4790347 h 4877572"/>
              <a:gd name="connsiteX2" fmla="*/ 2218442 w 2323106"/>
              <a:gd name="connsiteY2" fmla="*/ 4846736 h 4877572"/>
              <a:gd name="connsiteX3" fmla="*/ 328488 w 2323106"/>
              <a:gd name="connsiteY3" fmla="*/ 2472992 h 4877572"/>
              <a:gd name="connsiteX4" fmla="*/ 560005 w 2323106"/>
              <a:gd name="connsiteY4" fmla="*/ 201036 h 4877572"/>
              <a:gd name="connsiteX5" fmla="*/ 2317496 w 2323106"/>
              <a:gd name="connsiteY5" fmla="*/ 1399806 h 4877572"/>
              <a:gd name="connsiteX0" fmla="*/ 2317496 w 2323106"/>
              <a:gd name="connsiteY0" fmla="*/ 1399806 h 4877572"/>
              <a:gd name="connsiteX1" fmla="*/ 2323106 w 2323106"/>
              <a:gd name="connsiteY1" fmla="*/ 4790347 h 4877572"/>
              <a:gd name="connsiteX2" fmla="*/ 2218442 w 2323106"/>
              <a:gd name="connsiteY2" fmla="*/ 4846736 h 4877572"/>
              <a:gd name="connsiteX3" fmla="*/ 328488 w 2323106"/>
              <a:gd name="connsiteY3" fmla="*/ 2472992 h 4877572"/>
              <a:gd name="connsiteX4" fmla="*/ 560005 w 2323106"/>
              <a:gd name="connsiteY4" fmla="*/ 201036 h 4877572"/>
              <a:gd name="connsiteX5" fmla="*/ 2317496 w 2323106"/>
              <a:gd name="connsiteY5" fmla="*/ 1399806 h 4877572"/>
              <a:gd name="connsiteX0" fmla="*/ 2317496 w 2323106"/>
              <a:gd name="connsiteY0" fmla="*/ 1396245 h 4874011"/>
              <a:gd name="connsiteX1" fmla="*/ 2323106 w 2323106"/>
              <a:gd name="connsiteY1" fmla="*/ 4786786 h 4874011"/>
              <a:gd name="connsiteX2" fmla="*/ 2218442 w 2323106"/>
              <a:gd name="connsiteY2" fmla="*/ 4843175 h 4874011"/>
              <a:gd name="connsiteX3" fmla="*/ 328488 w 2323106"/>
              <a:gd name="connsiteY3" fmla="*/ 2469431 h 4874011"/>
              <a:gd name="connsiteX4" fmla="*/ 560005 w 2323106"/>
              <a:gd name="connsiteY4" fmla="*/ 197475 h 4874011"/>
              <a:gd name="connsiteX5" fmla="*/ 2317496 w 2323106"/>
              <a:gd name="connsiteY5" fmla="*/ 1396245 h 4874011"/>
              <a:gd name="connsiteX0" fmla="*/ 2317496 w 2323106"/>
              <a:gd name="connsiteY0" fmla="*/ 1399314 h 4877080"/>
              <a:gd name="connsiteX1" fmla="*/ 2323106 w 2323106"/>
              <a:gd name="connsiteY1" fmla="*/ 4789855 h 4877080"/>
              <a:gd name="connsiteX2" fmla="*/ 2218442 w 2323106"/>
              <a:gd name="connsiteY2" fmla="*/ 4846244 h 4877080"/>
              <a:gd name="connsiteX3" fmla="*/ 328488 w 2323106"/>
              <a:gd name="connsiteY3" fmla="*/ 2472500 h 4877080"/>
              <a:gd name="connsiteX4" fmla="*/ 560005 w 2323106"/>
              <a:gd name="connsiteY4" fmla="*/ 200544 h 4877080"/>
              <a:gd name="connsiteX5" fmla="*/ 2317496 w 2323106"/>
              <a:gd name="connsiteY5" fmla="*/ 1399314 h 4877080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9830 w 2323106"/>
              <a:gd name="connsiteY0" fmla="*/ 1399683 h 4868852"/>
              <a:gd name="connsiteX1" fmla="*/ 2323106 w 2323106"/>
              <a:gd name="connsiteY1" fmla="*/ 4781627 h 4868852"/>
              <a:gd name="connsiteX2" fmla="*/ 2218442 w 2323106"/>
              <a:gd name="connsiteY2" fmla="*/ 4838016 h 4868852"/>
              <a:gd name="connsiteX3" fmla="*/ 328488 w 2323106"/>
              <a:gd name="connsiteY3" fmla="*/ 2464272 h 4868852"/>
              <a:gd name="connsiteX4" fmla="*/ 560005 w 2323106"/>
              <a:gd name="connsiteY4" fmla="*/ 192316 h 4868852"/>
              <a:gd name="connsiteX5" fmla="*/ 2319830 w 2323106"/>
              <a:gd name="connsiteY5" fmla="*/ 1399683 h 4868852"/>
              <a:gd name="connsiteX0" fmla="*/ 2319830 w 2323106"/>
              <a:gd name="connsiteY0" fmla="*/ 1402669 h 4871838"/>
              <a:gd name="connsiteX1" fmla="*/ 2323106 w 2323106"/>
              <a:gd name="connsiteY1" fmla="*/ 4784613 h 4871838"/>
              <a:gd name="connsiteX2" fmla="*/ 2218442 w 2323106"/>
              <a:gd name="connsiteY2" fmla="*/ 4841002 h 4871838"/>
              <a:gd name="connsiteX3" fmla="*/ 328488 w 2323106"/>
              <a:gd name="connsiteY3" fmla="*/ 2467258 h 4871838"/>
              <a:gd name="connsiteX4" fmla="*/ 560005 w 2323106"/>
              <a:gd name="connsiteY4" fmla="*/ 195302 h 4871838"/>
              <a:gd name="connsiteX5" fmla="*/ 2319830 w 2323106"/>
              <a:gd name="connsiteY5" fmla="*/ 1402669 h 4871838"/>
              <a:gd name="connsiteX0" fmla="*/ 2319830 w 2323106"/>
              <a:gd name="connsiteY0" fmla="*/ 1403343 h 4872512"/>
              <a:gd name="connsiteX1" fmla="*/ 2323106 w 2323106"/>
              <a:gd name="connsiteY1" fmla="*/ 4785287 h 4872512"/>
              <a:gd name="connsiteX2" fmla="*/ 2218442 w 2323106"/>
              <a:gd name="connsiteY2" fmla="*/ 4841676 h 4872512"/>
              <a:gd name="connsiteX3" fmla="*/ 328488 w 2323106"/>
              <a:gd name="connsiteY3" fmla="*/ 2467932 h 4872512"/>
              <a:gd name="connsiteX4" fmla="*/ 560005 w 2323106"/>
              <a:gd name="connsiteY4" fmla="*/ 195976 h 4872512"/>
              <a:gd name="connsiteX5" fmla="*/ 2319830 w 2323106"/>
              <a:gd name="connsiteY5" fmla="*/ 1403343 h 4872512"/>
              <a:gd name="connsiteX0" fmla="*/ 2324359 w 2327635"/>
              <a:gd name="connsiteY0" fmla="*/ 1403343 h 4872512"/>
              <a:gd name="connsiteX1" fmla="*/ 2327635 w 2327635"/>
              <a:gd name="connsiteY1" fmla="*/ 4785287 h 4872512"/>
              <a:gd name="connsiteX2" fmla="*/ 2222971 w 2327635"/>
              <a:gd name="connsiteY2" fmla="*/ 4841676 h 4872512"/>
              <a:gd name="connsiteX3" fmla="*/ 333017 w 2327635"/>
              <a:gd name="connsiteY3" fmla="*/ 2467932 h 4872512"/>
              <a:gd name="connsiteX4" fmla="*/ 564534 w 2327635"/>
              <a:gd name="connsiteY4" fmla="*/ 195976 h 4872512"/>
              <a:gd name="connsiteX5" fmla="*/ 2324359 w 2327635"/>
              <a:gd name="connsiteY5" fmla="*/ 1403343 h 4872512"/>
              <a:gd name="connsiteX0" fmla="*/ 2326563 w 2458304"/>
              <a:gd name="connsiteY0" fmla="*/ 1388146 h 4857315"/>
              <a:gd name="connsiteX1" fmla="*/ 2329839 w 2458304"/>
              <a:gd name="connsiteY1" fmla="*/ 4770090 h 4857315"/>
              <a:gd name="connsiteX2" fmla="*/ 2225175 w 2458304"/>
              <a:gd name="connsiteY2" fmla="*/ 4826479 h 4857315"/>
              <a:gd name="connsiteX3" fmla="*/ 335221 w 2458304"/>
              <a:gd name="connsiteY3" fmla="*/ 2452735 h 4857315"/>
              <a:gd name="connsiteX4" fmla="*/ 562070 w 2458304"/>
              <a:gd name="connsiteY4" fmla="*/ 180779 h 4857315"/>
              <a:gd name="connsiteX5" fmla="*/ 2326563 w 2458304"/>
              <a:gd name="connsiteY5" fmla="*/ 1388146 h 4857315"/>
              <a:gd name="connsiteX0" fmla="*/ 2326563 w 2329839"/>
              <a:gd name="connsiteY0" fmla="*/ 1396124 h 4865293"/>
              <a:gd name="connsiteX1" fmla="*/ 2329839 w 2329839"/>
              <a:gd name="connsiteY1" fmla="*/ 4778068 h 4865293"/>
              <a:gd name="connsiteX2" fmla="*/ 2225175 w 2329839"/>
              <a:gd name="connsiteY2" fmla="*/ 4834457 h 4865293"/>
              <a:gd name="connsiteX3" fmla="*/ 335221 w 2329839"/>
              <a:gd name="connsiteY3" fmla="*/ 2460713 h 4865293"/>
              <a:gd name="connsiteX4" fmla="*/ 562070 w 2329839"/>
              <a:gd name="connsiteY4" fmla="*/ 188757 h 4865293"/>
              <a:gd name="connsiteX5" fmla="*/ 2326563 w 2329839"/>
              <a:gd name="connsiteY5" fmla="*/ 1396124 h 4865293"/>
              <a:gd name="connsiteX0" fmla="*/ 2326563 w 2329839"/>
              <a:gd name="connsiteY0" fmla="*/ 1394861 h 4864030"/>
              <a:gd name="connsiteX1" fmla="*/ 2329839 w 2329839"/>
              <a:gd name="connsiteY1" fmla="*/ 4776805 h 4864030"/>
              <a:gd name="connsiteX2" fmla="*/ 2225175 w 2329839"/>
              <a:gd name="connsiteY2" fmla="*/ 4833194 h 4864030"/>
              <a:gd name="connsiteX3" fmla="*/ 335221 w 2329839"/>
              <a:gd name="connsiteY3" fmla="*/ 2459450 h 4864030"/>
              <a:gd name="connsiteX4" fmla="*/ 562070 w 2329839"/>
              <a:gd name="connsiteY4" fmla="*/ 187494 h 4864030"/>
              <a:gd name="connsiteX5" fmla="*/ 2326563 w 2329839"/>
              <a:gd name="connsiteY5" fmla="*/ 1394861 h 4864030"/>
              <a:gd name="connsiteX0" fmla="*/ 2326563 w 2329839"/>
              <a:gd name="connsiteY0" fmla="*/ 1401537 h 4870706"/>
              <a:gd name="connsiteX1" fmla="*/ 2329839 w 2329839"/>
              <a:gd name="connsiteY1" fmla="*/ 4783481 h 4870706"/>
              <a:gd name="connsiteX2" fmla="*/ 2225175 w 2329839"/>
              <a:gd name="connsiteY2" fmla="*/ 4839870 h 4870706"/>
              <a:gd name="connsiteX3" fmla="*/ 335221 w 2329839"/>
              <a:gd name="connsiteY3" fmla="*/ 2466126 h 4870706"/>
              <a:gd name="connsiteX4" fmla="*/ 562070 w 2329839"/>
              <a:gd name="connsiteY4" fmla="*/ 194170 h 4870706"/>
              <a:gd name="connsiteX5" fmla="*/ 2326563 w 2329839"/>
              <a:gd name="connsiteY5" fmla="*/ 1401537 h 4870706"/>
              <a:gd name="connsiteX0" fmla="*/ 2326563 w 2329839"/>
              <a:gd name="connsiteY0" fmla="*/ 1403211 h 4872380"/>
              <a:gd name="connsiteX1" fmla="*/ 2329839 w 2329839"/>
              <a:gd name="connsiteY1" fmla="*/ 4785155 h 4872380"/>
              <a:gd name="connsiteX2" fmla="*/ 2225175 w 2329839"/>
              <a:gd name="connsiteY2" fmla="*/ 4841544 h 4872380"/>
              <a:gd name="connsiteX3" fmla="*/ 335221 w 2329839"/>
              <a:gd name="connsiteY3" fmla="*/ 2467800 h 4872380"/>
              <a:gd name="connsiteX4" fmla="*/ 562070 w 2329839"/>
              <a:gd name="connsiteY4" fmla="*/ 195844 h 4872380"/>
              <a:gd name="connsiteX5" fmla="*/ 2326563 w 2329839"/>
              <a:gd name="connsiteY5" fmla="*/ 1403211 h 4872380"/>
              <a:gd name="connsiteX0" fmla="*/ 2326563 w 2330469"/>
              <a:gd name="connsiteY0" fmla="*/ 1418627 h 4887796"/>
              <a:gd name="connsiteX1" fmla="*/ 2329839 w 2330469"/>
              <a:gd name="connsiteY1" fmla="*/ 4800571 h 4887796"/>
              <a:gd name="connsiteX2" fmla="*/ 2225175 w 2330469"/>
              <a:gd name="connsiteY2" fmla="*/ 4856960 h 4887796"/>
              <a:gd name="connsiteX3" fmla="*/ 335221 w 2330469"/>
              <a:gd name="connsiteY3" fmla="*/ 2483216 h 4887796"/>
              <a:gd name="connsiteX4" fmla="*/ 562070 w 2330469"/>
              <a:gd name="connsiteY4" fmla="*/ 211260 h 4887796"/>
              <a:gd name="connsiteX5" fmla="*/ 2326563 w 2330469"/>
              <a:gd name="connsiteY5" fmla="*/ 1418627 h 4887796"/>
              <a:gd name="connsiteX0" fmla="*/ 2326563 w 2330469"/>
              <a:gd name="connsiteY0" fmla="*/ 1403156 h 4872325"/>
              <a:gd name="connsiteX1" fmla="*/ 2329839 w 2330469"/>
              <a:gd name="connsiteY1" fmla="*/ 4785100 h 4872325"/>
              <a:gd name="connsiteX2" fmla="*/ 2225175 w 2330469"/>
              <a:gd name="connsiteY2" fmla="*/ 4841489 h 4872325"/>
              <a:gd name="connsiteX3" fmla="*/ 335221 w 2330469"/>
              <a:gd name="connsiteY3" fmla="*/ 2467745 h 4872325"/>
              <a:gd name="connsiteX4" fmla="*/ 562070 w 2330469"/>
              <a:gd name="connsiteY4" fmla="*/ 195789 h 4872325"/>
              <a:gd name="connsiteX5" fmla="*/ 2326563 w 2330469"/>
              <a:gd name="connsiteY5" fmla="*/ 1403156 h 4872325"/>
              <a:gd name="connsiteX0" fmla="*/ 2326563 w 2330469"/>
              <a:gd name="connsiteY0" fmla="*/ 1377614 h 4846783"/>
              <a:gd name="connsiteX1" fmla="*/ 2329839 w 2330469"/>
              <a:gd name="connsiteY1" fmla="*/ 4759558 h 4846783"/>
              <a:gd name="connsiteX2" fmla="*/ 2225175 w 2330469"/>
              <a:gd name="connsiteY2" fmla="*/ 4815947 h 4846783"/>
              <a:gd name="connsiteX3" fmla="*/ 335221 w 2330469"/>
              <a:gd name="connsiteY3" fmla="*/ 2442203 h 4846783"/>
              <a:gd name="connsiteX4" fmla="*/ 562070 w 2330469"/>
              <a:gd name="connsiteY4" fmla="*/ 170247 h 4846783"/>
              <a:gd name="connsiteX5" fmla="*/ 2326563 w 2330469"/>
              <a:gd name="connsiteY5" fmla="*/ 1377614 h 4846783"/>
              <a:gd name="connsiteX0" fmla="*/ 2326563 w 2330469"/>
              <a:gd name="connsiteY0" fmla="*/ 1403155 h 4872324"/>
              <a:gd name="connsiteX1" fmla="*/ 2329839 w 2330469"/>
              <a:gd name="connsiteY1" fmla="*/ 4785099 h 4872324"/>
              <a:gd name="connsiteX2" fmla="*/ 2225175 w 2330469"/>
              <a:gd name="connsiteY2" fmla="*/ 4841488 h 4872324"/>
              <a:gd name="connsiteX3" fmla="*/ 335221 w 2330469"/>
              <a:gd name="connsiteY3" fmla="*/ 2467744 h 4872324"/>
              <a:gd name="connsiteX4" fmla="*/ 562070 w 2330469"/>
              <a:gd name="connsiteY4" fmla="*/ 195788 h 4872324"/>
              <a:gd name="connsiteX5" fmla="*/ 2326563 w 2330469"/>
              <a:gd name="connsiteY5" fmla="*/ 1403155 h 4872324"/>
              <a:gd name="connsiteX0" fmla="*/ 2278081 w 2281987"/>
              <a:gd name="connsiteY0" fmla="*/ 1403155 h 4872324"/>
              <a:gd name="connsiteX1" fmla="*/ 2281357 w 2281987"/>
              <a:gd name="connsiteY1" fmla="*/ 4785099 h 4872324"/>
              <a:gd name="connsiteX2" fmla="*/ 2176693 w 2281987"/>
              <a:gd name="connsiteY2" fmla="*/ 4841488 h 4872324"/>
              <a:gd name="connsiteX3" fmla="*/ 286739 w 2281987"/>
              <a:gd name="connsiteY3" fmla="*/ 2467744 h 4872324"/>
              <a:gd name="connsiteX4" fmla="*/ 513588 w 2281987"/>
              <a:gd name="connsiteY4" fmla="*/ 195788 h 4872324"/>
              <a:gd name="connsiteX5" fmla="*/ 2278081 w 2281987"/>
              <a:gd name="connsiteY5" fmla="*/ 1403155 h 4872324"/>
              <a:gd name="connsiteX0" fmla="*/ 2321655 w 2325561"/>
              <a:gd name="connsiteY0" fmla="*/ 1403155 h 4872324"/>
              <a:gd name="connsiteX1" fmla="*/ 2324931 w 2325561"/>
              <a:gd name="connsiteY1" fmla="*/ 4785099 h 4872324"/>
              <a:gd name="connsiteX2" fmla="*/ 2220267 w 2325561"/>
              <a:gd name="connsiteY2" fmla="*/ 4841488 h 4872324"/>
              <a:gd name="connsiteX3" fmla="*/ 330313 w 2325561"/>
              <a:gd name="connsiteY3" fmla="*/ 2467744 h 4872324"/>
              <a:gd name="connsiteX4" fmla="*/ 557162 w 2325561"/>
              <a:gd name="connsiteY4" fmla="*/ 195788 h 4872324"/>
              <a:gd name="connsiteX5" fmla="*/ 2321655 w 2325561"/>
              <a:gd name="connsiteY5" fmla="*/ 1403155 h 4872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25561" h="4872324">
                <a:moveTo>
                  <a:pt x="2321655" y="1403155"/>
                </a:moveTo>
                <a:cubicBezTo>
                  <a:pt x="2327968" y="2360767"/>
                  <a:pt x="2324666" y="4001780"/>
                  <a:pt x="2324931" y="4785099"/>
                </a:cubicBezTo>
                <a:cubicBezTo>
                  <a:pt x="2321552" y="4937375"/>
                  <a:pt x="2214114" y="4844655"/>
                  <a:pt x="2220267" y="4841488"/>
                </a:cubicBezTo>
                <a:cubicBezTo>
                  <a:pt x="1934243" y="4471710"/>
                  <a:pt x="788411" y="3040549"/>
                  <a:pt x="330313" y="2467744"/>
                </a:cubicBezTo>
                <a:cubicBezTo>
                  <a:pt x="-81862" y="1937583"/>
                  <a:pt x="-211970" y="817537"/>
                  <a:pt x="557162" y="195788"/>
                </a:cubicBezTo>
                <a:cubicBezTo>
                  <a:pt x="1466748" y="-393302"/>
                  <a:pt x="2315342" y="445543"/>
                  <a:pt x="2321655" y="140315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2769091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medio corazón derech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7" name="Marcador de posición de imagen 4">
            <a:extLst>
              <a:ext uri="{FF2B5EF4-FFF2-40B4-BE49-F238E27FC236}">
                <a16:creationId xmlns:a16="http://schemas.microsoft.com/office/drawing/2014/main" id="{B8390460-7E6E-6347-83FA-B9763141497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8936042" y="265618"/>
            <a:ext cx="3270700" cy="5580814"/>
          </a:xfrm>
          <a:custGeom>
            <a:avLst/>
            <a:gdLst>
              <a:gd name="connsiteX0" fmla="*/ 2432050 w 4864100"/>
              <a:gd name="connsiteY0" fmla="*/ 1423800 h 5695200"/>
              <a:gd name="connsiteX1" fmla="*/ 2432050 w 4864100"/>
              <a:gd name="connsiteY1" fmla="*/ 5695200 h 5695200"/>
              <a:gd name="connsiteX2" fmla="*/ 2432050 w 4864100"/>
              <a:gd name="connsiteY2" fmla="*/ 1423800 h 5695200"/>
              <a:gd name="connsiteX0" fmla="*/ 2217600 w 4435199"/>
              <a:gd name="connsiteY0" fmla="*/ 632423 h 4903823"/>
              <a:gd name="connsiteX1" fmla="*/ 2217600 w 4435199"/>
              <a:gd name="connsiteY1" fmla="*/ 4903823 h 4903823"/>
              <a:gd name="connsiteX2" fmla="*/ 2217600 w 4435199"/>
              <a:gd name="connsiteY2" fmla="*/ 632423 h 4903823"/>
              <a:gd name="connsiteX0" fmla="*/ 2217600 w 2259560"/>
              <a:gd name="connsiteY0" fmla="*/ 632423 h 4903823"/>
              <a:gd name="connsiteX1" fmla="*/ 2217600 w 2259560"/>
              <a:gd name="connsiteY1" fmla="*/ 4903823 h 4903823"/>
              <a:gd name="connsiteX2" fmla="*/ 2217600 w 2259560"/>
              <a:gd name="connsiteY2" fmla="*/ 632423 h 4903823"/>
              <a:gd name="connsiteX0" fmla="*/ 2217600 w 2238943"/>
              <a:gd name="connsiteY0" fmla="*/ 632423 h 4903823"/>
              <a:gd name="connsiteX1" fmla="*/ 2217600 w 2238943"/>
              <a:gd name="connsiteY1" fmla="*/ 4903823 h 4903823"/>
              <a:gd name="connsiteX2" fmla="*/ 2217600 w 2238943"/>
              <a:gd name="connsiteY2" fmla="*/ 632423 h 4903823"/>
              <a:gd name="connsiteX0" fmla="*/ 2216202 w 2237545"/>
              <a:gd name="connsiteY0" fmla="*/ 219464 h 4495351"/>
              <a:gd name="connsiteX1" fmla="*/ 2216202 w 2237545"/>
              <a:gd name="connsiteY1" fmla="*/ 4490864 h 4495351"/>
              <a:gd name="connsiteX2" fmla="*/ 0 w 2237545"/>
              <a:gd name="connsiteY2" fmla="*/ 1021473 h 4495351"/>
              <a:gd name="connsiteX3" fmla="*/ 2216202 w 2237545"/>
              <a:gd name="connsiteY3" fmla="*/ 219464 h 4495351"/>
              <a:gd name="connsiteX0" fmla="*/ 2218054 w 2239397"/>
              <a:gd name="connsiteY0" fmla="*/ 219464 h 4872422"/>
              <a:gd name="connsiteX1" fmla="*/ 2218054 w 2239397"/>
              <a:gd name="connsiteY1" fmla="*/ 4490864 h 4872422"/>
              <a:gd name="connsiteX2" fmla="*/ 1843352 w 2239397"/>
              <a:gd name="connsiteY2" fmla="*/ 4272672 h 4872422"/>
              <a:gd name="connsiteX3" fmla="*/ 1852 w 2239397"/>
              <a:gd name="connsiteY3" fmla="*/ 1021473 h 4872422"/>
              <a:gd name="connsiteX4" fmla="*/ 2218054 w 2239397"/>
              <a:gd name="connsiteY4" fmla="*/ 219464 h 4872422"/>
              <a:gd name="connsiteX0" fmla="*/ 2303891 w 2325234"/>
              <a:gd name="connsiteY0" fmla="*/ 219464 h 4872422"/>
              <a:gd name="connsiteX1" fmla="*/ 2303891 w 2325234"/>
              <a:gd name="connsiteY1" fmla="*/ 4490864 h 4872422"/>
              <a:gd name="connsiteX2" fmla="*/ 1929189 w 2325234"/>
              <a:gd name="connsiteY2" fmla="*/ 4272672 h 4872422"/>
              <a:gd name="connsiteX3" fmla="*/ 587749 w 2325234"/>
              <a:gd name="connsiteY3" fmla="*/ 2272196 h 4872422"/>
              <a:gd name="connsiteX4" fmla="*/ 87689 w 2325234"/>
              <a:gd name="connsiteY4" fmla="*/ 1021473 h 4872422"/>
              <a:gd name="connsiteX5" fmla="*/ 2303891 w 2325234"/>
              <a:gd name="connsiteY5" fmla="*/ 219464 h 4872422"/>
              <a:gd name="connsiteX0" fmla="*/ 2303891 w 2475206"/>
              <a:gd name="connsiteY0" fmla="*/ 238803 h 5082435"/>
              <a:gd name="connsiteX1" fmla="*/ 2324987 w 2475206"/>
              <a:gd name="connsiteY1" fmla="*/ 4779604 h 5082435"/>
              <a:gd name="connsiteX2" fmla="*/ 1929189 w 2475206"/>
              <a:gd name="connsiteY2" fmla="*/ 4292011 h 5082435"/>
              <a:gd name="connsiteX3" fmla="*/ 587749 w 2475206"/>
              <a:gd name="connsiteY3" fmla="*/ 2291535 h 5082435"/>
              <a:gd name="connsiteX4" fmla="*/ 87689 w 2475206"/>
              <a:gd name="connsiteY4" fmla="*/ 1040812 h 5082435"/>
              <a:gd name="connsiteX5" fmla="*/ 2303891 w 2475206"/>
              <a:gd name="connsiteY5" fmla="*/ 238803 h 5082435"/>
              <a:gd name="connsiteX0" fmla="*/ 2303891 w 2475206"/>
              <a:gd name="connsiteY0" fmla="*/ 240665 h 5104077"/>
              <a:gd name="connsiteX1" fmla="*/ 2324987 w 2475206"/>
              <a:gd name="connsiteY1" fmla="*/ 4807370 h 5104077"/>
              <a:gd name="connsiteX2" fmla="*/ 1929189 w 2475206"/>
              <a:gd name="connsiteY2" fmla="*/ 4293873 h 5104077"/>
              <a:gd name="connsiteX3" fmla="*/ 587749 w 2475206"/>
              <a:gd name="connsiteY3" fmla="*/ 2293397 h 5104077"/>
              <a:gd name="connsiteX4" fmla="*/ 87689 w 2475206"/>
              <a:gd name="connsiteY4" fmla="*/ 1042674 h 5104077"/>
              <a:gd name="connsiteX5" fmla="*/ 2303891 w 2475206"/>
              <a:gd name="connsiteY5" fmla="*/ 240665 h 5104077"/>
              <a:gd name="connsiteX0" fmla="*/ 2303891 w 2475206"/>
              <a:gd name="connsiteY0" fmla="*/ 240665 h 4905038"/>
              <a:gd name="connsiteX1" fmla="*/ 2324987 w 2475206"/>
              <a:gd name="connsiteY1" fmla="*/ 4807370 h 4905038"/>
              <a:gd name="connsiteX2" fmla="*/ 1929189 w 2475206"/>
              <a:gd name="connsiteY2" fmla="*/ 4293873 h 4905038"/>
              <a:gd name="connsiteX3" fmla="*/ 587749 w 2475206"/>
              <a:gd name="connsiteY3" fmla="*/ 2293397 h 4905038"/>
              <a:gd name="connsiteX4" fmla="*/ 87689 w 2475206"/>
              <a:gd name="connsiteY4" fmla="*/ 1042674 h 4905038"/>
              <a:gd name="connsiteX5" fmla="*/ 2303891 w 2475206"/>
              <a:gd name="connsiteY5" fmla="*/ 240665 h 4905038"/>
              <a:gd name="connsiteX0" fmla="*/ 2303891 w 2475206"/>
              <a:gd name="connsiteY0" fmla="*/ 240665 h 5162840"/>
              <a:gd name="connsiteX1" fmla="*/ 2324987 w 2475206"/>
              <a:gd name="connsiteY1" fmla="*/ 4807370 h 5162840"/>
              <a:gd name="connsiteX2" fmla="*/ 2224542 w 2475206"/>
              <a:gd name="connsiteY2" fmla="*/ 4868940 h 5162840"/>
              <a:gd name="connsiteX3" fmla="*/ 587749 w 2475206"/>
              <a:gd name="connsiteY3" fmla="*/ 2293397 h 5162840"/>
              <a:gd name="connsiteX4" fmla="*/ 87689 w 2475206"/>
              <a:gd name="connsiteY4" fmla="*/ 1042674 h 5162840"/>
              <a:gd name="connsiteX5" fmla="*/ 2303891 w 2475206"/>
              <a:gd name="connsiteY5" fmla="*/ 240665 h 5162840"/>
              <a:gd name="connsiteX0" fmla="*/ 2303891 w 2475206"/>
              <a:gd name="connsiteY0" fmla="*/ 240665 h 4894959"/>
              <a:gd name="connsiteX1" fmla="*/ 2324987 w 2475206"/>
              <a:gd name="connsiteY1" fmla="*/ 4807370 h 4894959"/>
              <a:gd name="connsiteX2" fmla="*/ 2224542 w 2475206"/>
              <a:gd name="connsiteY2" fmla="*/ 4868940 h 4894959"/>
              <a:gd name="connsiteX3" fmla="*/ 587749 w 2475206"/>
              <a:gd name="connsiteY3" fmla="*/ 2293397 h 4894959"/>
              <a:gd name="connsiteX4" fmla="*/ 87689 w 2475206"/>
              <a:gd name="connsiteY4" fmla="*/ 1042674 h 4894959"/>
              <a:gd name="connsiteX5" fmla="*/ 2303891 w 2475206"/>
              <a:gd name="connsiteY5" fmla="*/ 240665 h 4894959"/>
              <a:gd name="connsiteX0" fmla="*/ 2303891 w 2475206"/>
              <a:gd name="connsiteY0" fmla="*/ 240665 h 4893879"/>
              <a:gd name="connsiteX1" fmla="*/ 2324987 w 2475206"/>
              <a:gd name="connsiteY1" fmla="*/ 4807370 h 4893879"/>
              <a:gd name="connsiteX2" fmla="*/ 2220323 w 2475206"/>
              <a:gd name="connsiteY2" fmla="*/ 4863759 h 4893879"/>
              <a:gd name="connsiteX3" fmla="*/ 587749 w 2475206"/>
              <a:gd name="connsiteY3" fmla="*/ 2293397 h 4893879"/>
              <a:gd name="connsiteX4" fmla="*/ 87689 w 2475206"/>
              <a:gd name="connsiteY4" fmla="*/ 1042674 h 4893879"/>
              <a:gd name="connsiteX5" fmla="*/ 2303891 w 2475206"/>
              <a:gd name="connsiteY5" fmla="*/ 240665 h 4893879"/>
              <a:gd name="connsiteX0" fmla="*/ 2303891 w 2475206"/>
              <a:gd name="connsiteY0" fmla="*/ 240665 h 4925253"/>
              <a:gd name="connsiteX1" fmla="*/ 2324987 w 2475206"/>
              <a:gd name="connsiteY1" fmla="*/ 4807370 h 4925253"/>
              <a:gd name="connsiteX2" fmla="*/ 2220323 w 2475206"/>
              <a:gd name="connsiteY2" fmla="*/ 4863759 h 4925253"/>
              <a:gd name="connsiteX3" fmla="*/ 587749 w 2475206"/>
              <a:gd name="connsiteY3" fmla="*/ 2293397 h 4925253"/>
              <a:gd name="connsiteX4" fmla="*/ 87689 w 2475206"/>
              <a:gd name="connsiteY4" fmla="*/ 1042674 h 4925253"/>
              <a:gd name="connsiteX5" fmla="*/ 2303891 w 2475206"/>
              <a:gd name="connsiteY5" fmla="*/ 240665 h 4925253"/>
              <a:gd name="connsiteX0" fmla="*/ 2303891 w 2475206"/>
              <a:gd name="connsiteY0" fmla="*/ 240665 h 4894595"/>
              <a:gd name="connsiteX1" fmla="*/ 2324987 w 2475206"/>
              <a:gd name="connsiteY1" fmla="*/ 4807370 h 4894595"/>
              <a:gd name="connsiteX2" fmla="*/ 2220323 w 2475206"/>
              <a:gd name="connsiteY2" fmla="*/ 4863759 h 4894595"/>
              <a:gd name="connsiteX3" fmla="*/ 587749 w 2475206"/>
              <a:gd name="connsiteY3" fmla="*/ 2293397 h 4894595"/>
              <a:gd name="connsiteX4" fmla="*/ 87689 w 2475206"/>
              <a:gd name="connsiteY4" fmla="*/ 1042674 h 4894595"/>
              <a:gd name="connsiteX5" fmla="*/ 2303891 w 2475206"/>
              <a:gd name="connsiteY5" fmla="*/ 240665 h 4894595"/>
              <a:gd name="connsiteX0" fmla="*/ 2348673 w 2519988"/>
              <a:gd name="connsiteY0" fmla="*/ 240665 h 4894595"/>
              <a:gd name="connsiteX1" fmla="*/ 2369769 w 2519988"/>
              <a:gd name="connsiteY1" fmla="*/ 4807370 h 4894595"/>
              <a:gd name="connsiteX2" fmla="*/ 2265105 w 2519988"/>
              <a:gd name="connsiteY2" fmla="*/ 4863759 h 4894595"/>
              <a:gd name="connsiteX3" fmla="*/ 375151 w 2519988"/>
              <a:gd name="connsiteY3" fmla="*/ 2495447 h 4894595"/>
              <a:gd name="connsiteX4" fmla="*/ 132471 w 2519988"/>
              <a:gd name="connsiteY4" fmla="*/ 1042674 h 4894595"/>
              <a:gd name="connsiteX5" fmla="*/ 2348673 w 2519988"/>
              <a:gd name="connsiteY5" fmla="*/ 240665 h 4894595"/>
              <a:gd name="connsiteX0" fmla="*/ 2348673 w 2519988"/>
              <a:gd name="connsiteY0" fmla="*/ 240665 h 4894595"/>
              <a:gd name="connsiteX1" fmla="*/ 2369769 w 2519988"/>
              <a:gd name="connsiteY1" fmla="*/ 4807370 h 4894595"/>
              <a:gd name="connsiteX2" fmla="*/ 2265105 w 2519988"/>
              <a:gd name="connsiteY2" fmla="*/ 4863759 h 4894595"/>
              <a:gd name="connsiteX3" fmla="*/ 375151 w 2519988"/>
              <a:gd name="connsiteY3" fmla="*/ 2490015 h 4894595"/>
              <a:gd name="connsiteX4" fmla="*/ 132471 w 2519988"/>
              <a:gd name="connsiteY4" fmla="*/ 1042674 h 4894595"/>
              <a:gd name="connsiteX5" fmla="*/ 2348673 w 2519988"/>
              <a:gd name="connsiteY5" fmla="*/ 240665 h 4894595"/>
              <a:gd name="connsiteX0" fmla="*/ 2421455 w 2599645"/>
              <a:gd name="connsiteY0" fmla="*/ 164761 h 4818691"/>
              <a:gd name="connsiteX1" fmla="*/ 2442551 w 2599645"/>
              <a:gd name="connsiteY1" fmla="*/ 4731466 h 4818691"/>
              <a:gd name="connsiteX2" fmla="*/ 2337887 w 2599645"/>
              <a:gd name="connsiteY2" fmla="*/ 4787855 h 4818691"/>
              <a:gd name="connsiteX3" fmla="*/ 447933 w 2599645"/>
              <a:gd name="connsiteY3" fmla="*/ 2414111 h 4818691"/>
              <a:gd name="connsiteX4" fmla="*/ 112340 w 2599645"/>
              <a:gd name="connsiteY4" fmla="*/ 1330756 h 4818691"/>
              <a:gd name="connsiteX5" fmla="*/ 2421455 w 2599645"/>
              <a:gd name="connsiteY5" fmla="*/ 164761 h 4818691"/>
              <a:gd name="connsiteX0" fmla="*/ 2416076 w 2593775"/>
              <a:gd name="connsiteY0" fmla="*/ 164295 h 4818225"/>
              <a:gd name="connsiteX1" fmla="*/ 2437172 w 2593775"/>
              <a:gd name="connsiteY1" fmla="*/ 4731000 h 4818225"/>
              <a:gd name="connsiteX2" fmla="*/ 2332508 w 2593775"/>
              <a:gd name="connsiteY2" fmla="*/ 4787389 h 4818225"/>
              <a:gd name="connsiteX3" fmla="*/ 442554 w 2593775"/>
              <a:gd name="connsiteY3" fmla="*/ 2413645 h 4818225"/>
              <a:gd name="connsiteX4" fmla="*/ 113598 w 2593775"/>
              <a:gd name="connsiteY4" fmla="*/ 1333006 h 4818225"/>
              <a:gd name="connsiteX5" fmla="*/ 2416076 w 2593775"/>
              <a:gd name="connsiteY5" fmla="*/ 164295 h 4818225"/>
              <a:gd name="connsiteX0" fmla="*/ 2059909 w 2437172"/>
              <a:gd name="connsiteY0" fmla="*/ 171220 h 4762674"/>
              <a:gd name="connsiteX1" fmla="*/ 2437172 w 2437172"/>
              <a:gd name="connsiteY1" fmla="*/ 4675449 h 4762674"/>
              <a:gd name="connsiteX2" fmla="*/ 2332508 w 2437172"/>
              <a:gd name="connsiteY2" fmla="*/ 4731838 h 4762674"/>
              <a:gd name="connsiteX3" fmla="*/ 442554 w 2437172"/>
              <a:gd name="connsiteY3" fmla="*/ 2358094 h 4762674"/>
              <a:gd name="connsiteX4" fmla="*/ 113598 w 2437172"/>
              <a:gd name="connsiteY4" fmla="*/ 1277455 h 4762674"/>
              <a:gd name="connsiteX5" fmla="*/ 2059909 w 2437172"/>
              <a:gd name="connsiteY5" fmla="*/ 171220 h 4762674"/>
              <a:gd name="connsiteX0" fmla="*/ 1757412 w 2134675"/>
              <a:gd name="connsiteY0" fmla="*/ 598810 h 5190264"/>
              <a:gd name="connsiteX1" fmla="*/ 2134675 w 2134675"/>
              <a:gd name="connsiteY1" fmla="*/ 5103039 h 5190264"/>
              <a:gd name="connsiteX2" fmla="*/ 2030011 w 2134675"/>
              <a:gd name="connsiteY2" fmla="*/ 5159428 h 5190264"/>
              <a:gd name="connsiteX3" fmla="*/ 140057 w 2134675"/>
              <a:gd name="connsiteY3" fmla="*/ 2785684 h 5190264"/>
              <a:gd name="connsiteX4" fmla="*/ 371574 w 2134675"/>
              <a:gd name="connsiteY4" fmla="*/ 511011 h 5190264"/>
              <a:gd name="connsiteX5" fmla="*/ 1757412 w 2134675"/>
              <a:gd name="connsiteY5" fmla="*/ 598810 h 5190264"/>
              <a:gd name="connsiteX0" fmla="*/ 1756869 w 2134132"/>
              <a:gd name="connsiteY0" fmla="*/ 603638 h 5195092"/>
              <a:gd name="connsiteX1" fmla="*/ 2134132 w 2134132"/>
              <a:gd name="connsiteY1" fmla="*/ 5107867 h 5195092"/>
              <a:gd name="connsiteX2" fmla="*/ 2029468 w 2134132"/>
              <a:gd name="connsiteY2" fmla="*/ 5164256 h 5195092"/>
              <a:gd name="connsiteX3" fmla="*/ 139514 w 2134132"/>
              <a:gd name="connsiteY3" fmla="*/ 2790512 h 5195092"/>
              <a:gd name="connsiteX4" fmla="*/ 373243 w 2134132"/>
              <a:gd name="connsiteY4" fmla="*/ 507691 h 5195092"/>
              <a:gd name="connsiteX5" fmla="*/ 1756869 w 2134132"/>
              <a:gd name="connsiteY5" fmla="*/ 603638 h 5195092"/>
              <a:gd name="connsiteX0" fmla="*/ 1757411 w 2134674"/>
              <a:gd name="connsiteY0" fmla="*/ 597207 h 5188661"/>
              <a:gd name="connsiteX1" fmla="*/ 2134674 w 2134674"/>
              <a:gd name="connsiteY1" fmla="*/ 5101436 h 5188661"/>
              <a:gd name="connsiteX2" fmla="*/ 2030010 w 2134674"/>
              <a:gd name="connsiteY2" fmla="*/ 5157825 h 5188661"/>
              <a:gd name="connsiteX3" fmla="*/ 140056 w 2134674"/>
              <a:gd name="connsiteY3" fmla="*/ 2784081 h 5188661"/>
              <a:gd name="connsiteX4" fmla="*/ 371573 w 2134674"/>
              <a:gd name="connsiteY4" fmla="*/ 512125 h 5188661"/>
              <a:gd name="connsiteX5" fmla="*/ 1757411 w 2134674"/>
              <a:gd name="connsiteY5" fmla="*/ 597207 h 5188661"/>
              <a:gd name="connsiteX0" fmla="*/ 2069334 w 2219253"/>
              <a:gd name="connsiteY0" fmla="*/ 1066529 h 4968040"/>
              <a:gd name="connsiteX1" fmla="*/ 2134674 w 2219253"/>
              <a:gd name="connsiteY1" fmla="*/ 4880815 h 4968040"/>
              <a:gd name="connsiteX2" fmla="*/ 2030010 w 2219253"/>
              <a:gd name="connsiteY2" fmla="*/ 4937204 h 4968040"/>
              <a:gd name="connsiteX3" fmla="*/ 140056 w 2219253"/>
              <a:gd name="connsiteY3" fmla="*/ 2563460 h 4968040"/>
              <a:gd name="connsiteX4" fmla="*/ 371573 w 2219253"/>
              <a:gd name="connsiteY4" fmla="*/ 291504 h 4968040"/>
              <a:gd name="connsiteX5" fmla="*/ 2069334 w 2219253"/>
              <a:gd name="connsiteY5" fmla="*/ 1066529 h 4968040"/>
              <a:gd name="connsiteX0" fmla="*/ 2129064 w 2261074"/>
              <a:gd name="connsiteY0" fmla="*/ 1422730 h 4900496"/>
              <a:gd name="connsiteX1" fmla="*/ 2134674 w 2261074"/>
              <a:gd name="connsiteY1" fmla="*/ 4813271 h 4900496"/>
              <a:gd name="connsiteX2" fmla="*/ 2030010 w 2261074"/>
              <a:gd name="connsiteY2" fmla="*/ 4869660 h 4900496"/>
              <a:gd name="connsiteX3" fmla="*/ 140056 w 2261074"/>
              <a:gd name="connsiteY3" fmla="*/ 2495916 h 4900496"/>
              <a:gd name="connsiteX4" fmla="*/ 371573 w 2261074"/>
              <a:gd name="connsiteY4" fmla="*/ 223960 h 4900496"/>
              <a:gd name="connsiteX5" fmla="*/ 2129064 w 2261074"/>
              <a:gd name="connsiteY5" fmla="*/ 1422730 h 4900496"/>
              <a:gd name="connsiteX0" fmla="*/ 2129064 w 2134674"/>
              <a:gd name="connsiteY0" fmla="*/ 1426308 h 4904074"/>
              <a:gd name="connsiteX1" fmla="*/ 2134674 w 2134674"/>
              <a:gd name="connsiteY1" fmla="*/ 4816849 h 4904074"/>
              <a:gd name="connsiteX2" fmla="*/ 2030010 w 2134674"/>
              <a:gd name="connsiteY2" fmla="*/ 4873238 h 4904074"/>
              <a:gd name="connsiteX3" fmla="*/ 140056 w 2134674"/>
              <a:gd name="connsiteY3" fmla="*/ 2499494 h 4904074"/>
              <a:gd name="connsiteX4" fmla="*/ 371573 w 2134674"/>
              <a:gd name="connsiteY4" fmla="*/ 227538 h 4904074"/>
              <a:gd name="connsiteX5" fmla="*/ 2129064 w 2134674"/>
              <a:gd name="connsiteY5" fmla="*/ 1426308 h 4904074"/>
              <a:gd name="connsiteX0" fmla="*/ 2129064 w 2134674"/>
              <a:gd name="connsiteY0" fmla="*/ 1426308 h 4904074"/>
              <a:gd name="connsiteX1" fmla="*/ 2134674 w 2134674"/>
              <a:gd name="connsiteY1" fmla="*/ 4816849 h 4904074"/>
              <a:gd name="connsiteX2" fmla="*/ 2030010 w 2134674"/>
              <a:gd name="connsiteY2" fmla="*/ 4873238 h 4904074"/>
              <a:gd name="connsiteX3" fmla="*/ 140056 w 2134674"/>
              <a:gd name="connsiteY3" fmla="*/ 2499494 h 4904074"/>
              <a:gd name="connsiteX4" fmla="*/ 371573 w 2134674"/>
              <a:gd name="connsiteY4" fmla="*/ 227538 h 4904074"/>
              <a:gd name="connsiteX5" fmla="*/ 2129064 w 2134674"/>
              <a:gd name="connsiteY5" fmla="*/ 1426308 h 4904074"/>
              <a:gd name="connsiteX0" fmla="*/ 2129064 w 2134674"/>
              <a:gd name="connsiteY0" fmla="*/ 1394334 h 4872100"/>
              <a:gd name="connsiteX1" fmla="*/ 2134674 w 2134674"/>
              <a:gd name="connsiteY1" fmla="*/ 4784875 h 4872100"/>
              <a:gd name="connsiteX2" fmla="*/ 2030010 w 2134674"/>
              <a:gd name="connsiteY2" fmla="*/ 4841264 h 4872100"/>
              <a:gd name="connsiteX3" fmla="*/ 140056 w 2134674"/>
              <a:gd name="connsiteY3" fmla="*/ 2467520 h 4872100"/>
              <a:gd name="connsiteX4" fmla="*/ 371573 w 2134674"/>
              <a:gd name="connsiteY4" fmla="*/ 195564 h 4872100"/>
              <a:gd name="connsiteX5" fmla="*/ 2129064 w 2134674"/>
              <a:gd name="connsiteY5" fmla="*/ 1394334 h 4872100"/>
              <a:gd name="connsiteX0" fmla="*/ 2299717 w 2305327"/>
              <a:gd name="connsiteY0" fmla="*/ 1394334 h 4872100"/>
              <a:gd name="connsiteX1" fmla="*/ 2305327 w 2305327"/>
              <a:gd name="connsiteY1" fmla="*/ 4784875 h 4872100"/>
              <a:gd name="connsiteX2" fmla="*/ 2200663 w 2305327"/>
              <a:gd name="connsiteY2" fmla="*/ 4841264 h 4872100"/>
              <a:gd name="connsiteX3" fmla="*/ 310709 w 2305327"/>
              <a:gd name="connsiteY3" fmla="*/ 2467520 h 4872100"/>
              <a:gd name="connsiteX4" fmla="*/ 542226 w 2305327"/>
              <a:gd name="connsiteY4" fmla="*/ 195564 h 4872100"/>
              <a:gd name="connsiteX5" fmla="*/ 2299717 w 2305327"/>
              <a:gd name="connsiteY5" fmla="*/ 1394334 h 4872100"/>
              <a:gd name="connsiteX0" fmla="*/ 2308970 w 2314580"/>
              <a:gd name="connsiteY0" fmla="*/ 1394334 h 4872100"/>
              <a:gd name="connsiteX1" fmla="*/ 2314580 w 2314580"/>
              <a:gd name="connsiteY1" fmla="*/ 4784875 h 4872100"/>
              <a:gd name="connsiteX2" fmla="*/ 2209916 w 2314580"/>
              <a:gd name="connsiteY2" fmla="*/ 4841264 h 4872100"/>
              <a:gd name="connsiteX3" fmla="*/ 319962 w 2314580"/>
              <a:gd name="connsiteY3" fmla="*/ 2467520 h 4872100"/>
              <a:gd name="connsiteX4" fmla="*/ 551479 w 2314580"/>
              <a:gd name="connsiteY4" fmla="*/ 195564 h 4872100"/>
              <a:gd name="connsiteX5" fmla="*/ 2308970 w 2314580"/>
              <a:gd name="connsiteY5" fmla="*/ 1394334 h 4872100"/>
              <a:gd name="connsiteX0" fmla="*/ 2334610 w 2340220"/>
              <a:gd name="connsiteY0" fmla="*/ 1394334 h 4872100"/>
              <a:gd name="connsiteX1" fmla="*/ 2340220 w 2340220"/>
              <a:gd name="connsiteY1" fmla="*/ 4784875 h 4872100"/>
              <a:gd name="connsiteX2" fmla="*/ 2235556 w 2340220"/>
              <a:gd name="connsiteY2" fmla="*/ 4841264 h 4872100"/>
              <a:gd name="connsiteX3" fmla="*/ 345602 w 2340220"/>
              <a:gd name="connsiteY3" fmla="*/ 2467520 h 4872100"/>
              <a:gd name="connsiteX4" fmla="*/ 577119 w 2340220"/>
              <a:gd name="connsiteY4" fmla="*/ 195564 h 4872100"/>
              <a:gd name="connsiteX5" fmla="*/ 2334610 w 2340220"/>
              <a:gd name="connsiteY5" fmla="*/ 1394334 h 4872100"/>
              <a:gd name="connsiteX0" fmla="*/ 2317496 w 2323106"/>
              <a:gd name="connsiteY0" fmla="*/ 1394334 h 4872100"/>
              <a:gd name="connsiteX1" fmla="*/ 2323106 w 2323106"/>
              <a:gd name="connsiteY1" fmla="*/ 4784875 h 4872100"/>
              <a:gd name="connsiteX2" fmla="*/ 2218442 w 2323106"/>
              <a:gd name="connsiteY2" fmla="*/ 4841264 h 4872100"/>
              <a:gd name="connsiteX3" fmla="*/ 328488 w 2323106"/>
              <a:gd name="connsiteY3" fmla="*/ 2467520 h 4872100"/>
              <a:gd name="connsiteX4" fmla="*/ 560005 w 2323106"/>
              <a:gd name="connsiteY4" fmla="*/ 195564 h 4872100"/>
              <a:gd name="connsiteX5" fmla="*/ 2317496 w 2323106"/>
              <a:gd name="connsiteY5" fmla="*/ 1394334 h 4872100"/>
              <a:gd name="connsiteX0" fmla="*/ 2317496 w 2323106"/>
              <a:gd name="connsiteY0" fmla="*/ 1396095 h 4873861"/>
              <a:gd name="connsiteX1" fmla="*/ 2323106 w 2323106"/>
              <a:gd name="connsiteY1" fmla="*/ 4786636 h 4873861"/>
              <a:gd name="connsiteX2" fmla="*/ 2218442 w 2323106"/>
              <a:gd name="connsiteY2" fmla="*/ 4843025 h 4873861"/>
              <a:gd name="connsiteX3" fmla="*/ 328488 w 2323106"/>
              <a:gd name="connsiteY3" fmla="*/ 2469281 h 4873861"/>
              <a:gd name="connsiteX4" fmla="*/ 560005 w 2323106"/>
              <a:gd name="connsiteY4" fmla="*/ 197325 h 4873861"/>
              <a:gd name="connsiteX5" fmla="*/ 2317496 w 2323106"/>
              <a:gd name="connsiteY5" fmla="*/ 1396095 h 4873861"/>
              <a:gd name="connsiteX0" fmla="*/ 2317496 w 2323106"/>
              <a:gd name="connsiteY0" fmla="*/ 1398561 h 4876327"/>
              <a:gd name="connsiteX1" fmla="*/ 2323106 w 2323106"/>
              <a:gd name="connsiteY1" fmla="*/ 4789102 h 4876327"/>
              <a:gd name="connsiteX2" fmla="*/ 2218442 w 2323106"/>
              <a:gd name="connsiteY2" fmla="*/ 4845491 h 4876327"/>
              <a:gd name="connsiteX3" fmla="*/ 328488 w 2323106"/>
              <a:gd name="connsiteY3" fmla="*/ 2471747 h 4876327"/>
              <a:gd name="connsiteX4" fmla="*/ 560005 w 2323106"/>
              <a:gd name="connsiteY4" fmla="*/ 199791 h 4876327"/>
              <a:gd name="connsiteX5" fmla="*/ 2317496 w 2323106"/>
              <a:gd name="connsiteY5" fmla="*/ 1398561 h 4876327"/>
              <a:gd name="connsiteX0" fmla="*/ 2317496 w 2323106"/>
              <a:gd name="connsiteY0" fmla="*/ 1389720 h 4867486"/>
              <a:gd name="connsiteX1" fmla="*/ 2323106 w 2323106"/>
              <a:gd name="connsiteY1" fmla="*/ 4780261 h 4867486"/>
              <a:gd name="connsiteX2" fmla="*/ 2218442 w 2323106"/>
              <a:gd name="connsiteY2" fmla="*/ 4836650 h 4867486"/>
              <a:gd name="connsiteX3" fmla="*/ 328488 w 2323106"/>
              <a:gd name="connsiteY3" fmla="*/ 2462906 h 4867486"/>
              <a:gd name="connsiteX4" fmla="*/ 560005 w 2323106"/>
              <a:gd name="connsiteY4" fmla="*/ 190950 h 4867486"/>
              <a:gd name="connsiteX5" fmla="*/ 2317496 w 2323106"/>
              <a:gd name="connsiteY5" fmla="*/ 1389720 h 4867486"/>
              <a:gd name="connsiteX0" fmla="*/ 2317496 w 2323106"/>
              <a:gd name="connsiteY0" fmla="*/ 1392690 h 4870456"/>
              <a:gd name="connsiteX1" fmla="*/ 2323106 w 2323106"/>
              <a:gd name="connsiteY1" fmla="*/ 4783231 h 4870456"/>
              <a:gd name="connsiteX2" fmla="*/ 2218442 w 2323106"/>
              <a:gd name="connsiteY2" fmla="*/ 4839620 h 4870456"/>
              <a:gd name="connsiteX3" fmla="*/ 328488 w 2323106"/>
              <a:gd name="connsiteY3" fmla="*/ 2465876 h 4870456"/>
              <a:gd name="connsiteX4" fmla="*/ 560005 w 2323106"/>
              <a:gd name="connsiteY4" fmla="*/ 193920 h 4870456"/>
              <a:gd name="connsiteX5" fmla="*/ 2317496 w 2323106"/>
              <a:gd name="connsiteY5" fmla="*/ 1392690 h 4870456"/>
              <a:gd name="connsiteX0" fmla="*/ 2317496 w 2323106"/>
              <a:gd name="connsiteY0" fmla="*/ 1392690 h 4870456"/>
              <a:gd name="connsiteX1" fmla="*/ 2323106 w 2323106"/>
              <a:gd name="connsiteY1" fmla="*/ 4783231 h 4870456"/>
              <a:gd name="connsiteX2" fmla="*/ 2218442 w 2323106"/>
              <a:gd name="connsiteY2" fmla="*/ 4839620 h 4870456"/>
              <a:gd name="connsiteX3" fmla="*/ 328488 w 2323106"/>
              <a:gd name="connsiteY3" fmla="*/ 2465876 h 4870456"/>
              <a:gd name="connsiteX4" fmla="*/ 560005 w 2323106"/>
              <a:gd name="connsiteY4" fmla="*/ 193920 h 4870456"/>
              <a:gd name="connsiteX5" fmla="*/ 2317496 w 2323106"/>
              <a:gd name="connsiteY5" fmla="*/ 1392690 h 4870456"/>
              <a:gd name="connsiteX0" fmla="*/ 2317496 w 2323106"/>
              <a:gd name="connsiteY0" fmla="*/ 1398024 h 4875790"/>
              <a:gd name="connsiteX1" fmla="*/ 2323106 w 2323106"/>
              <a:gd name="connsiteY1" fmla="*/ 4788565 h 4875790"/>
              <a:gd name="connsiteX2" fmla="*/ 2218442 w 2323106"/>
              <a:gd name="connsiteY2" fmla="*/ 4844954 h 4875790"/>
              <a:gd name="connsiteX3" fmla="*/ 328488 w 2323106"/>
              <a:gd name="connsiteY3" fmla="*/ 2471210 h 4875790"/>
              <a:gd name="connsiteX4" fmla="*/ 560005 w 2323106"/>
              <a:gd name="connsiteY4" fmla="*/ 199254 h 4875790"/>
              <a:gd name="connsiteX5" fmla="*/ 2317496 w 2323106"/>
              <a:gd name="connsiteY5" fmla="*/ 1398024 h 4875790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9806 h 4877572"/>
              <a:gd name="connsiteX1" fmla="*/ 2323106 w 2323106"/>
              <a:gd name="connsiteY1" fmla="*/ 4790347 h 4877572"/>
              <a:gd name="connsiteX2" fmla="*/ 2218442 w 2323106"/>
              <a:gd name="connsiteY2" fmla="*/ 4846736 h 4877572"/>
              <a:gd name="connsiteX3" fmla="*/ 328488 w 2323106"/>
              <a:gd name="connsiteY3" fmla="*/ 2472992 h 4877572"/>
              <a:gd name="connsiteX4" fmla="*/ 560005 w 2323106"/>
              <a:gd name="connsiteY4" fmla="*/ 201036 h 4877572"/>
              <a:gd name="connsiteX5" fmla="*/ 2317496 w 2323106"/>
              <a:gd name="connsiteY5" fmla="*/ 1399806 h 4877572"/>
              <a:gd name="connsiteX0" fmla="*/ 2317496 w 2323106"/>
              <a:gd name="connsiteY0" fmla="*/ 1399806 h 4877572"/>
              <a:gd name="connsiteX1" fmla="*/ 2323106 w 2323106"/>
              <a:gd name="connsiteY1" fmla="*/ 4790347 h 4877572"/>
              <a:gd name="connsiteX2" fmla="*/ 2218442 w 2323106"/>
              <a:gd name="connsiteY2" fmla="*/ 4846736 h 4877572"/>
              <a:gd name="connsiteX3" fmla="*/ 328488 w 2323106"/>
              <a:gd name="connsiteY3" fmla="*/ 2472992 h 4877572"/>
              <a:gd name="connsiteX4" fmla="*/ 560005 w 2323106"/>
              <a:gd name="connsiteY4" fmla="*/ 201036 h 4877572"/>
              <a:gd name="connsiteX5" fmla="*/ 2317496 w 2323106"/>
              <a:gd name="connsiteY5" fmla="*/ 1399806 h 4877572"/>
              <a:gd name="connsiteX0" fmla="*/ 2317496 w 2323106"/>
              <a:gd name="connsiteY0" fmla="*/ 1396245 h 4874011"/>
              <a:gd name="connsiteX1" fmla="*/ 2323106 w 2323106"/>
              <a:gd name="connsiteY1" fmla="*/ 4786786 h 4874011"/>
              <a:gd name="connsiteX2" fmla="*/ 2218442 w 2323106"/>
              <a:gd name="connsiteY2" fmla="*/ 4843175 h 4874011"/>
              <a:gd name="connsiteX3" fmla="*/ 328488 w 2323106"/>
              <a:gd name="connsiteY3" fmla="*/ 2469431 h 4874011"/>
              <a:gd name="connsiteX4" fmla="*/ 560005 w 2323106"/>
              <a:gd name="connsiteY4" fmla="*/ 197475 h 4874011"/>
              <a:gd name="connsiteX5" fmla="*/ 2317496 w 2323106"/>
              <a:gd name="connsiteY5" fmla="*/ 1396245 h 4874011"/>
              <a:gd name="connsiteX0" fmla="*/ 2317496 w 2323106"/>
              <a:gd name="connsiteY0" fmla="*/ 1399314 h 4877080"/>
              <a:gd name="connsiteX1" fmla="*/ 2323106 w 2323106"/>
              <a:gd name="connsiteY1" fmla="*/ 4789855 h 4877080"/>
              <a:gd name="connsiteX2" fmla="*/ 2218442 w 2323106"/>
              <a:gd name="connsiteY2" fmla="*/ 4846244 h 4877080"/>
              <a:gd name="connsiteX3" fmla="*/ 328488 w 2323106"/>
              <a:gd name="connsiteY3" fmla="*/ 2472500 h 4877080"/>
              <a:gd name="connsiteX4" fmla="*/ 560005 w 2323106"/>
              <a:gd name="connsiteY4" fmla="*/ 200544 h 4877080"/>
              <a:gd name="connsiteX5" fmla="*/ 2317496 w 2323106"/>
              <a:gd name="connsiteY5" fmla="*/ 1399314 h 4877080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9830 w 2323106"/>
              <a:gd name="connsiteY0" fmla="*/ 1399683 h 4868852"/>
              <a:gd name="connsiteX1" fmla="*/ 2323106 w 2323106"/>
              <a:gd name="connsiteY1" fmla="*/ 4781627 h 4868852"/>
              <a:gd name="connsiteX2" fmla="*/ 2218442 w 2323106"/>
              <a:gd name="connsiteY2" fmla="*/ 4838016 h 4868852"/>
              <a:gd name="connsiteX3" fmla="*/ 328488 w 2323106"/>
              <a:gd name="connsiteY3" fmla="*/ 2464272 h 4868852"/>
              <a:gd name="connsiteX4" fmla="*/ 560005 w 2323106"/>
              <a:gd name="connsiteY4" fmla="*/ 192316 h 4868852"/>
              <a:gd name="connsiteX5" fmla="*/ 2319830 w 2323106"/>
              <a:gd name="connsiteY5" fmla="*/ 1399683 h 4868852"/>
              <a:gd name="connsiteX0" fmla="*/ 2319830 w 2323106"/>
              <a:gd name="connsiteY0" fmla="*/ 1402669 h 4871838"/>
              <a:gd name="connsiteX1" fmla="*/ 2323106 w 2323106"/>
              <a:gd name="connsiteY1" fmla="*/ 4784613 h 4871838"/>
              <a:gd name="connsiteX2" fmla="*/ 2218442 w 2323106"/>
              <a:gd name="connsiteY2" fmla="*/ 4841002 h 4871838"/>
              <a:gd name="connsiteX3" fmla="*/ 328488 w 2323106"/>
              <a:gd name="connsiteY3" fmla="*/ 2467258 h 4871838"/>
              <a:gd name="connsiteX4" fmla="*/ 560005 w 2323106"/>
              <a:gd name="connsiteY4" fmla="*/ 195302 h 4871838"/>
              <a:gd name="connsiteX5" fmla="*/ 2319830 w 2323106"/>
              <a:gd name="connsiteY5" fmla="*/ 1402669 h 4871838"/>
              <a:gd name="connsiteX0" fmla="*/ 2319830 w 2323106"/>
              <a:gd name="connsiteY0" fmla="*/ 1403343 h 4872512"/>
              <a:gd name="connsiteX1" fmla="*/ 2323106 w 2323106"/>
              <a:gd name="connsiteY1" fmla="*/ 4785287 h 4872512"/>
              <a:gd name="connsiteX2" fmla="*/ 2218442 w 2323106"/>
              <a:gd name="connsiteY2" fmla="*/ 4841676 h 4872512"/>
              <a:gd name="connsiteX3" fmla="*/ 328488 w 2323106"/>
              <a:gd name="connsiteY3" fmla="*/ 2467932 h 4872512"/>
              <a:gd name="connsiteX4" fmla="*/ 560005 w 2323106"/>
              <a:gd name="connsiteY4" fmla="*/ 195976 h 4872512"/>
              <a:gd name="connsiteX5" fmla="*/ 2319830 w 2323106"/>
              <a:gd name="connsiteY5" fmla="*/ 1403343 h 4872512"/>
              <a:gd name="connsiteX0" fmla="*/ 2324359 w 2327635"/>
              <a:gd name="connsiteY0" fmla="*/ 1403343 h 4872512"/>
              <a:gd name="connsiteX1" fmla="*/ 2327635 w 2327635"/>
              <a:gd name="connsiteY1" fmla="*/ 4785287 h 4872512"/>
              <a:gd name="connsiteX2" fmla="*/ 2222971 w 2327635"/>
              <a:gd name="connsiteY2" fmla="*/ 4841676 h 4872512"/>
              <a:gd name="connsiteX3" fmla="*/ 333017 w 2327635"/>
              <a:gd name="connsiteY3" fmla="*/ 2467932 h 4872512"/>
              <a:gd name="connsiteX4" fmla="*/ 564534 w 2327635"/>
              <a:gd name="connsiteY4" fmla="*/ 195976 h 4872512"/>
              <a:gd name="connsiteX5" fmla="*/ 2324359 w 2327635"/>
              <a:gd name="connsiteY5" fmla="*/ 1403343 h 4872512"/>
              <a:gd name="connsiteX0" fmla="*/ 2326563 w 2458304"/>
              <a:gd name="connsiteY0" fmla="*/ 1388146 h 4857315"/>
              <a:gd name="connsiteX1" fmla="*/ 2329839 w 2458304"/>
              <a:gd name="connsiteY1" fmla="*/ 4770090 h 4857315"/>
              <a:gd name="connsiteX2" fmla="*/ 2225175 w 2458304"/>
              <a:gd name="connsiteY2" fmla="*/ 4826479 h 4857315"/>
              <a:gd name="connsiteX3" fmla="*/ 335221 w 2458304"/>
              <a:gd name="connsiteY3" fmla="*/ 2452735 h 4857315"/>
              <a:gd name="connsiteX4" fmla="*/ 562070 w 2458304"/>
              <a:gd name="connsiteY4" fmla="*/ 180779 h 4857315"/>
              <a:gd name="connsiteX5" fmla="*/ 2326563 w 2458304"/>
              <a:gd name="connsiteY5" fmla="*/ 1388146 h 4857315"/>
              <a:gd name="connsiteX0" fmla="*/ 2326563 w 2329839"/>
              <a:gd name="connsiteY0" fmla="*/ 1396124 h 4865293"/>
              <a:gd name="connsiteX1" fmla="*/ 2329839 w 2329839"/>
              <a:gd name="connsiteY1" fmla="*/ 4778068 h 4865293"/>
              <a:gd name="connsiteX2" fmla="*/ 2225175 w 2329839"/>
              <a:gd name="connsiteY2" fmla="*/ 4834457 h 4865293"/>
              <a:gd name="connsiteX3" fmla="*/ 335221 w 2329839"/>
              <a:gd name="connsiteY3" fmla="*/ 2460713 h 4865293"/>
              <a:gd name="connsiteX4" fmla="*/ 562070 w 2329839"/>
              <a:gd name="connsiteY4" fmla="*/ 188757 h 4865293"/>
              <a:gd name="connsiteX5" fmla="*/ 2326563 w 2329839"/>
              <a:gd name="connsiteY5" fmla="*/ 1396124 h 4865293"/>
              <a:gd name="connsiteX0" fmla="*/ 2326563 w 2329839"/>
              <a:gd name="connsiteY0" fmla="*/ 1394861 h 4864030"/>
              <a:gd name="connsiteX1" fmla="*/ 2329839 w 2329839"/>
              <a:gd name="connsiteY1" fmla="*/ 4776805 h 4864030"/>
              <a:gd name="connsiteX2" fmla="*/ 2225175 w 2329839"/>
              <a:gd name="connsiteY2" fmla="*/ 4833194 h 4864030"/>
              <a:gd name="connsiteX3" fmla="*/ 335221 w 2329839"/>
              <a:gd name="connsiteY3" fmla="*/ 2459450 h 4864030"/>
              <a:gd name="connsiteX4" fmla="*/ 562070 w 2329839"/>
              <a:gd name="connsiteY4" fmla="*/ 187494 h 4864030"/>
              <a:gd name="connsiteX5" fmla="*/ 2326563 w 2329839"/>
              <a:gd name="connsiteY5" fmla="*/ 1394861 h 4864030"/>
              <a:gd name="connsiteX0" fmla="*/ 2326563 w 2329839"/>
              <a:gd name="connsiteY0" fmla="*/ 1401537 h 4870706"/>
              <a:gd name="connsiteX1" fmla="*/ 2329839 w 2329839"/>
              <a:gd name="connsiteY1" fmla="*/ 4783481 h 4870706"/>
              <a:gd name="connsiteX2" fmla="*/ 2225175 w 2329839"/>
              <a:gd name="connsiteY2" fmla="*/ 4839870 h 4870706"/>
              <a:gd name="connsiteX3" fmla="*/ 335221 w 2329839"/>
              <a:gd name="connsiteY3" fmla="*/ 2466126 h 4870706"/>
              <a:gd name="connsiteX4" fmla="*/ 562070 w 2329839"/>
              <a:gd name="connsiteY4" fmla="*/ 194170 h 4870706"/>
              <a:gd name="connsiteX5" fmla="*/ 2326563 w 2329839"/>
              <a:gd name="connsiteY5" fmla="*/ 1401537 h 4870706"/>
              <a:gd name="connsiteX0" fmla="*/ 2326563 w 2329839"/>
              <a:gd name="connsiteY0" fmla="*/ 1403211 h 4872380"/>
              <a:gd name="connsiteX1" fmla="*/ 2329839 w 2329839"/>
              <a:gd name="connsiteY1" fmla="*/ 4785155 h 4872380"/>
              <a:gd name="connsiteX2" fmla="*/ 2225175 w 2329839"/>
              <a:gd name="connsiteY2" fmla="*/ 4841544 h 4872380"/>
              <a:gd name="connsiteX3" fmla="*/ 335221 w 2329839"/>
              <a:gd name="connsiteY3" fmla="*/ 2467800 h 4872380"/>
              <a:gd name="connsiteX4" fmla="*/ 562070 w 2329839"/>
              <a:gd name="connsiteY4" fmla="*/ 195844 h 4872380"/>
              <a:gd name="connsiteX5" fmla="*/ 2326563 w 2329839"/>
              <a:gd name="connsiteY5" fmla="*/ 1403211 h 4872380"/>
              <a:gd name="connsiteX0" fmla="*/ 2326563 w 2330469"/>
              <a:gd name="connsiteY0" fmla="*/ 1418627 h 4887796"/>
              <a:gd name="connsiteX1" fmla="*/ 2329839 w 2330469"/>
              <a:gd name="connsiteY1" fmla="*/ 4800571 h 4887796"/>
              <a:gd name="connsiteX2" fmla="*/ 2225175 w 2330469"/>
              <a:gd name="connsiteY2" fmla="*/ 4856960 h 4887796"/>
              <a:gd name="connsiteX3" fmla="*/ 335221 w 2330469"/>
              <a:gd name="connsiteY3" fmla="*/ 2483216 h 4887796"/>
              <a:gd name="connsiteX4" fmla="*/ 562070 w 2330469"/>
              <a:gd name="connsiteY4" fmla="*/ 211260 h 4887796"/>
              <a:gd name="connsiteX5" fmla="*/ 2326563 w 2330469"/>
              <a:gd name="connsiteY5" fmla="*/ 1418627 h 4887796"/>
              <a:gd name="connsiteX0" fmla="*/ 2326563 w 2330469"/>
              <a:gd name="connsiteY0" fmla="*/ 1403156 h 4872325"/>
              <a:gd name="connsiteX1" fmla="*/ 2329839 w 2330469"/>
              <a:gd name="connsiteY1" fmla="*/ 4785100 h 4872325"/>
              <a:gd name="connsiteX2" fmla="*/ 2225175 w 2330469"/>
              <a:gd name="connsiteY2" fmla="*/ 4841489 h 4872325"/>
              <a:gd name="connsiteX3" fmla="*/ 335221 w 2330469"/>
              <a:gd name="connsiteY3" fmla="*/ 2467745 h 4872325"/>
              <a:gd name="connsiteX4" fmla="*/ 562070 w 2330469"/>
              <a:gd name="connsiteY4" fmla="*/ 195789 h 4872325"/>
              <a:gd name="connsiteX5" fmla="*/ 2326563 w 2330469"/>
              <a:gd name="connsiteY5" fmla="*/ 1403156 h 4872325"/>
              <a:gd name="connsiteX0" fmla="*/ 2326563 w 2330469"/>
              <a:gd name="connsiteY0" fmla="*/ 1377614 h 4846783"/>
              <a:gd name="connsiteX1" fmla="*/ 2329839 w 2330469"/>
              <a:gd name="connsiteY1" fmla="*/ 4759558 h 4846783"/>
              <a:gd name="connsiteX2" fmla="*/ 2225175 w 2330469"/>
              <a:gd name="connsiteY2" fmla="*/ 4815947 h 4846783"/>
              <a:gd name="connsiteX3" fmla="*/ 335221 w 2330469"/>
              <a:gd name="connsiteY3" fmla="*/ 2442203 h 4846783"/>
              <a:gd name="connsiteX4" fmla="*/ 562070 w 2330469"/>
              <a:gd name="connsiteY4" fmla="*/ 170247 h 4846783"/>
              <a:gd name="connsiteX5" fmla="*/ 2326563 w 2330469"/>
              <a:gd name="connsiteY5" fmla="*/ 1377614 h 4846783"/>
              <a:gd name="connsiteX0" fmla="*/ 2326563 w 2330469"/>
              <a:gd name="connsiteY0" fmla="*/ 1403155 h 4872324"/>
              <a:gd name="connsiteX1" fmla="*/ 2329839 w 2330469"/>
              <a:gd name="connsiteY1" fmla="*/ 4785099 h 4872324"/>
              <a:gd name="connsiteX2" fmla="*/ 2225175 w 2330469"/>
              <a:gd name="connsiteY2" fmla="*/ 4841488 h 4872324"/>
              <a:gd name="connsiteX3" fmla="*/ 335221 w 2330469"/>
              <a:gd name="connsiteY3" fmla="*/ 2467744 h 4872324"/>
              <a:gd name="connsiteX4" fmla="*/ 562070 w 2330469"/>
              <a:gd name="connsiteY4" fmla="*/ 195788 h 4872324"/>
              <a:gd name="connsiteX5" fmla="*/ 2326563 w 2330469"/>
              <a:gd name="connsiteY5" fmla="*/ 1403155 h 4872324"/>
              <a:gd name="connsiteX0" fmla="*/ 2278081 w 2281987"/>
              <a:gd name="connsiteY0" fmla="*/ 1403155 h 4872324"/>
              <a:gd name="connsiteX1" fmla="*/ 2281357 w 2281987"/>
              <a:gd name="connsiteY1" fmla="*/ 4785099 h 4872324"/>
              <a:gd name="connsiteX2" fmla="*/ 2176693 w 2281987"/>
              <a:gd name="connsiteY2" fmla="*/ 4841488 h 4872324"/>
              <a:gd name="connsiteX3" fmla="*/ 286739 w 2281987"/>
              <a:gd name="connsiteY3" fmla="*/ 2467744 h 4872324"/>
              <a:gd name="connsiteX4" fmla="*/ 513588 w 2281987"/>
              <a:gd name="connsiteY4" fmla="*/ 195788 h 4872324"/>
              <a:gd name="connsiteX5" fmla="*/ 2278081 w 2281987"/>
              <a:gd name="connsiteY5" fmla="*/ 1403155 h 4872324"/>
              <a:gd name="connsiteX0" fmla="*/ 2321655 w 2325561"/>
              <a:gd name="connsiteY0" fmla="*/ 1403155 h 4872324"/>
              <a:gd name="connsiteX1" fmla="*/ 2324931 w 2325561"/>
              <a:gd name="connsiteY1" fmla="*/ 4785099 h 4872324"/>
              <a:gd name="connsiteX2" fmla="*/ 2220267 w 2325561"/>
              <a:gd name="connsiteY2" fmla="*/ 4841488 h 4872324"/>
              <a:gd name="connsiteX3" fmla="*/ 330313 w 2325561"/>
              <a:gd name="connsiteY3" fmla="*/ 2467744 h 4872324"/>
              <a:gd name="connsiteX4" fmla="*/ 557162 w 2325561"/>
              <a:gd name="connsiteY4" fmla="*/ 195788 h 4872324"/>
              <a:gd name="connsiteX5" fmla="*/ 2321655 w 2325561"/>
              <a:gd name="connsiteY5" fmla="*/ 1403155 h 4872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25561" h="4872324">
                <a:moveTo>
                  <a:pt x="2321655" y="1403155"/>
                </a:moveTo>
                <a:cubicBezTo>
                  <a:pt x="2327968" y="2360767"/>
                  <a:pt x="2324666" y="4001780"/>
                  <a:pt x="2324931" y="4785099"/>
                </a:cubicBezTo>
                <a:cubicBezTo>
                  <a:pt x="2321552" y="4937375"/>
                  <a:pt x="2214114" y="4844655"/>
                  <a:pt x="2220267" y="4841488"/>
                </a:cubicBezTo>
                <a:cubicBezTo>
                  <a:pt x="1934243" y="4471710"/>
                  <a:pt x="788411" y="3040549"/>
                  <a:pt x="330313" y="2467744"/>
                </a:cubicBezTo>
                <a:cubicBezTo>
                  <a:pt x="-81862" y="1937583"/>
                  <a:pt x="-211970" y="817537"/>
                  <a:pt x="557162" y="195788"/>
                </a:cubicBezTo>
                <a:cubicBezTo>
                  <a:pt x="1466748" y="-393302"/>
                  <a:pt x="2315342" y="445543"/>
                  <a:pt x="2321655" y="140315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8245117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9">
            <a:extLst>
              <a:ext uri="{FF2B5EF4-FFF2-40B4-BE49-F238E27FC236}">
                <a16:creationId xmlns:a16="http://schemas.microsoft.com/office/drawing/2014/main" id="{B0156EF2-2A03-D547-9693-9E9F2B2ADFC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447"/>
            <a:ext cx="12190412" cy="6857107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-1" y="800708"/>
            <a:ext cx="6185427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TitelPlaz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79552" y="1232756"/>
            <a:ext cx="5435634" cy="229202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>
                <a:solidFill>
                  <a:schemeClr val="accent1"/>
                </a:solidFill>
              </a:defRPr>
            </a:lvl1pPr>
          </a:lstStyle>
          <a:p>
            <a:r>
              <a:rPr lang="en-US" noProof="1"/>
              <a:t>Título de presentación</a:t>
            </a:r>
          </a:p>
        </p:txBody>
      </p:sp>
      <p:sp>
        <p:nvSpPr>
          <p:cNvPr id="33" name="Textplatzhalter 40">
            <a:extLst>
              <a:ext uri="{FF2B5EF4-FFF2-40B4-BE49-F238E27FC236}">
                <a16:creationId xmlns:a16="http://schemas.microsoft.com/office/drawing/2014/main" id="{09A8024D-EF3F-7D43-995A-BBC0C2832D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1423" y="3597413"/>
            <a:ext cx="5443762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600" b="1">
                <a:solidFill>
                  <a:schemeClr val="accent6">
                    <a:lumMod val="7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" noProof="1"/>
              <a:t>Responsable</a:t>
            </a:r>
            <a:endParaRPr lang="es-AR" noProof="1"/>
          </a:p>
        </p:txBody>
      </p:sp>
      <p:sp>
        <p:nvSpPr>
          <p:cNvPr id="35" name="Textplatzhalter 40">
            <a:extLst>
              <a:ext uri="{FF2B5EF4-FFF2-40B4-BE49-F238E27FC236}">
                <a16:creationId xmlns:a16="http://schemas.microsoft.com/office/drawing/2014/main" id="{CAB3680F-95E8-BD4A-AA4B-4220B2B279F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1423" y="4103187"/>
            <a:ext cx="5443762" cy="43313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400" b="0">
                <a:solidFill>
                  <a:schemeClr val="accent6">
                    <a:lumMod val="7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" noProof="1"/>
              <a:t>Cargo</a:t>
            </a:r>
            <a:endParaRPr lang="es-AR" noProof="1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7137912A-42AE-4F38-BD0F-B7F89104FFE1}"/>
              </a:ext>
            </a:extLst>
          </p:cNvPr>
          <p:cNvGrpSpPr/>
          <p:nvPr/>
        </p:nvGrpSpPr>
        <p:grpSpPr>
          <a:xfrm>
            <a:off x="-8991" y="4687321"/>
            <a:ext cx="6194418" cy="1080000"/>
            <a:chOff x="-8991" y="4687321"/>
            <a:chExt cx="6194418" cy="1080000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C622B6B7-93D8-429A-857C-8366FC4A34C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8991" y="4687321"/>
              <a:ext cx="6194418" cy="10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B4F8C86B-0CE3-46DA-87BF-F661EA2941D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02171" y="4950638"/>
              <a:ext cx="1619425" cy="58672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07212433"/>
      </p:ext>
    </p:extLst>
  </p:cSld>
  <p:clrMapOvr>
    <a:masterClrMapping/>
  </p:clrMapOvr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medio corazón derecha 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6D24B11F-6872-4949-8B59-2F334A6C83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032" y="5994110"/>
            <a:ext cx="3512082" cy="709633"/>
          </a:xfrm>
          <a:prstGeom prst="rect">
            <a:avLst/>
          </a:prstGeom>
        </p:spPr>
      </p:pic>
      <p:sp>
        <p:nvSpPr>
          <p:cNvPr id="6" name="Marcador de posición de imagen 4">
            <a:extLst>
              <a:ext uri="{FF2B5EF4-FFF2-40B4-BE49-F238E27FC236}">
                <a16:creationId xmlns:a16="http://schemas.microsoft.com/office/drawing/2014/main" id="{1ACA5E36-F92C-D74D-93AC-57F29C4378F7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8936042" y="265618"/>
            <a:ext cx="3270700" cy="5580814"/>
          </a:xfrm>
          <a:custGeom>
            <a:avLst/>
            <a:gdLst>
              <a:gd name="connsiteX0" fmla="*/ 2432050 w 4864100"/>
              <a:gd name="connsiteY0" fmla="*/ 1423800 h 5695200"/>
              <a:gd name="connsiteX1" fmla="*/ 2432050 w 4864100"/>
              <a:gd name="connsiteY1" fmla="*/ 5695200 h 5695200"/>
              <a:gd name="connsiteX2" fmla="*/ 2432050 w 4864100"/>
              <a:gd name="connsiteY2" fmla="*/ 1423800 h 5695200"/>
              <a:gd name="connsiteX0" fmla="*/ 2217600 w 4435199"/>
              <a:gd name="connsiteY0" fmla="*/ 632423 h 4903823"/>
              <a:gd name="connsiteX1" fmla="*/ 2217600 w 4435199"/>
              <a:gd name="connsiteY1" fmla="*/ 4903823 h 4903823"/>
              <a:gd name="connsiteX2" fmla="*/ 2217600 w 4435199"/>
              <a:gd name="connsiteY2" fmla="*/ 632423 h 4903823"/>
              <a:gd name="connsiteX0" fmla="*/ 2217600 w 2259560"/>
              <a:gd name="connsiteY0" fmla="*/ 632423 h 4903823"/>
              <a:gd name="connsiteX1" fmla="*/ 2217600 w 2259560"/>
              <a:gd name="connsiteY1" fmla="*/ 4903823 h 4903823"/>
              <a:gd name="connsiteX2" fmla="*/ 2217600 w 2259560"/>
              <a:gd name="connsiteY2" fmla="*/ 632423 h 4903823"/>
              <a:gd name="connsiteX0" fmla="*/ 2217600 w 2238943"/>
              <a:gd name="connsiteY0" fmla="*/ 632423 h 4903823"/>
              <a:gd name="connsiteX1" fmla="*/ 2217600 w 2238943"/>
              <a:gd name="connsiteY1" fmla="*/ 4903823 h 4903823"/>
              <a:gd name="connsiteX2" fmla="*/ 2217600 w 2238943"/>
              <a:gd name="connsiteY2" fmla="*/ 632423 h 4903823"/>
              <a:gd name="connsiteX0" fmla="*/ 2216202 w 2237545"/>
              <a:gd name="connsiteY0" fmla="*/ 219464 h 4495351"/>
              <a:gd name="connsiteX1" fmla="*/ 2216202 w 2237545"/>
              <a:gd name="connsiteY1" fmla="*/ 4490864 h 4495351"/>
              <a:gd name="connsiteX2" fmla="*/ 0 w 2237545"/>
              <a:gd name="connsiteY2" fmla="*/ 1021473 h 4495351"/>
              <a:gd name="connsiteX3" fmla="*/ 2216202 w 2237545"/>
              <a:gd name="connsiteY3" fmla="*/ 219464 h 4495351"/>
              <a:gd name="connsiteX0" fmla="*/ 2218054 w 2239397"/>
              <a:gd name="connsiteY0" fmla="*/ 219464 h 4872422"/>
              <a:gd name="connsiteX1" fmla="*/ 2218054 w 2239397"/>
              <a:gd name="connsiteY1" fmla="*/ 4490864 h 4872422"/>
              <a:gd name="connsiteX2" fmla="*/ 1843352 w 2239397"/>
              <a:gd name="connsiteY2" fmla="*/ 4272672 h 4872422"/>
              <a:gd name="connsiteX3" fmla="*/ 1852 w 2239397"/>
              <a:gd name="connsiteY3" fmla="*/ 1021473 h 4872422"/>
              <a:gd name="connsiteX4" fmla="*/ 2218054 w 2239397"/>
              <a:gd name="connsiteY4" fmla="*/ 219464 h 4872422"/>
              <a:gd name="connsiteX0" fmla="*/ 2303891 w 2325234"/>
              <a:gd name="connsiteY0" fmla="*/ 219464 h 4872422"/>
              <a:gd name="connsiteX1" fmla="*/ 2303891 w 2325234"/>
              <a:gd name="connsiteY1" fmla="*/ 4490864 h 4872422"/>
              <a:gd name="connsiteX2" fmla="*/ 1929189 w 2325234"/>
              <a:gd name="connsiteY2" fmla="*/ 4272672 h 4872422"/>
              <a:gd name="connsiteX3" fmla="*/ 587749 w 2325234"/>
              <a:gd name="connsiteY3" fmla="*/ 2272196 h 4872422"/>
              <a:gd name="connsiteX4" fmla="*/ 87689 w 2325234"/>
              <a:gd name="connsiteY4" fmla="*/ 1021473 h 4872422"/>
              <a:gd name="connsiteX5" fmla="*/ 2303891 w 2325234"/>
              <a:gd name="connsiteY5" fmla="*/ 219464 h 4872422"/>
              <a:gd name="connsiteX0" fmla="*/ 2303891 w 2475206"/>
              <a:gd name="connsiteY0" fmla="*/ 238803 h 5082435"/>
              <a:gd name="connsiteX1" fmla="*/ 2324987 w 2475206"/>
              <a:gd name="connsiteY1" fmla="*/ 4779604 h 5082435"/>
              <a:gd name="connsiteX2" fmla="*/ 1929189 w 2475206"/>
              <a:gd name="connsiteY2" fmla="*/ 4292011 h 5082435"/>
              <a:gd name="connsiteX3" fmla="*/ 587749 w 2475206"/>
              <a:gd name="connsiteY3" fmla="*/ 2291535 h 5082435"/>
              <a:gd name="connsiteX4" fmla="*/ 87689 w 2475206"/>
              <a:gd name="connsiteY4" fmla="*/ 1040812 h 5082435"/>
              <a:gd name="connsiteX5" fmla="*/ 2303891 w 2475206"/>
              <a:gd name="connsiteY5" fmla="*/ 238803 h 5082435"/>
              <a:gd name="connsiteX0" fmla="*/ 2303891 w 2475206"/>
              <a:gd name="connsiteY0" fmla="*/ 240665 h 5104077"/>
              <a:gd name="connsiteX1" fmla="*/ 2324987 w 2475206"/>
              <a:gd name="connsiteY1" fmla="*/ 4807370 h 5104077"/>
              <a:gd name="connsiteX2" fmla="*/ 1929189 w 2475206"/>
              <a:gd name="connsiteY2" fmla="*/ 4293873 h 5104077"/>
              <a:gd name="connsiteX3" fmla="*/ 587749 w 2475206"/>
              <a:gd name="connsiteY3" fmla="*/ 2293397 h 5104077"/>
              <a:gd name="connsiteX4" fmla="*/ 87689 w 2475206"/>
              <a:gd name="connsiteY4" fmla="*/ 1042674 h 5104077"/>
              <a:gd name="connsiteX5" fmla="*/ 2303891 w 2475206"/>
              <a:gd name="connsiteY5" fmla="*/ 240665 h 5104077"/>
              <a:gd name="connsiteX0" fmla="*/ 2303891 w 2475206"/>
              <a:gd name="connsiteY0" fmla="*/ 240665 h 4905038"/>
              <a:gd name="connsiteX1" fmla="*/ 2324987 w 2475206"/>
              <a:gd name="connsiteY1" fmla="*/ 4807370 h 4905038"/>
              <a:gd name="connsiteX2" fmla="*/ 1929189 w 2475206"/>
              <a:gd name="connsiteY2" fmla="*/ 4293873 h 4905038"/>
              <a:gd name="connsiteX3" fmla="*/ 587749 w 2475206"/>
              <a:gd name="connsiteY3" fmla="*/ 2293397 h 4905038"/>
              <a:gd name="connsiteX4" fmla="*/ 87689 w 2475206"/>
              <a:gd name="connsiteY4" fmla="*/ 1042674 h 4905038"/>
              <a:gd name="connsiteX5" fmla="*/ 2303891 w 2475206"/>
              <a:gd name="connsiteY5" fmla="*/ 240665 h 4905038"/>
              <a:gd name="connsiteX0" fmla="*/ 2303891 w 2475206"/>
              <a:gd name="connsiteY0" fmla="*/ 240665 h 5162840"/>
              <a:gd name="connsiteX1" fmla="*/ 2324987 w 2475206"/>
              <a:gd name="connsiteY1" fmla="*/ 4807370 h 5162840"/>
              <a:gd name="connsiteX2" fmla="*/ 2224542 w 2475206"/>
              <a:gd name="connsiteY2" fmla="*/ 4868940 h 5162840"/>
              <a:gd name="connsiteX3" fmla="*/ 587749 w 2475206"/>
              <a:gd name="connsiteY3" fmla="*/ 2293397 h 5162840"/>
              <a:gd name="connsiteX4" fmla="*/ 87689 w 2475206"/>
              <a:gd name="connsiteY4" fmla="*/ 1042674 h 5162840"/>
              <a:gd name="connsiteX5" fmla="*/ 2303891 w 2475206"/>
              <a:gd name="connsiteY5" fmla="*/ 240665 h 5162840"/>
              <a:gd name="connsiteX0" fmla="*/ 2303891 w 2475206"/>
              <a:gd name="connsiteY0" fmla="*/ 240665 h 4894959"/>
              <a:gd name="connsiteX1" fmla="*/ 2324987 w 2475206"/>
              <a:gd name="connsiteY1" fmla="*/ 4807370 h 4894959"/>
              <a:gd name="connsiteX2" fmla="*/ 2224542 w 2475206"/>
              <a:gd name="connsiteY2" fmla="*/ 4868940 h 4894959"/>
              <a:gd name="connsiteX3" fmla="*/ 587749 w 2475206"/>
              <a:gd name="connsiteY3" fmla="*/ 2293397 h 4894959"/>
              <a:gd name="connsiteX4" fmla="*/ 87689 w 2475206"/>
              <a:gd name="connsiteY4" fmla="*/ 1042674 h 4894959"/>
              <a:gd name="connsiteX5" fmla="*/ 2303891 w 2475206"/>
              <a:gd name="connsiteY5" fmla="*/ 240665 h 4894959"/>
              <a:gd name="connsiteX0" fmla="*/ 2303891 w 2475206"/>
              <a:gd name="connsiteY0" fmla="*/ 240665 h 4893879"/>
              <a:gd name="connsiteX1" fmla="*/ 2324987 w 2475206"/>
              <a:gd name="connsiteY1" fmla="*/ 4807370 h 4893879"/>
              <a:gd name="connsiteX2" fmla="*/ 2220323 w 2475206"/>
              <a:gd name="connsiteY2" fmla="*/ 4863759 h 4893879"/>
              <a:gd name="connsiteX3" fmla="*/ 587749 w 2475206"/>
              <a:gd name="connsiteY3" fmla="*/ 2293397 h 4893879"/>
              <a:gd name="connsiteX4" fmla="*/ 87689 w 2475206"/>
              <a:gd name="connsiteY4" fmla="*/ 1042674 h 4893879"/>
              <a:gd name="connsiteX5" fmla="*/ 2303891 w 2475206"/>
              <a:gd name="connsiteY5" fmla="*/ 240665 h 4893879"/>
              <a:gd name="connsiteX0" fmla="*/ 2303891 w 2475206"/>
              <a:gd name="connsiteY0" fmla="*/ 240665 h 4925253"/>
              <a:gd name="connsiteX1" fmla="*/ 2324987 w 2475206"/>
              <a:gd name="connsiteY1" fmla="*/ 4807370 h 4925253"/>
              <a:gd name="connsiteX2" fmla="*/ 2220323 w 2475206"/>
              <a:gd name="connsiteY2" fmla="*/ 4863759 h 4925253"/>
              <a:gd name="connsiteX3" fmla="*/ 587749 w 2475206"/>
              <a:gd name="connsiteY3" fmla="*/ 2293397 h 4925253"/>
              <a:gd name="connsiteX4" fmla="*/ 87689 w 2475206"/>
              <a:gd name="connsiteY4" fmla="*/ 1042674 h 4925253"/>
              <a:gd name="connsiteX5" fmla="*/ 2303891 w 2475206"/>
              <a:gd name="connsiteY5" fmla="*/ 240665 h 4925253"/>
              <a:gd name="connsiteX0" fmla="*/ 2303891 w 2475206"/>
              <a:gd name="connsiteY0" fmla="*/ 240665 h 4894595"/>
              <a:gd name="connsiteX1" fmla="*/ 2324987 w 2475206"/>
              <a:gd name="connsiteY1" fmla="*/ 4807370 h 4894595"/>
              <a:gd name="connsiteX2" fmla="*/ 2220323 w 2475206"/>
              <a:gd name="connsiteY2" fmla="*/ 4863759 h 4894595"/>
              <a:gd name="connsiteX3" fmla="*/ 587749 w 2475206"/>
              <a:gd name="connsiteY3" fmla="*/ 2293397 h 4894595"/>
              <a:gd name="connsiteX4" fmla="*/ 87689 w 2475206"/>
              <a:gd name="connsiteY4" fmla="*/ 1042674 h 4894595"/>
              <a:gd name="connsiteX5" fmla="*/ 2303891 w 2475206"/>
              <a:gd name="connsiteY5" fmla="*/ 240665 h 4894595"/>
              <a:gd name="connsiteX0" fmla="*/ 2348673 w 2519988"/>
              <a:gd name="connsiteY0" fmla="*/ 240665 h 4894595"/>
              <a:gd name="connsiteX1" fmla="*/ 2369769 w 2519988"/>
              <a:gd name="connsiteY1" fmla="*/ 4807370 h 4894595"/>
              <a:gd name="connsiteX2" fmla="*/ 2265105 w 2519988"/>
              <a:gd name="connsiteY2" fmla="*/ 4863759 h 4894595"/>
              <a:gd name="connsiteX3" fmla="*/ 375151 w 2519988"/>
              <a:gd name="connsiteY3" fmla="*/ 2495447 h 4894595"/>
              <a:gd name="connsiteX4" fmla="*/ 132471 w 2519988"/>
              <a:gd name="connsiteY4" fmla="*/ 1042674 h 4894595"/>
              <a:gd name="connsiteX5" fmla="*/ 2348673 w 2519988"/>
              <a:gd name="connsiteY5" fmla="*/ 240665 h 4894595"/>
              <a:gd name="connsiteX0" fmla="*/ 2348673 w 2519988"/>
              <a:gd name="connsiteY0" fmla="*/ 240665 h 4894595"/>
              <a:gd name="connsiteX1" fmla="*/ 2369769 w 2519988"/>
              <a:gd name="connsiteY1" fmla="*/ 4807370 h 4894595"/>
              <a:gd name="connsiteX2" fmla="*/ 2265105 w 2519988"/>
              <a:gd name="connsiteY2" fmla="*/ 4863759 h 4894595"/>
              <a:gd name="connsiteX3" fmla="*/ 375151 w 2519988"/>
              <a:gd name="connsiteY3" fmla="*/ 2490015 h 4894595"/>
              <a:gd name="connsiteX4" fmla="*/ 132471 w 2519988"/>
              <a:gd name="connsiteY4" fmla="*/ 1042674 h 4894595"/>
              <a:gd name="connsiteX5" fmla="*/ 2348673 w 2519988"/>
              <a:gd name="connsiteY5" fmla="*/ 240665 h 4894595"/>
              <a:gd name="connsiteX0" fmla="*/ 2421455 w 2599645"/>
              <a:gd name="connsiteY0" fmla="*/ 164761 h 4818691"/>
              <a:gd name="connsiteX1" fmla="*/ 2442551 w 2599645"/>
              <a:gd name="connsiteY1" fmla="*/ 4731466 h 4818691"/>
              <a:gd name="connsiteX2" fmla="*/ 2337887 w 2599645"/>
              <a:gd name="connsiteY2" fmla="*/ 4787855 h 4818691"/>
              <a:gd name="connsiteX3" fmla="*/ 447933 w 2599645"/>
              <a:gd name="connsiteY3" fmla="*/ 2414111 h 4818691"/>
              <a:gd name="connsiteX4" fmla="*/ 112340 w 2599645"/>
              <a:gd name="connsiteY4" fmla="*/ 1330756 h 4818691"/>
              <a:gd name="connsiteX5" fmla="*/ 2421455 w 2599645"/>
              <a:gd name="connsiteY5" fmla="*/ 164761 h 4818691"/>
              <a:gd name="connsiteX0" fmla="*/ 2416076 w 2593775"/>
              <a:gd name="connsiteY0" fmla="*/ 164295 h 4818225"/>
              <a:gd name="connsiteX1" fmla="*/ 2437172 w 2593775"/>
              <a:gd name="connsiteY1" fmla="*/ 4731000 h 4818225"/>
              <a:gd name="connsiteX2" fmla="*/ 2332508 w 2593775"/>
              <a:gd name="connsiteY2" fmla="*/ 4787389 h 4818225"/>
              <a:gd name="connsiteX3" fmla="*/ 442554 w 2593775"/>
              <a:gd name="connsiteY3" fmla="*/ 2413645 h 4818225"/>
              <a:gd name="connsiteX4" fmla="*/ 113598 w 2593775"/>
              <a:gd name="connsiteY4" fmla="*/ 1333006 h 4818225"/>
              <a:gd name="connsiteX5" fmla="*/ 2416076 w 2593775"/>
              <a:gd name="connsiteY5" fmla="*/ 164295 h 4818225"/>
              <a:gd name="connsiteX0" fmla="*/ 2059909 w 2437172"/>
              <a:gd name="connsiteY0" fmla="*/ 171220 h 4762674"/>
              <a:gd name="connsiteX1" fmla="*/ 2437172 w 2437172"/>
              <a:gd name="connsiteY1" fmla="*/ 4675449 h 4762674"/>
              <a:gd name="connsiteX2" fmla="*/ 2332508 w 2437172"/>
              <a:gd name="connsiteY2" fmla="*/ 4731838 h 4762674"/>
              <a:gd name="connsiteX3" fmla="*/ 442554 w 2437172"/>
              <a:gd name="connsiteY3" fmla="*/ 2358094 h 4762674"/>
              <a:gd name="connsiteX4" fmla="*/ 113598 w 2437172"/>
              <a:gd name="connsiteY4" fmla="*/ 1277455 h 4762674"/>
              <a:gd name="connsiteX5" fmla="*/ 2059909 w 2437172"/>
              <a:gd name="connsiteY5" fmla="*/ 171220 h 4762674"/>
              <a:gd name="connsiteX0" fmla="*/ 1757412 w 2134675"/>
              <a:gd name="connsiteY0" fmla="*/ 598810 h 5190264"/>
              <a:gd name="connsiteX1" fmla="*/ 2134675 w 2134675"/>
              <a:gd name="connsiteY1" fmla="*/ 5103039 h 5190264"/>
              <a:gd name="connsiteX2" fmla="*/ 2030011 w 2134675"/>
              <a:gd name="connsiteY2" fmla="*/ 5159428 h 5190264"/>
              <a:gd name="connsiteX3" fmla="*/ 140057 w 2134675"/>
              <a:gd name="connsiteY3" fmla="*/ 2785684 h 5190264"/>
              <a:gd name="connsiteX4" fmla="*/ 371574 w 2134675"/>
              <a:gd name="connsiteY4" fmla="*/ 511011 h 5190264"/>
              <a:gd name="connsiteX5" fmla="*/ 1757412 w 2134675"/>
              <a:gd name="connsiteY5" fmla="*/ 598810 h 5190264"/>
              <a:gd name="connsiteX0" fmla="*/ 1756869 w 2134132"/>
              <a:gd name="connsiteY0" fmla="*/ 603638 h 5195092"/>
              <a:gd name="connsiteX1" fmla="*/ 2134132 w 2134132"/>
              <a:gd name="connsiteY1" fmla="*/ 5107867 h 5195092"/>
              <a:gd name="connsiteX2" fmla="*/ 2029468 w 2134132"/>
              <a:gd name="connsiteY2" fmla="*/ 5164256 h 5195092"/>
              <a:gd name="connsiteX3" fmla="*/ 139514 w 2134132"/>
              <a:gd name="connsiteY3" fmla="*/ 2790512 h 5195092"/>
              <a:gd name="connsiteX4" fmla="*/ 373243 w 2134132"/>
              <a:gd name="connsiteY4" fmla="*/ 507691 h 5195092"/>
              <a:gd name="connsiteX5" fmla="*/ 1756869 w 2134132"/>
              <a:gd name="connsiteY5" fmla="*/ 603638 h 5195092"/>
              <a:gd name="connsiteX0" fmla="*/ 1757411 w 2134674"/>
              <a:gd name="connsiteY0" fmla="*/ 597207 h 5188661"/>
              <a:gd name="connsiteX1" fmla="*/ 2134674 w 2134674"/>
              <a:gd name="connsiteY1" fmla="*/ 5101436 h 5188661"/>
              <a:gd name="connsiteX2" fmla="*/ 2030010 w 2134674"/>
              <a:gd name="connsiteY2" fmla="*/ 5157825 h 5188661"/>
              <a:gd name="connsiteX3" fmla="*/ 140056 w 2134674"/>
              <a:gd name="connsiteY3" fmla="*/ 2784081 h 5188661"/>
              <a:gd name="connsiteX4" fmla="*/ 371573 w 2134674"/>
              <a:gd name="connsiteY4" fmla="*/ 512125 h 5188661"/>
              <a:gd name="connsiteX5" fmla="*/ 1757411 w 2134674"/>
              <a:gd name="connsiteY5" fmla="*/ 597207 h 5188661"/>
              <a:gd name="connsiteX0" fmla="*/ 2069334 w 2219253"/>
              <a:gd name="connsiteY0" fmla="*/ 1066529 h 4968040"/>
              <a:gd name="connsiteX1" fmla="*/ 2134674 w 2219253"/>
              <a:gd name="connsiteY1" fmla="*/ 4880815 h 4968040"/>
              <a:gd name="connsiteX2" fmla="*/ 2030010 w 2219253"/>
              <a:gd name="connsiteY2" fmla="*/ 4937204 h 4968040"/>
              <a:gd name="connsiteX3" fmla="*/ 140056 w 2219253"/>
              <a:gd name="connsiteY3" fmla="*/ 2563460 h 4968040"/>
              <a:gd name="connsiteX4" fmla="*/ 371573 w 2219253"/>
              <a:gd name="connsiteY4" fmla="*/ 291504 h 4968040"/>
              <a:gd name="connsiteX5" fmla="*/ 2069334 w 2219253"/>
              <a:gd name="connsiteY5" fmla="*/ 1066529 h 4968040"/>
              <a:gd name="connsiteX0" fmla="*/ 2129064 w 2261074"/>
              <a:gd name="connsiteY0" fmla="*/ 1422730 h 4900496"/>
              <a:gd name="connsiteX1" fmla="*/ 2134674 w 2261074"/>
              <a:gd name="connsiteY1" fmla="*/ 4813271 h 4900496"/>
              <a:gd name="connsiteX2" fmla="*/ 2030010 w 2261074"/>
              <a:gd name="connsiteY2" fmla="*/ 4869660 h 4900496"/>
              <a:gd name="connsiteX3" fmla="*/ 140056 w 2261074"/>
              <a:gd name="connsiteY3" fmla="*/ 2495916 h 4900496"/>
              <a:gd name="connsiteX4" fmla="*/ 371573 w 2261074"/>
              <a:gd name="connsiteY4" fmla="*/ 223960 h 4900496"/>
              <a:gd name="connsiteX5" fmla="*/ 2129064 w 2261074"/>
              <a:gd name="connsiteY5" fmla="*/ 1422730 h 4900496"/>
              <a:gd name="connsiteX0" fmla="*/ 2129064 w 2134674"/>
              <a:gd name="connsiteY0" fmla="*/ 1426308 h 4904074"/>
              <a:gd name="connsiteX1" fmla="*/ 2134674 w 2134674"/>
              <a:gd name="connsiteY1" fmla="*/ 4816849 h 4904074"/>
              <a:gd name="connsiteX2" fmla="*/ 2030010 w 2134674"/>
              <a:gd name="connsiteY2" fmla="*/ 4873238 h 4904074"/>
              <a:gd name="connsiteX3" fmla="*/ 140056 w 2134674"/>
              <a:gd name="connsiteY3" fmla="*/ 2499494 h 4904074"/>
              <a:gd name="connsiteX4" fmla="*/ 371573 w 2134674"/>
              <a:gd name="connsiteY4" fmla="*/ 227538 h 4904074"/>
              <a:gd name="connsiteX5" fmla="*/ 2129064 w 2134674"/>
              <a:gd name="connsiteY5" fmla="*/ 1426308 h 4904074"/>
              <a:gd name="connsiteX0" fmla="*/ 2129064 w 2134674"/>
              <a:gd name="connsiteY0" fmla="*/ 1426308 h 4904074"/>
              <a:gd name="connsiteX1" fmla="*/ 2134674 w 2134674"/>
              <a:gd name="connsiteY1" fmla="*/ 4816849 h 4904074"/>
              <a:gd name="connsiteX2" fmla="*/ 2030010 w 2134674"/>
              <a:gd name="connsiteY2" fmla="*/ 4873238 h 4904074"/>
              <a:gd name="connsiteX3" fmla="*/ 140056 w 2134674"/>
              <a:gd name="connsiteY3" fmla="*/ 2499494 h 4904074"/>
              <a:gd name="connsiteX4" fmla="*/ 371573 w 2134674"/>
              <a:gd name="connsiteY4" fmla="*/ 227538 h 4904074"/>
              <a:gd name="connsiteX5" fmla="*/ 2129064 w 2134674"/>
              <a:gd name="connsiteY5" fmla="*/ 1426308 h 4904074"/>
              <a:gd name="connsiteX0" fmla="*/ 2129064 w 2134674"/>
              <a:gd name="connsiteY0" fmla="*/ 1394334 h 4872100"/>
              <a:gd name="connsiteX1" fmla="*/ 2134674 w 2134674"/>
              <a:gd name="connsiteY1" fmla="*/ 4784875 h 4872100"/>
              <a:gd name="connsiteX2" fmla="*/ 2030010 w 2134674"/>
              <a:gd name="connsiteY2" fmla="*/ 4841264 h 4872100"/>
              <a:gd name="connsiteX3" fmla="*/ 140056 w 2134674"/>
              <a:gd name="connsiteY3" fmla="*/ 2467520 h 4872100"/>
              <a:gd name="connsiteX4" fmla="*/ 371573 w 2134674"/>
              <a:gd name="connsiteY4" fmla="*/ 195564 h 4872100"/>
              <a:gd name="connsiteX5" fmla="*/ 2129064 w 2134674"/>
              <a:gd name="connsiteY5" fmla="*/ 1394334 h 4872100"/>
              <a:gd name="connsiteX0" fmla="*/ 2299717 w 2305327"/>
              <a:gd name="connsiteY0" fmla="*/ 1394334 h 4872100"/>
              <a:gd name="connsiteX1" fmla="*/ 2305327 w 2305327"/>
              <a:gd name="connsiteY1" fmla="*/ 4784875 h 4872100"/>
              <a:gd name="connsiteX2" fmla="*/ 2200663 w 2305327"/>
              <a:gd name="connsiteY2" fmla="*/ 4841264 h 4872100"/>
              <a:gd name="connsiteX3" fmla="*/ 310709 w 2305327"/>
              <a:gd name="connsiteY3" fmla="*/ 2467520 h 4872100"/>
              <a:gd name="connsiteX4" fmla="*/ 542226 w 2305327"/>
              <a:gd name="connsiteY4" fmla="*/ 195564 h 4872100"/>
              <a:gd name="connsiteX5" fmla="*/ 2299717 w 2305327"/>
              <a:gd name="connsiteY5" fmla="*/ 1394334 h 4872100"/>
              <a:gd name="connsiteX0" fmla="*/ 2308970 w 2314580"/>
              <a:gd name="connsiteY0" fmla="*/ 1394334 h 4872100"/>
              <a:gd name="connsiteX1" fmla="*/ 2314580 w 2314580"/>
              <a:gd name="connsiteY1" fmla="*/ 4784875 h 4872100"/>
              <a:gd name="connsiteX2" fmla="*/ 2209916 w 2314580"/>
              <a:gd name="connsiteY2" fmla="*/ 4841264 h 4872100"/>
              <a:gd name="connsiteX3" fmla="*/ 319962 w 2314580"/>
              <a:gd name="connsiteY3" fmla="*/ 2467520 h 4872100"/>
              <a:gd name="connsiteX4" fmla="*/ 551479 w 2314580"/>
              <a:gd name="connsiteY4" fmla="*/ 195564 h 4872100"/>
              <a:gd name="connsiteX5" fmla="*/ 2308970 w 2314580"/>
              <a:gd name="connsiteY5" fmla="*/ 1394334 h 4872100"/>
              <a:gd name="connsiteX0" fmla="*/ 2334610 w 2340220"/>
              <a:gd name="connsiteY0" fmla="*/ 1394334 h 4872100"/>
              <a:gd name="connsiteX1" fmla="*/ 2340220 w 2340220"/>
              <a:gd name="connsiteY1" fmla="*/ 4784875 h 4872100"/>
              <a:gd name="connsiteX2" fmla="*/ 2235556 w 2340220"/>
              <a:gd name="connsiteY2" fmla="*/ 4841264 h 4872100"/>
              <a:gd name="connsiteX3" fmla="*/ 345602 w 2340220"/>
              <a:gd name="connsiteY3" fmla="*/ 2467520 h 4872100"/>
              <a:gd name="connsiteX4" fmla="*/ 577119 w 2340220"/>
              <a:gd name="connsiteY4" fmla="*/ 195564 h 4872100"/>
              <a:gd name="connsiteX5" fmla="*/ 2334610 w 2340220"/>
              <a:gd name="connsiteY5" fmla="*/ 1394334 h 4872100"/>
              <a:gd name="connsiteX0" fmla="*/ 2317496 w 2323106"/>
              <a:gd name="connsiteY0" fmla="*/ 1394334 h 4872100"/>
              <a:gd name="connsiteX1" fmla="*/ 2323106 w 2323106"/>
              <a:gd name="connsiteY1" fmla="*/ 4784875 h 4872100"/>
              <a:gd name="connsiteX2" fmla="*/ 2218442 w 2323106"/>
              <a:gd name="connsiteY2" fmla="*/ 4841264 h 4872100"/>
              <a:gd name="connsiteX3" fmla="*/ 328488 w 2323106"/>
              <a:gd name="connsiteY3" fmla="*/ 2467520 h 4872100"/>
              <a:gd name="connsiteX4" fmla="*/ 560005 w 2323106"/>
              <a:gd name="connsiteY4" fmla="*/ 195564 h 4872100"/>
              <a:gd name="connsiteX5" fmla="*/ 2317496 w 2323106"/>
              <a:gd name="connsiteY5" fmla="*/ 1394334 h 4872100"/>
              <a:gd name="connsiteX0" fmla="*/ 2317496 w 2323106"/>
              <a:gd name="connsiteY0" fmla="*/ 1396095 h 4873861"/>
              <a:gd name="connsiteX1" fmla="*/ 2323106 w 2323106"/>
              <a:gd name="connsiteY1" fmla="*/ 4786636 h 4873861"/>
              <a:gd name="connsiteX2" fmla="*/ 2218442 w 2323106"/>
              <a:gd name="connsiteY2" fmla="*/ 4843025 h 4873861"/>
              <a:gd name="connsiteX3" fmla="*/ 328488 w 2323106"/>
              <a:gd name="connsiteY3" fmla="*/ 2469281 h 4873861"/>
              <a:gd name="connsiteX4" fmla="*/ 560005 w 2323106"/>
              <a:gd name="connsiteY4" fmla="*/ 197325 h 4873861"/>
              <a:gd name="connsiteX5" fmla="*/ 2317496 w 2323106"/>
              <a:gd name="connsiteY5" fmla="*/ 1396095 h 4873861"/>
              <a:gd name="connsiteX0" fmla="*/ 2317496 w 2323106"/>
              <a:gd name="connsiteY0" fmla="*/ 1398561 h 4876327"/>
              <a:gd name="connsiteX1" fmla="*/ 2323106 w 2323106"/>
              <a:gd name="connsiteY1" fmla="*/ 4789102 h 4876327"/>
              <a:gd name="connsiteX2" fmla="*/ 2218442 w 2323106"/>
              <a:gd name="connsiteY2" fmla="*/ 4845491 h 4876327"/>
              <a:gd name="connsiteX3" fmla="*/ 328488 w 2323106"/>
              <a:gd name="connsiteY3" fmla="*/ 2471747 h 4876327"/>
              <a:gd name="connsiteX4" fmla="*/ 560005 w 2323106"/>
              <a:gd name="connsiteY4" fmla="*/ 199791 h 4876327"/>
              <a:gd name="connsiteX5" fmla="*/ 2317496 w 2323106"/>
              <a:gd name="connsiteY5" fmla="*/ 1398561 h 4876327"/>
              <a:gd name="connsiteX0" fmla="*/ 2317496 w 2323106"/>
              <a:gd name="connsiteY0" fmla="*/ 1389720 h 4867486"/>
              <a:gd name="connsiteX1" fmla="*/ 2323106 w 2323106"/>
              <a:gd name="connsiteY1" fmla="*/ 4780261 h 4867486"/>
              <a:gd name="connsiteX2" fmla="*/ 2218442 w 2323106"/>
              <a:gd name="connsiteY2" fmla="*/ 4836650 h 4867486"/>
              <a:gd name="connsiteX3" fmla="*/ 328488 w 2323106"/>
              <a:gd name="connsiteY3" fmla="*/ 2462906 h 4867486"/>
              <a:gd name="connsiteX4" fmla="*/ 560005 w 2323106"/>
              <a:gd name="connsiteY4" fmla="*/ 190950 h 4867486"/>
              <a:gd name="connsiteX5" fmla="*/ 2317496 w 2323106"/>
              <a:gd name="connsiteY5" fmla="*/ 1389720 h 4867486"/>
              <a:gd name="connsiteX0" fmla="*/ 2317496 w 2323106"/>
              <a:gd name="connsiteY0" fmla="*/ 1392690 h 4870456"/>
              <a:gd name="connsiteX1" fmla="*/ 2323106 w 2323106"/>
              <a:gd name="connsiteY1" fmla="*/ 4783231 h 4870456"/>
              <a:gd name="connsiteX2" fmla="*/ 2218442 w 2323106"/>
              <a:gd name="connsiteY2" fmla="*/ 4839620 h 4870456"/>
              <a:gd name="connsiteX3" fmla="*/ 328488 w 2323106"/>
              <a:gd name="connsiteY3" fmla="*/ 2465876 h 4870456"/>
              <a:gd name="connsiteX4" fmla="*/ 560005 w 2323106"/>
              <a:gd name="connsiteY4" fmla="*/ 193920 h 4870456"/>
              <a:gd name="connsiteX5" fmla="*/ 2317496 w 2323106"/>
              <a:gd name="connsiteY5" fmla="*/ 1392690 h 4870456"/>
              <a:gd name="connsiteX0" fmla="*/ 2317496 w 2323106"/>
              <a:gd name="connsiteY0" fmla="*/ 1392690 h 4870456"/>
              <a:gd name="connsiteX1" fmla="*/ 2323106 w 2323106"/>
              <a:gd name="connsiteY1" fmla="*/ 4783231 h 4870456"/>
              <a:gd name="connsiteX2" fmla="*/ 2218442 w 2323106"/>
              <a:gd name="connsiteY2" fmla="*/ 4839620 h 4870456"/>
              <a:gd name="connsiteX3" fmla="*/ 328488 w 2323106"/>
              <a:gd name="connsiteY3" fmla="*/ 2465876 h 4870456"/>
              <a:gd name="connsiteX4" fmla="*/ 560005 w 2323106"/>
              <a:gd name="connsiteY4" fmla="*/ 193920 h 4870456"/>
              <a:gd name="connsiteX5" fmla="*/ 2317496 w 2323106"/>
              <a:gd name="connsiteY5" fmla="*/ 1392690 h 4870456"/>
              <a:gd name="connsiteX0" fmla="*/ 2317496 w 2323106"/>
              <a:gd name="connsiteY0" fmla="*/ 1398024 h 4875790"/>
              <a:gd name="connsiteX1" fmla="*/ 2323106 w 2323106"/>
              <a:gd name="connsiteY1" fmla="*/ 4788565 h 4875790"/>
              <a:gd name="connsiteX2" fmla="*/ 2218442 w 2323106"/>
              <a:gd name="connsiteY2" fmla="*/ 4844954 h 4875790"/>
              <a:gd name="connsiteX3" fmla="*/ 328488 w 2323106"/>
              <a:gd name="connsiteY3" fmla="*/ 2471210 h 4875790"/>
              <a:gd name="connsiteX4" fmla="*/ 560005 w 2323106"/>
              <a:gd name="connsiteY4" fmla="*/ 199254 h 4875790"/>
              <a:gd name="connsiteX5" fmla="*/ 2317496 w 2323106"/>
              <a:gd name="connsiteY5" fmla="*/ 1398024 h 4875790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9806 h 4877572"/>
              <a:gd name="connsiteX1" fmla="*/ 2323106 w 2323106"/>
              <a:gd name="connsiteY1" fmla="*/ 4790347 h 4877572"/>
              <a:gd name="connsiteX2" fmla="*/ 2218442 w 2323106"/>
              <a:gd name="connsiteY2" fmla="*/ 4846736 h 4877572"/>
              <a:gd name="connsiteX3" fmla="*/ 328488 w 2323106"/>
              <a:gd name="connsiteY3" fmla="*/ 2472992 h 4877572"/>
              <a:gd name="connsiteX4" fmla="*/ 560005 w 2323106"/>
              <a:gd name="connsiteY4" fmla="*/ 201036 h 4877572"/>
              <a:gd name="connsiteX5" fmla="*/ 2317496 w 2323106"/>
              <a:gd name="connsiteY5" fmla="*/ 1399806 h 4877572"/>
              <a:gd name="connsiteX0" fmla="*/ 2317496 w 2323106"/>
              <a:gd name="connsiteY0" fmla="*/ 1399806 h 4877572"/>
              <a:gd name="connsiteX1" fmla="*/ 2323106 w 2323106"/>
              <a:gd name="connsiteY1" fmla="*/ 4790347 h 4877572"/>
              <a:gd name="connsiteX2" fmla="*/ 2218442 w 2323106"/>
              <a:gd name="connsiteY2" fmla="*/ 4846736 h 4877572"/>
              <a:gd name="connsiteX3" fmla="*/ 328488 w 2323106"/>
              <a:gd name="connsiteY3" fmla="*/ 2472992 h 4877572"/>
              <a:gd name="connsiteX4" fmla="*/ 560005 w 2323106"/>
              <a:gd name="connsiteY4" fmla="*/ 201036 h 4877572"/>
              <a:gd name="connsiteX5" fmla="*/ 2317496 w 2323106"/>
              <a:gd name="connsiteY5" fmla="*/ 1399806 h 4877572"/>
              <a:gd name="connsiteX0" fmla="*/ 2317496 w 2323106"/>
              <a:gd name="connsiteY0" fmla="*/ 1396245 h 4874011"/>
              <a:gd name="connsiteX1" fmla="*/ 2323106 w 2323106"/>
              <a:gd name="connsiteY1" fmla="*/ 4786786 h 4874011"/>
              <a:gd name="connsiteX2" fmla="*/ 2218442 w 2323106"/>
              <a:gd name="connsiteY2" fmla="*/ 4843175 h 4874011"/>
              <a:gd name="connsiteX3" fmla="*/ 328488 w 2323106"/>
              <a:gd name="connsiteY3" fmla="*/ 2469431 h 4874011"/>
              <a:gd name="connsiteX4" fmla="*/ 560005 w 2323106"/>
              <a:gd name="connsiteY4" fmla="*/ 197475 h 4874011"/>
              <a:gd name="connsiteX5" fmla="*/ 2317496 w 2323106"/>
              <a:gd name="connsiteY5" fmla="*/ 1396245 h 4874011"/>
              <a:gd name="connsiteX0" fmla="*/ 2317496 w 2323106"/>
              <a:gd name="connsiteY0" fmla="*/ 1399314 h 4877080"/>
              <a:gd name="connsiteX1" fmla="*/ 2323106 w 2323106"/>
              <a:gd name="connsiteY1" fmla="*/ 4789855 h 4877080"/>
              <a:gd name="connsiteX2" fmla="*/ 2218442 w 2323106"/>
              <a:gd name="connsiteY2" fmla="*/ 4846244 h 4877080"/>
              <a:gd name="connsiteX3" fmla="*/ 328488 w 2323106"/>
              <a:gd name="connsiteY3" fmla="*/ 2472500 h 4877080"/>
              <a:gd name="connsiteX4" fmla="*/ 560005 w 2323106"/>
              <a:gd name="connsiteY4" fmla="*/ 200544 h 4877080"/>
              <a:gd name="connsiteX5" fmla="*/ 2317496 w 2323106"/>
              <a:gd name="connsiteY5" fmla="*/ 1399314 h 4877080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9830 w 2323106"/>
              <a:gd name="connsiteY0" fmla="*/ 1399683 h 4868852"/>
              <a:gd name="connsiteX1" fmla="*/ 2323106 w 2323106"/>
              <a:gd name="connsiteY1" fmla="*/ 4781627 h 4868852"/>
              <a:gd name="connsiteX2" fmla="*/ 2218442 w 2323106"/>
              <a:gd name="connsiteY2" fmla="*/ 4838016 h 4868852"/>
              <a:gd name="connsiteX3" fmla="*/ 328488 w 2323106"/>
              <a:gd name="connsiteY3" fmla="*/ 2464272 h 4868852"/>
              <a:gd name="connsiteX4" fmla="*/ 560005 w 2323106"/>
              <a:gd name="connsiteY4" fmla="*/ 192316 h 4868852"/>
              <a:gd name="connsiteX5" fmla="*/ 2319830 w 2323106"/>
              <a:gd name="connsiteY5" fmla="*/ 1399683 h 4868852"/>
              <a:gd name="connsiteX0" fmla="*/ 2319830 w 2323106"/>
              <a:gd name="connsiteY0" fmla="*/ 1402669 h 4871838"/>
              <a:gd name="connsiteX1" fmla="*/ 2323106 w 2323106"/>
              <a:gd name="connsiteY1" fmla="*/ 4784613 h 4871838"/>
              <a:gd name="connsiteX2" fmla="*/ 2218442 w 2323106"/>
              <a:gd name="connsiteY2" fmla="*/ 4841002 h 4871838"/>
              <a:gd name="connsiteX3" fmla="*/ 328488 w 2323106"/>
              <a:gd name="connsiteY3" fmla="*/ 2467258 h 4871838"/>
              <a:gd name="connsiteX4" fmla="*/ 560005 w 2323106"/>
              <a:gd name="connsiteY4" fmla="*/ 195302 h 4871838"/>
              <a:gd name="connsiteX5" fmla="*/ 2319830 w 2323106"/>
              <a:gd name="connsiteY5" fmla="*/ 1402669 h 4871838"/>
              <a:gd name="connsiteX0" fmla="*/ 2319830 w 2323106"/>
              <a:gd name="connsiteY0" fmla="*/ 1403343 h 4872512"/>
              <a:gd name="connsiteX1" fmla="*/ 2323106 w 2323106"/>
              <a:gd name="connsiteY1" fmla="*/ 4785287 h 4872512"/>
              <a:gd name="connsiteX2" fmla="*/ 2218442 w 2323106"/>
              <a:gd name="connsiteY2" fmla="*/ 4841676 h 4872512"/>
              <a:gd name="connsiteX3" fmla="*/ 328488 w 2323106"/>
              <a:gd name="connsiteY3" fmla="*/ 2467932 h 4872512"/>
              <a:gd name="connsiteX4" fmla="*/ 560005 w 2323106"/>
              <a:gd name="connsiteY4" fmla="*/ 195976 h 4872512"/>
              <a:gd name="connsiteX5" fmla="*/ 2319830 w 2323106"/>
              <a:gd name="connsiteY5" fmla="*/ 1403343 h 4872512"/>
              <a:gd name="connsiteX0" fmla="*/ 2324359 w 2327635"/>
              <a:gd name="connsiteY0" fmla="*/ 1403343 h 4872512"/>
              <a:gd name="connsiteX1" fmla="*/ 2327635 w 2327635"/>
              <a:gd name="connsiteY1" fmla="*/ 4785287 h 4872512"/>
              <a:gd name="connsiteX2" fmla="*/ 2222971 w 2327635"/>
              <a:gd name="connsiteY2" fmla="*/ 4841676 h 4872512"/>
              <a:gd name="connsiteX3" fmla="*/ 333017 w 2327635"/>
              <a:gd name="connsiteY3" fmla="*/ 2467932 h 4872512"/>
              <a:gd name="connsiteX4" fmla="*/ 564534 w 2327635"/>
              <a:gd name="connsiteY4" fmla="*/ 195976 h 4872512"/>
              <a:gd name="connsiteX5" fmla="*/ 2324359 w 2327635"/>
              <a:gd name="connsiteY5" fmla="*/ 1403343 h 4872512"/>
              <a:gd name="connsiteX0" fmla="*/ 2326563 w 2458304"/>
              <a:gd name="connsiteY0" fmla="*/ 1388146 h 4857315"/>
              <a:gd name="connsiteX1" fmla="*/ 2329839 w 2458304"/>
              <a:gd name="connsiteY1" fmla="*/ 4770090 h 4857315"/>
              <a:gd name="connsiteX2" fmla="*/ 2225175 w 2458304"/>
              <a:gd name="connsiteY2" fmla="*/ 4826479 h 4857315"/>
              <a:gd name="connsiteX3" fmla="*/ 335221 w 2458304"/>
              <a:gd name="connsiteY3" fmla="*/ 2452735 h 4857315"/>
              <a:gd name="connsiteX4" fmla="*/ 562070 w 2458304"/>
              <a:gd name="connsiteY4" fmla="*/ 180779 h 4857315"/>
              <a:gd name="connsiteX5" fmla="*/ 2326563 w 2458304"/>
              <a:gd name="connsiteY5" fmla="*/ 1388146 h 4857315"/>
              <a:gd name="connsiteX0" fmla="*/ 2326563 w 2329839"/>
              <a:gd name="connsiteY0" fmla="*/ 1396124 h 4865293"/>
              <a:gd name="connsiteX1" fmla="*/ 2329839 w 2329839"/>
              <a:gd name="connsiteY1" fmla="*/ 4778068 h 4865293"/>
              <a:gd name="connsiteX2" fmla="*/ 2225175 w 2329839"/>
              <a:gd name="connsiteY2" fmla="*/ 4834457 h 4865293"/>
              <a:gd name="connsiteX3" fmla="*/ 335221 w 2329839"/>
              <a:gd name="connsiteY3" fmla="*/ 2460713 h 4865293"/>
              <a:gd name="connsiteX4" fmla="*/ 562070 w 2329839"/>
              <a:gd name="connsiteY4" fmla="*/ 188757 h 4865293"/>
              <a:gd name="connsiteX5" fmla="*/ 2326563 w 2329839"/>
              <a:gd name="connsiteY5" fmla="*/ 1396124 h 4865293"/>
              <a:gd name="connsiteX0" fmla="*/ 2326563 w 2329839"/>
              <a:gd name="connsiteY0" fmla="*/ 1394861 h 4864030"/>
              <a:gd name="connsiteX1" fmla="*/ 2329839 w 2329839"/>
              <a:gd name="connsiteY1" fmla="*/ 4776805 h 4864030"/>
              <a:gd name="connsiteX2" fmla="*/ 2225175 w 2329839"/>
              <a:gd name="connsiteY2" fmla="*/ 4833194 h 4864030"/>
              <a:gd name="connsiteX3" fmla="*/ 335221 w 2329839"/>
              <a:gd name="connsiteY3" fmla="*/ 2459450 h 4864030"/>
              <a:gd name="connsiteX4" fmla="*/ 562070 w 2329839"/>
              <a:gd name="connsiteY4" fmla="*/ 187494 h 4864030"/>
              <a:gd name="connsiteX5" fmla="*/ 2326563 w 2329839"/>
              <a:gd name="connsiteY5" fmla="*/ 1394861 h 4864030"/>
              <a:gd name="connsiteX0" fmla="*/ 2326563 w 2329839"/>
              <a:gd name="connsiteY0" fmla="*/ 1401537 h 4870706"/>
              <a:gd name="connsiteX1" fmla="*/ 2329839 w 2329839"/>
              <a:gd name="connsiteY1" fmla="*/ 4783481 h 4870706"/>
              <a:gd name="connsiteX2" fmla="*/ 2225175 w 2329839"/>
              <a:gd name="connsiteY2" fmla="*/ 4839870 h 4870706"/>
              <a:gd name="connsiteX3" fmla="*/ 335221 w 2329839"/>
              <a:gd name="connsiteY3" fmla="*/ 2466126 h 4870706"/>
              <a:gd name="connsiteX4" fmla="*/ 562070 w 2329839"/>
              <a:gd name="connsiteY4" fmla="*/ 194170 h 4870706"/>
              <a:gd name="connsiteX5" fmla="*/ 2326563 w 2329839"/>
              <a:gd name="connsiteY5" fmla="*/ 1401537 h 4870706"/>
              <a:gd name="connsiteX0" fmla="*/ 2326563 w 2329839"/>
              <a:gd name="connsiteY0" fmla="*/ 1403211 h 4872380"/>
              <a:gd name="connsiteX1" fmla="*/ 2329839 w 2329839"/>
              <a:gd name="connsiteY1" fmla="*/ 4785155 h 4872380"/>
              <a:gd name="connsiteX2" fmla="*/ 2225175 w 2329839"/>
              <a:gd name="connsiteY2" fmla="*/ 4841544 h 4872380"/>
              <a:gd name="connsiteX3" fmla="*/ 335221 w 2329839"/>
              <a:gd name="connsiteY3" fmla="*/ 2467800 h 4872380"/>
              <a:gd name="connsiteX4" fmla="*/ 562070 w 2329839"/>
              <a:gd name="connsiteY4" fmla="*/ 195844 h 4872380"/>
              <a:gd name="connsiteX5" fmla="*/ 2326563 w 2329839"/>
              <a:gd name="connsiteY5" fmla="*/ 1403211 h 4872380"/>
              <a:gd name="connsiteX0" fmla="*/ 2326563 w 2330469"/>
              <a:gd name="connsiteY0" fmla="*/ 1418627 h 4887796"/>
              <a:gd name="connsiteX1" fmla="*/ 2329839 w 2330469"/>
              <a:gd name="connsiteY1" fmla="*/ 4800571 h 4887796"/>
              <a:gd name="connsiteX2" fmla="*/ 2225175 w 2330469"/>
              <a:gd name="connsiteY2" fmla="*/ 4856960 h 4887796"/>
              <a:gd name="connsiteX3" fmla="*/ 335221 w 2330469"/>
              <a:gd name="connsiteY3" fmla="*/ 2483216 h 4887796"/>
              <a:gd name="connsiteX4" fmla="*/ 562070 w 2330469"/>
              <a:gd name="connsiteY4" fmla="*/ 211260 h 4887796"/>
              <a:gd name="connsiteX5" fmla="*/ 2326563 w 2330469"/>
              <a:gd name="connsiteY5" fmla="*/ 1418627 h 4887796"/>
              <a:gd name="connsiteX0" fmla="*/ 2326563 w 2330469"/>
              <a:gd name="connsiteY0" fmla="*/ 1403156 h 4872325"/>
              <a:gd name="connsiteX1" fmla="*/ 2329839 w 2330469"/>
              <a:gd name="connsiteY1" fmla="*/ 4785100 h 4872325"/>
              <a:gd name="connsiteX2" fmla="*/ 2225175 w 2330469"/>
              <a:gd name="connsiteY2" fmla="*/ 4841489 h 4872325"/>
              <a:gd name="connsiteX3" fmla="*/ 335221 w 2330469"/>
              <a:gd name="connsiteY3" fmla="*/ 2467745 h 4872325"/>
              <a:gd name="connsiteX4" fmla="*/ 562070 w 2330469"/>
              <a:gd name="connsiteY4" fmla="*/ 195789 h 4872325"/>
              <a:gd name="connsiteX5" fmla="*/ 2326563 w 2330469"/>
              <a:gd name="connsiteY5" fmla="*/ 1403156 h 4872325"/>
              <a:gd name="connsiteX0" fmla="*/ 2326563 w 2330469"/>
              <a:gd name="connsiteY0" fmla="*/ 1377614 h 4846783"/>
              <a:gd name="connsiteX1" fmla="*/ 2329839 w 2330469"/>
              <a:gd name="connsiteY1" fmla="*/ 4759558 h 4846783"/>
              <a:gd name="connsiteX2" fmla="*/ 2225175 w 2330469"/>
              <a:gd name="connsiteY2" fmla="*/ 4815947 h 4846783"/>
              <a:gd name="connsiteX3" fmla="*/ 335221 w 2330469"/>
              <a:gd name="connsiteY3" fmla="*/ 2442203 h 4846783"/>
              <a:gd name="connsiteX4" fmla="*/ 562070 w 2330469"/>
              <a:gd name="connsiteY4" fmla="*/ 170247 h 4846783"/>
              <a:gd name="connsiteX5" fmla="*/ 2326563 w 2330469"/>
              <a:gd name="connsiteY5" fmla="*/ 1377614 h 4846783"/>
              <a:gd name="connsiteX0" fmla="*/ 2326563 w 2330469"/>
              <a:gd name="connsiteY0" fmla="*/ 1403155 h 4872324"/>
              <a:gd name="connsiteX1" fmla="*/ 2329839 w 2330469"/>
              <a:gd name="connsiteY1" fmla="*/ 4785099 h 4872324"/>
              <a:gd name="connsiteX2" fmla="*/ 2225175 w 2330469"/>
              <a:gd name="connsiteY2" fmla="*/ 4841488 h 4872324"/>
              <a:gd name="connsiteX3" fmla="*/ 335221 w 2330469"/>
              <a:gd name="connsiteY3" fmla="*/ 2467744 h 4872324"/>
              <a:gd name="connsiteX4" fmla="*/ 562070 w 2330469"/>
              <a:gd name="connsiteY4" fmla="*/ 195788 h 4872324"/>
              <a:gd name="connsiteX5" fmla="*/ 2326563 w 2330469"/>
              <a:gd name="connsiteY5" fmla="*/ 1403155 h 4872324"/>
              <a:gd name="connsiteX0" fmla="*/ 2278081 w 2281987"/>
              <a:gd name="connsiteY0" fmla="*/ 1403155 h 4872324"/>
              <a:gd name="connsiteX1" fmla="*/ 2281357 w 2281987"/>
              <a:gd name="connsiteY1" fmla="*/ 4785099 h 4872324"/>
              <a:gd name="connsiteX2" fmla="*/ 2176693 w 2281987"/>
              <a:gd name="connsiteY2" fmla="*/ 4841488 h 4872324"/>
              <a:gd name="connsiteX3" fmla="*/ 286739 w 2281987"/>
              <a:gd name="connsiteY3" fmla="*/ 2467744 h 4872324"/>
              <a:gd name="connsiteX4" fmla="*/ 513588 w 2281987"/>
              <a:gd name="connsiteY4" fmla="*/ 195788 h 4872324"/>
              <a:gd name="connsiteX5" fmla="*/ 2278081 w 2281987"/>
              <a:gd name="connsiteY5" fmla="*/ 1403155 h 4872324"/>
              <a:gd name="connsiteX0" fmla="*/ 2321655 w 2325561"/>
              <a:gd name="connsiteY0" fmla="*/ 1403155 h 4872324"/>
              <a:gd name="connsiteX1" fmla="*/ 2324931 w 2325561"/>
              <a:gd name="connsiteY1" fmla="*/ 4785099 h 4872324"/>
              <a:gd name="connsiteX2" fmla="*/ 2220267 w 2325561"/>
              <a:gd name="connsiteY2" fmla="*/ 4841488 h 4872324"/>
              <a:gd name="connsiteX3" fmla="*/ 330313 w 2325561"/>
              <a:gd name="connsiteY3" fmla="*/ 2467744 h 4872324"/>
              <a:gd name="connsiteX4" fmla="*/ 557162 w 2325561"/>
              <a:gd name="connsiteY4" fmla="*/ 195788 h 4872324"/>
              <a:gd name="connsiteX5" fmla="*/ 2321655 w 2325561"/>
              <a:gd name="connsiteY5" fmla="*/ 1403155 h 4872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25561" h="4872324">
                <a:moveTo>
                  <a:pt x="2321655" y="1403155"/>
                </a:moveTo>
                <a:cubicBezTo>
                  <a:pt x="2327968" y="2360767"/>
                  <a:pt x="2324666" y="4001780"/>
                  <a:pt x="2324931" y="4785099"/>
                </a:cubicBezTo>
                <a:cubicBezTo>
                  <a:pt x="2321552" y="4937375"/>
                  <a:pt x="2214114" y="4844655"/>
                  <a:pt x="2220267" y="4841488"/>
                </a:cubicBezTo>
                <a:cubicBezTo>
                  <a:pt x="1934243" y="4471710"/>
                  <a:pt x="788411" y="3040549"/>
                  <a:pt x="330313" y="2467744"/>
                </a:cubicBezTo>
                <a:cubicBezTo>
                  <a:pt x="-81862" y="1937583"/>
                  <a:pt x="-211970" y="817537"/>
                  <a:pt x="557162" y="195788"/>
                </a:cubicBezTo>
                <a:cubicBezTo>
                  <a:pt x="1466748" y="-393302"/>
                  <a:pt x="2315342" y="445543"/>
                  <a:pt x="2321655" y="140315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558411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medio corazón derecha fondo verde">
    <p:bg>
      <p:bgPr>
        <a:solidFill>
          <a:srgbClr val="00793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de-DE" dirty="0"/>
          </a:p>
        </p:txBody>
      </p:sp>
      <p:sp>
        <p:nvSpPr>
          <p:cNvPr id="5" name="Marcador de posición de imagen 4">
            <a:extLst>
              <a:ext uri="{FF2B5EF4-FFF2-40B4-BE49-F238E27FC236}">
                <a16:creationId xmlns:a16="http://schemas.microsoft.com/office/drawing/2014/main" id="{21F9E96A-F25C-0D44-B47A-5E41567C546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8936042" y="265618"/>
            <a:ext cx="3270700" cy="5580814"/>
          </a:xfrm>
          <a:custGeom>
            <a:avLst/>
            <a:gdLst>
              <a:gd name="connsiteX0" fmla="*/ 2432050 w 4864100"/>
              <a:gd name="connsiteY0" fmla="*/ 1423800 h 5695200"/>
              <a:gd name="connsiteX1" fmla="*/ 2432050 w 4864100"/>
              <a:gd name="connsiteY1" fmla="*/ 5695200 h 5695200"/>
              <a:gd name="connsiteX2" fmla="*/ 2432050 w 4864100"/>
              <a:gd name="connsiteY2" fmla="*/ 1423800 h 5695200"/>
              <a:gd name="connsiteX0" fmla="*/ 2217600 w 4435199"/>
              <a:gd name="connsiteY0" fmla="*/ 632423 h 4903823"/>
              <a:gd name="connsiteX1" fmla="*/ 2217600 w 4435199"/>
              <a:gd name="connsiteY1" fmla="*/ 4903823 h 4903823"/>
              <a:gd name="connsiteX2" fmla="*/ 2217600 w 4435199"/>
              <a:gd name="connsiteY2" fmla="*/ 632423 h 4903823"/>
              <a:gd name="connsiteX0" fmla="*/ 2217600 w 2259560"/>
              <a:gd name="connsiteY0" fmla="*/ 632423 h 4903823"/>
              <a:gd name="connsiteX1" fmla="*/ 2217600 w 2259560"/>
              <a:gd name="connsiteY1" fmla="*/ 4903823 h 4903823"/>
              <a:gd name="connsiteX2" fmla="*/ 2217600 w 2259560"/>
              <a:gd name="connsiteY2" fmla="*/ 632423 h 4903823"/>
              <a:gd name="connsiteX0" fmla="*/ 2217600 w 2238943"/>
              <a:gd name="connsiteY0" fmla="*/ 632423 h 4903823"/>
              <a:gd name="connsiteX1" fmla="*/ 2217600 w 2238943"/>
              <a:gd name="connsiteY1" fmla="*/ 4903823 h 4903823"/>
              <a:gd name="connsiteX2" fmla="*/ 2217600 w 2238943"/>
              <a:gd name="connsiteY2" fmla="*/ 632423 h 4903823"/>
              <a:gd name="connsiteX0" fmla="*/ 2216202 w 2237545"/>
              <a:gd name="connsiteY0" fmla="*/ 219464 h 4495351"/>
              <a:gd name="connsiteX1" fmla="*/ 2216202 w 2237545"/>
              <a:gd name="connsiteY1" fmla="*/ 4490864 h 4495351"/>
              <a:gd name="connsiteX2" fmla="*/ 0 w 2237545"/>
              <a:gd name="connsiteY2" fmla="*/ 1021473 h 4495351"/>
              <a:gd name="connsiteX3" fmla="*/ 2216202 w 2237545"/>
              <a:gd name="connsiteY3" fmla="*/ 219464 h 4495351"/>
              <a:gd name="connsiteX0" fmla="*/ 2218054 w 2239397"/>
              <a:gd name="connsiteY0" fmla="*/ 219464 h 4872422"/>
              <a:gd name="connsiteX1" fmla="*/ 2218054 w 2239397"/>
              <a:gd name="connsiteY1" fmla="*/ 4490864 h 4872422"/>
              <a:gd name="connsiteX2" fmla="*/ 1843352 w 2239397"/>
              <a:gd name="connsiteY2" fmla="*/ 4272672 h 4872422"/>
              <a:gd name="connsiteX3" fmla="*/ 1852 w 2239397"/>
              <a:gd name="connsiteY3" fmla="*/ 1021473 h 4872422"/>
              <a:gd name="connsiteX4" fmla="*/ 2218054 w 2239397"/>
              <a:gd name="connsiteY4" fmla="*/ 219464 h 4872422"/>
              <a:gd name="connsiteX0" fmla="*/ 2303891 w 2325234"/>
              <a:gd name="connsiteY0" fmla="*/ 219464 h 4872422"/>
              <a:gd name="connsiteX1" fmla="*/ 2303891 w 2325234"/>
              <a:gd name="connsiteY1" fmla="*/ 4490864 h 4872422"/>
              <a:gd name="connsiteX2" fmla="*/ 1929189 w 2325234"/>
              <a:gd name="connsiteY2" fmla="*/ 4272672 h 4872422"/>
              <a:gd name="connsiteX3" fmla="*/ 587749 w 2325234"/>
              <a:gd name="connsiteY3" fmla="*/ 2272196 h 4872422"/>
              <a:gd name="connsiteX4" fmla="*/ 87689 w 2325234"/>
              <a:gd name="connsiteY4" fmla="*/ 1021473 h 4872422"/>
              <a:gd name="connsiteX5" fmla="*/ 2303891 w 2325234"/>
              <a:gd name="connsiteY5" fmla="*/ 219464 h 4872422"/>
              <a:gd name="connsiteX0" fmla="*/ 2303891 w 2475206"/>
              <a:gd name="connsiteY0" fmla="*/ 238803 h 5082435"/>
              <a:gd name="connsiteX1" fmla="*/ 2324987 w 2475206"/>
              <a:gd name="connsiteY1" fmla="*/ 4779604 h 5082435"/>
              <a:gd name="connsiteX2" fmla="*/ 1929189 w 2475206"/>
              <a:gd name="connsiteY2" fmla="*/ 4292011 h 5082435"/>
              <a:gd name="connsiteX3" fmla="*/ 587749 w 2475206"/>
              <a:gd name="connsiteY3" fmla="*/ 2291535 h 5082435"/>
              <a:gd name="connsiteX4" fmla="*/ 87689 w 2475206"/>
              <a:gd name="connsiteY4" fmla="*/ 1040812 h 5082435"/>
              <a:gd name="connsiteX5" fmla="*/ 2303891 w 2475206"/>
              <a:gd name="connsiteY5" fmla="*/ 238803 h 5082435"/>
              <a:gd name="connsiteX0" fmla="*/ 2303891 w 2475206"/>
              <a:gd name="connsiteY0" fmla="*/ 240665 h 5104077"/>
              <a:gd name="connsiteX1" fmla="*/ 2324987 w 2475206"/>
              <a:gd name="connsiteY1" fmla="*/ 4807370 h 5104077"/>
              <a:gd name="connsiteX2" fmla="*/ 1929189 w 2475206"/>
              <a:gd name="connsiteY2" fmla="*/ 4293873 h 5104077"/>
              <a:gd name="connsiteX3" fmla="*/ 587749 w 2475206"/>
              <a:gd name="connsiteY3" fmla="*/ 2293397 h 5104077"/>
              <a:gd name="connsiteX4" fmla="*/ 87689 w 2475206"/>
              <a:gd name="connsiteY4" fmla="*/ 1042674 h 5104077"/>
              <a:gd name="connsiteX5" fmla="*/ 2303891 w 2475206"/>
              <a:gd name="connsiteY5" fmla="*/ 240665 h 5104077"/>
              <a:gd name="connsiteX0" fmla="*/ 2303891 w 2475206"/>
              <a:gd name="connsiteY0" fmla="*/ 240665 h 4905038"/>
              <a:gd name="connsiteX1" fmla="*/ 2324987 w 2475206"/>
              <a:gd name="connsiteY1" fmla="*/ 4807370 h 4905038"/>
              <a:gd name="connsiteX2" fmla="*/ 1929189 w 2475206"/>
              <a:gd name="connsiteY2" fmla="*/ 4293873 h 4905038"/>
              <a:gd name="connsiteX3" fmla="*/ 587749 w 2475206"/>
              <a:gd name="connsiteY3" fmla="*/ 2293397 h 4905038"/>
              <a:gd name="connsiteX4" fmla="*/ 87689 w 2475206"/>
              <a:gd name="connsiteY4" fmla="*/ 1042674 h 4905038"/>
              <a:gd name="connsiteX5" fmla="*/ 2303891 w 2475206"/>
              <a:gd name="connsiteY5" fmla="*/ 240665 h 4905038"/>
              <a:gd name="connsiteX0" fmla="*/ 2303891 w 2475206"/>
              <a:gd name="connsiteY0" fmla="*/ 240665 h 5162840"/>
              <a:gd name="connsiteX1" fmla="*/ 2324987 w 2475206"/>
              <a:gd name="connsiteY1" fmla="*/ 4807370 h 5162840"/>
              <a:gd name="connsiteX2" fmla="*/ 2224542 w 2475206"/>
              <a:gd name="connsiteY2" fmla="*/ 4868940 h 5162840"/>
              <a:gd name="connsiteX3" fmla="*/ 587749 w 2475206"/>
              <a:gd name="connsiteY3" fmla="*/ 2293397 h 5162840"/>
              <a:gd name="connsiteX4" fmla="*/ 87689 w 2475206"/>
              <a:gd name="connsiteY4" fmla="*/ 1042674 h 5162840"/>
              <a:gd name="connsiteX5" fmla="*/ 2303891 w 2475206"/>
              <a:gd name="connsiteY5" fmla="*/ 240665 h 5162840"/>
              <a:gd name="connsiteX0" fmla="*/ 2303891 w 2475206"/>
              <a:gd name="connsiteY0" fmla="*/ 240665 h 4894959"/>
              <a:gd name="connsiteX1" fmla="*/ 2324987 w 2475206"/>
              <a:gd name="connsiteY1" fmla="*/ 4807370 h 4894959"/>
              <a:gd name="connsiteX2" fmla="*/ 2224542 w 2475206"/>
              <a:gd name="connsiteY2" fmla="*/ 4868940 h 4894959"/>
              <a:gd name="connsiteX3" fmla="*/ 587749 w 2475206"/>
              <a:gd name="connsiteY3" fmla="*/ 2293397 h 4894959"/>
              <a:gd name="connsiteX4" fmla="*/ 87689 w 2475206"/>
              <a:gd name="connsiteY4" fmla="*/ 1042674 h 4894959"/>
              <a:gd name="connsiteX5" fmla="*/ 2303891 w 2475206"/>
              <a:gd name="connsiteY5" fmla="*/ 240665 h 4894959"/>
              <a:gd name="connsiteX0" fmla="*/ 2303891 w 2475206"/>
              <a:gd name="connsiteY0" fmla="*/ 240665 h 4893879"/>
              <a:gd name="connsiteX1" fmla="*/ 2324987 w 2475206"/>
              <a:gd name="connsiteY1" fmla="*/ 4807370 h 4893879"/>
              <a:gd name="connsiteX2" fmla="*/ 2220323 w 2475206"/>
              <a:gd name="connsiteY2" fmla="*/ 4863759 h 4893879"/>
              <a:gd name="connsiteX3" fmla="*/ 587749 w 2475206"/>
              <a:gd name="connsiteY3" fmla="*/ 2293397 h 4893879"/>
              <a:gd name="connsiteX4" fmla="*/ 87689 w 2475206"/>
              <a:gd name="connsiteY4" fmla="*/ 1042674 h 4893879"/>
              <a:gd name="connsiteX5" fmla="*/ 2303891 w 2475206"/>
              <a:gd name="connsiteY5" fmla="*/ 240665 h 4893879"/>
              <a:gd name="connsiteX0" fmla="*/ 2303891 w 2475206"/>
              <a:gd name="connsiteY0" fmla="*/ 240665 h 4925253"/>
              <a:gd name="connsiteX1" fmla="*/ 2324987 w 2475206"/>
              <a:gd name="connsiteY1" fmla="*/ 4807370 h 4925253"/>
              <a:gd name="connsiteX2" fmla="*/ 2220323 w 2475206"/>
              <a:gd name="connsiteY2" fmla="*/ 4863759 h 4925253"/>
              <a:gd name="connsiteX3" fmla="*/ 587749 w 2475206"/>
              <a:gd name="connsiteY3" fmla="*/ 2293397 h 4925253"/>
              <a:gd name="connsiteX4" fmla="*/ 87689 w 2475206"/>
              <a:gd name="connsiteY4" fmla="*/ 1042674 h 4925253"/>
              <a:gd name="connsiteX5" fmla="*/ 2303891 w 2475206"/>
              <a:gd name="connsiteY5" fmla="*/ 240665 h 4925253"/>
              <a:gd name="connsiteX0" fmla="*/ 2303891 w 2475206"/>
              <a:gd name="connsiteY0" fmla="*/ 240665 h 4894595"/>
              <a:gd name="connsiteX1" fmla="*/ 2324987 w 2475206"/>
              <a:gd name="connsiteY1" fmla="*/ 4807370 h 4894595"/>
              <a:gd name="connsiteX2" fmla="*/ 2220323 w 2475206"/>
              <a:gd name="connsiteY2" fmla="*/ 4863759 h 4894595"/>
              <a:gd name="connsiteX3" fmla="*/ 587749 w 2475206"/>
              <a:gd name="connsiteY3" fmla="*/ 2293397 h 4894595"/>
              <a:gd name="connsiteX4" fmla="*/ 87689 w 2475206"/>
              <a:gd name="connsiteY4" fmla="*/ 1042674 h 4894595"/>
              <a:gd name="connsiteX5" fmla="*/ 2303891 w 2475206"/>
              <a:gd name="connsiteY5" fmla="*/ 240665 h 4894595"/>
              <a:gd name="connsiteX0" fmla="*/ 2348673 w 2519988"/>
              <a:gd name="connsiteY0" fmla="*/ 240665 h 4894595"/>
              <a:gd name="connsiteX1" fmla="*/ 2369769 w 2519988"/>
              <a:gd name="connsiteY1" fmla="*/ 4807370 h 4894595"/>
              <a:gd name="connsiteX2" fmla="*/ 2265105 w 2519988"/>
              <a:gd name="connsiteY2" fmla="*/ 4863759 h 4894595"/>
              <a:gd name="connsiteX3" fmla="*/ 375151 w 2519988"/>
              <a:gd name="connsiteY3" fmla="*/ 2495447 h 4894595"/>
              <a:gd name="connsiteX4" fmla="*/ 132471 w 2519988"/>
              <a:gd name="connsiteY4" fmla="*/ 1042674 h 4894595"/>
              <a:gd name="connsiteX5" fmla="*/ 2348673 w 2519988"/>
              <a:gd name="connsiteY5" fmla="*/ 240665 h 4894595"/>
              <a:gd name="connsiteX0" fmla="*/ 2348673 w 2519988"/>
              <a:gd name="connsiteY0" fmla="*/ 240665 h 4894595"/>
              <a:gd name="connsiteX1" fmla="*/ 2369769 w 2519988"/>
              <a:gd name="connsiteY1" fmla="*/ 4807370 h 4894595"/>
              <a:gd name="connsiteX2" fmla="*/ 2265105 w 2519988"/>
              <a:gd name="connsiteY2" fmla="*/ 4863759 h 4894595"/>
              <a:gd name="connsiteX3" fmla="*/ 375151 w 2519988"/>
              <a:gd name="connsiteY3" fmla="*/ 2490015 h 4894595"/>
              <a:gd name="connsiteX4" fmla="*/ 132471 w 2519988"/>
              <a:gd name="connsiteY4" fmla="*/ 1042674 h 4894595"/>
              <a:gd name="connsiteX5" fmla="*/ 2348673 w 2519988"/>
              <a:gd name="connsiteY5" fmla="*/ 240665 h 4894595"/>
              <a:gd name="connsiteX0" fmla="*/ 2421455 w 2599645"/>
              <a:gd name="connsiteY0" fmla="*/ 164761 h 4818691"/>
              <a:gd name="connsiteX1" fmla="*/ 2442551 w 2599645"/>
              <a:gd name="connsiteY1" fmla="*/ 4731466 h 4818691"/>
              <a:gd name="connsiteX2" fmla="*/ 2337887 w 2599645"/>
              <a:gd name="connsiteY2" fmla="*/ 4787855 h 4818691"/>
              <a:gd name="connsiteX3" fmla="*/ 447933 w 2599645"/>
              <a:gd name="connsiteY3" fmla="*/ 2414111 h 4818691"/>
              <a:gd name="connsiteX4" fmla="*/ 112340 w 2599645"/>
              <a:gd name="connsiteY4" fmla="*/ 1330756 h 4818691"/>
              <a:gd name="connsiteX5" fmla="*/ 2421455 w 2599645"/>
              <a:gd name="connsiteY5" fmla="*/ 164761 h 4818691"/>
              <a:gd name="connsiteX0" fmla="*/ 2416076 w 2593775"/>
              <a:gd name="connsiteY0" fmla="*/ 164295 h 4818225"/>
              <a:gd name="connsiteX1" fmla="*/ 2437172 w 2593775"/>
              <a:gd name="connsiteY1" fmla="*/ 4731000 h 4818225"/>
              <a:gd name="connsiteX2" fmla="*/ 2332508 w 2593775"/>
              <a:gd name="connsiteY2" fmla="*/ 4787389 h 4818225"/>
              <a:gd name="connsiteX3" fmla="*/ 442554 w 2593775"/>
              <a:gd name="connsiteY3" fmla="*/ 2413645 h 4818225"/>
              <a:gd name="connsiteX4" fmla="*/ 113598 w 2593775"/>
              <a:gd name="connsiteY4" fmla="*/ 1333006 h 4818225"/>
              <a:gd name="connsiteX5" fmla="*/ 2416076 w 2593775"/>
              <a:gd name="connsiteY5" fmla="*/ 164295 h 4818225"/>
              <a:gd name="connsiteX0" fmla="*/ 2059909 w 2437172"/>
              <a:gd name="connsiteY0" fmla="*/ 171220 h 4762674"/>
              <a:gd name="connsiteX1" fmla="*/ 2437172 w 2437172"/>
              <a:gd name="connsiteY1" fmla="*/ 4675449 h 4762674"/>
              <a:gd name="connsiteX2" fmla="*/ 2332508 w 2437172"/>
              <a:gd name="connsiteY2" fmla="*/ 4731838 h 4762674"/>
              <a:gd name="connsiteX3" fmla="*/ 442554 w 2437172"/>
              <a:gd name="connsiteY3" fmla="*/ 2358094 h 4762674"/>
              <a:gd name="connsiteX4" fmla="*/ 113598 w 2437172"/>
              <a:gd name="connsiteY4" fmla="*/ 1277455 h 4762674"/>
              <a:gd name="connsiteX5" fmla="*/ 2059909 w 2437172"/>
              <a:gd name="connsiteY5" fmla="*/ 171220 h 4762674"/>
              <a:gd name="connsiteX0" fmla="*/ 1757412 w 2134675"/>
              <a:gd name="connsiteY0" fmla="*/ 598810 h 5190264"/>
              <a:gd name="connsiteX1" fmla="*/ 2134675 w 2134675"/>
              <a:gd name="connsiteY1" fmla="*/ 5103039 h 5190264"/>
              <a:gd name="connsiteX2" fmla="*/ 2030011 w 2134675"/>
              <a:gd name="connsiteY2" fmla="*/ 5159428 h 5190264"/>
              <a:gd name="connsiteX3" fmla="*/ 140057 w 2134675"/>
              <a:gd name="connsiteY3" fmla="*/ 2785684 h 5190264"/>
              <a:gd name="connsiteX4" fmla="*/ 371574 w 2134675"/>
              <a:gd name="connsiteY4" fmla="*/ 511011 h 5190264"/>
              <a:gd name="connsiteX5" fmla="*/ 1757412 w 2134675"/>
              <a:gd name="connsiteY5" fmla="*/ 598810 h 5190264"/>
              <a:gd name="connsiteX0" fmla="*/ 1756869 w 2134132"/>
              <a:gd name="connsiteY0" fmla="*/ 603638 h 5195092"/>
              <a:gd name="connsiteX1" fmla="*/ 2134132 w 2134132"/>
              <a:gd name="connsiteY1" fmla="*/ 5107867 h 5195092"/>
              <a:gd name="connsiteX2" fmla="*/ 2029468 w 2134132"/>
              <a:gd name="connsiteY2" fmla="*/ 5164256 h 5195092"/>
              <a:gd name="connsiteX3" fmla="*/ 139514 w 2134132"/>
              <a:gd name="connsiteY3" fmla="*/ 2790512 h 5195092"/>
              <a:gd name="connsiteX4" fmla="*/ 373243 w 2134132"/>
              <a:gd name="connsiteY4" fmla="*/ 507691 h 5195092"/>
              <a:gd name="connsiteX5" fmla="*/ 1756869 w 2134132"/>
              <a:gd name="connsiteY5" fmla="*/ 603638 h 5195092"/>
              <a:gd name="connsiteX0" fmla="*/ 1757411 w 2134674"/>
              <a:gd name="connsiteY0" fmla="*/ 597207 h 5188661"/>
              <a:gd name="connsiteX1" fmla="*/ 2134674 w 2134674"/>
              <a:gd name="connsiteY1" fmla="*/ 5101436 h 5188661"/>
              <a:gd name="connsiteX2" fmla="*/ 2030010 w 2134674"/>
              <a:gd name="connsiteY2" fmla="*/ 5157825 h 5188661"/>
              <a:gd name="connsiteX3" fmla="*/ 140056 w 2134674"/>
              <a:gd name="connsiteY3" fmla="*/ 2784081 h 5188661"/>
              <a:gd name="connsiteX4" fmla="*/ 371573 w 2134674"/>
              <a:gd name="connsiteY4" fmla="*/ 512125 h 5188661"/>
              <a:gd name="connsiteX5" fmla="*/ 1757411 w 2134674"/>
              <a:gd name="connsiteY5" fmla="*/ 597207 h 5188661"/>
              <a:gd name="connsiteX0" fmla="*/ 2069334 w 2219253"/>
              <a:gd name="connsiteY0" fmla="*/ 1066529 h 4968040"/>
              <a:gd name="connsiteX1" fmla="*/ 2134674 w 2219253"/>
              <a:gd name="connsiteY1" fmla="*/ 4880815 h 4968040"/>
              <a:gd name="connsiteX2" fmla="*/ 2030010 w 2219253"/>
              <a:gd name="connsiteY2" fmla="*/ 4937204 h 4968040"/>
              <a:gd name="connsiteX3" fmla="*/ 140056 w 2219253"/>
              <a:gd name="connsiteY3" fmla="*/ 2563460 h 4968040"/>
              <a:gd name="connsiteX4" fmla="*/ 371573 w 2219253"/>
              <a:gd name="connsiteY4" fmla="*/ 291504 h 4968040"/>
              <a:gd name="connsiteX5" fmla="*/ 2069334 w 2219253"/>
              <a:gd name="connsiteY5" fmla="*/ 1066529 h 4968040"/>
              <a:gd name="connsiteX0" fmla="*/ 2129064 w 2261074"/>
              <a:gd name="connsiteY0" fmla="*/ 1422730 h 4900496"/>
              <a:gd name="connsiteX1" fmla="*/ 2134674 w 2261074"/>
              <a:gd name="connsiteY1" fmla="*/ 4813271 h 4900496"/>
              <a:gd name="connsiteX2" fmla="*/ 2030010 w 2261074"/>
              <a:gd name="connsiteY2" fmla="*/ 4869660 h 4900496"/>
              <a:gd name="connsiteX3" fmla="*/ 140056 w 2261074"/>
              <a:gd name="connsiteY3" fmla="*/ 2495916 h 4900496"/>
              <a:gd name="connsiteX4" fmla="*/ 371573 w 2261074"/>
              <a:gd name="connsiteY4" fmla="*/ 223960 h 4900496"/>
              <a:gd name="connsiteX5" fmla="*/ 2129064 w 2261074"/>
              <a:gd name="connsiteY5" fmla="*/ 1422730 h 4900496"/>
              <a:gd name="connsiteX0" fmla="*/ 2129064 w 2134674"/>
              <a:gd name="connsiteY0" fmla="*/ 1426308 h 4904074"/>
              <a:gd name="connsiteX1" fmla="*/ 2134674 w 2134674"/>
              <a:gd name="connsiteY1" fmla="*/ 4816849 h 4904074"/>
              <a:gd name="connsiteX2" fmla="*/ 2030010 w 2134674"/>
              <a:gd name="connsiteY2" fmla="*/ 4873238 h 4904074"/>
              <a:gd name="connsiteX3" fmla="*/ 140056 w 2134674"/>
              <a:gd name="connsiteY3" fmla="*/ 2499494 h 4904074"/>
              <a:gd name="connsiteX4" fmla="*/ 371573 w 2134674"/>
              <a:gd name="connsiteY4" fmla="*/ 227538 h 4904074"/>
              <a:gd name="connsiteX5" fmla="*/ 2129064 w 2134674"/>
              <a:gd name="connsiteY5" fmla="*/ 1426308 h 4904074"/>
              <a:gd name="connsiteX0" fmla="*/ 2129064 w 2134674"/>
              <a:gd name="connsiteY0" fmla="*/ 1426308 h 4904074"/>
              <a:gd name="connsiteX1" fmla="*/ 2134674 w 2134674"/>
              <a:gd name="connsiteY1" fmla="*/ 4816849 h 4904074"/>
              <a:gd name="connsiteX2" fmla="*/ 2030010 w 2134674"/>
              <a:gd name="connsiteY2" fmla="*/ 4873238 h 4904074"/>
              <a:gd name="connsiteX3" fmla="*/ 140056 w 2134674"/>
              <a:gd name="connsiteY3" fmla="*/ 2499494 h 4904074"/>
              <a:gd name="connsiteX4" fmla="*/ 371573 w 2134674"/>
              <a:gd name="connsiteY4" fmla="*/ 227538 h 4904074"/>
              <a:gd name="connsiteX5" fmla="*/ 2129064 w 2134674"/>
              <a:gd name="connsiteY5" fmla="*/ 1426308 h 4904074"/>
              <a:gd name="connsiteX0" fmla="*/ 2129064 w 2134674"/>
              <a:gd name="connsiteY0" fmla="*/ 1394334 h 4872100"/>
              <a:gd name="connsiteX1" fmla="*/ 2134674 w 2134674"/>
              <a:gd name="connsiteY1" fmla="*/ 4784875 h 4872100"/>
              <a:gd name="connsiteX2" fmla="*/ 2030010 w 2134674"/>
              <a:gd name="connsiteY2" fmla="*/ 4841264 h 4872100"/>
              <a:gd name="connsiteX3" fmla="*/ 140056 w 2134674"/>
              <a:gd name="connsiteY3" fmla="*/ 2467520 h 4872100"/>
              <a:gd name="connsiteX4" fmla="*/ 371573 w 2134674"/>
              <a:gd name="connsiteY4" fmla="*/ 195564 h 4872100"/>
              <a:gd name="connsiteX5" fmla="*/ 2129064 w 2134674"/>
              <a:gd name="connsiteY5" fmla="*/ 1394334 h 4872100"/>
              <a:gd name="connsiteX0" fmla="*/ 2299717 w 2305327"/>
              <a:gd name="connsiteY0" fmla="*/ 1394334 h 4872100"/>
              <a:gd name="connsiteX1" fmla="*/ 2305327 w 2305327"/>
              <a:gd name="connsiteY1" fmla="*/ 4784875 h 4872100"/>
              <a:gd name="connsiteX2" fmla="*/ 2200663 w 2305327"/>
              <a:gd name="connsiteY2" fmla="*/ 4841264 h 4872100"/>
              <a:gd name="connsiteX3" fmla="*/ 310709 w 2305327"/>
              <a:gd name="connsiteY3" fmla="*/ 2467520 h 4872100"/>
              <a:gd name="connsiteX4" fmla="*/ 542226 w 2305327"/>
              <a:gd name="connsiteY4" fmla="*/ 195564 h 4872100"/>
              <a:gd name="connsiteX5" fmla="*/ 2299717 w 2305327"/>
              <a:gd name="connsiteY5" fmla="*/ 1394334 h 4872100"/>
              <a:gd name="connsiteX0" fmla="*/ 2308970 w 2314580"/>
              <a:gd name="connsiteY0" fmla="*/ 1394334 h 4872100"/>
              <a:gd name="connsiteX1" fmla="*/ 2314580 w 2314580"/>
              <a:gd name="connsiteY1" fmla="*/ 4784875 h 4872100"/>
              <a:gd name="connsiteX2" fmla="*/ 2209916 w 2314580"/>
              <a:gd name="connsiteY2" fmla="*/ 4841264 h 4872100"/>
              <a:gd name="connsiteX3" fmla="*/ 319962 w 2314580"/>
              <a:gd name="connsiteY3" fmla="*/ 2467520 h 4872100"/>
              <a:gd name="connsiteX4" fmla="*/ 551479 w 2314580"/>
              <a:gd name="connsiteY4" fmla="*/ 195564 h 4872100"/>
              <a:gd name="connsiteX5" fmla="*/ 2308970 w 2314580"/>
              <a:gd name="connsiteY5" fmla="*/ 1394334 h 4872100"/>
              <a:gd name="connsiteX0" fmla="*/ 2334610 w 2340220"/>
              <a:gd name="connsiteY0" fmla="*/ 1394334 h 4872100"/>
              <a:gd name="connsiteX1" fmla="*/ 2340220 w 2340220"/>
              <a:gd name="connsiteY1" fmla="*/ 4784875 h 4872100"/>
              <a:gd name="connsiteX2" fmla="*/ 2235556 w 2340220"/>
              <a:gd name="connsiteY2" fmla="*/ 4841264 h 4872100"/>
              <a:gd name="connsiteX3" fmla="*/ 345602 w 2340220"/>
              <a:gd name="connsiteY3" fmla="*/ 2467520 h 4872100"/>
              <a:gd name="connsiteX4" fmla="*/ 577119 w 2340220"/>
              <a:gd name="connsiteY4" fmla="*/ 195564 h 4872100"/>
              <a:gd name="connsiteX5" fmla="*/ 2334610 w 2340220"/>
              <a:gd name="connsiteY5" fmla="*/ 1394334 h 4872100"/>
              <a:gd name="connsiteX0" fmla="*/ 2317496 w 2323106"/>
              <a:gd name="connsiteY0" fmla="*/ 1394334 h 4872100"/>
              <a:gd name="connsiteX1" fmla="*/ 2323106 w 2323106"/>
              <a:gd name="connsiteY1" fmla="*/ 4784875 h 4872100"/>
              <a:gd name="connsiteX2" fmla="*/ 2218442 w 2323106"/>
              <a:gd name="connsiteY2" fmla="*/ 4841264 h 4872100"/>
              <a:gd name="connsiteX3" fmla="*/ 328488 w 2323106"/>
              <a:gd name="connsiteY3" fmla="*/ 2467520 h 4872100"/>
              <a:gd name="connsiteX4" fmla="*/ 560005 w 2323106"/>
              <a:gd name="connsiteY4" fmla="*/ 195564 h 4872100"/>
              <a:gd name="connsiteX5" fmla="*/ 2317496 w 2323106"/>
              <a:gd name="connsiteY5" fmla="*/ 1394334 h 4872100"/>
              <a:gd name="connsiteX0" fmla="*/ 2317496 w 2323106"/>
              <a:gd name="connsiteY0" fmla="*/ 1396095 h 4873861"/>
              <a:gd name="connsiteX1" fmla="*/ 2323106 w 2323106"/>
              <a:gd name="connsiteY1" fmla="*/ 4786636 h 4873861"/>
              <a:gd name="connsiteX2" fmla="*/ 2218442 w 2323106"/>
              <a:gd name="connsiteY2" fmla="*/ 4843025 h 4873861"/>
              <a:gd name="connsiteX3" fmla="*/ 328488 w 2323106"/>
              <a:gd name="connsiteY3" fmla="*/ 2469281 h 4873861"/>
              <a:gd name="connsiteX4" fmla="*/ 560005 w 2323106"/>
              <a:gd name="connsiteY4" fmla="*/ 197325 h 4873861"/>
              <a:gd name="connsiteX5" fmla="*/ 2317496 w 2323106"/>
              <a:gd name="connsiteY5" fmla="*/ 1396095 h 4873861"/>
              <a:gd name="connsiteX0" fmla="*/ 2317496 w 2323106"/>
              <a:gd name="connsiteY0" fmla="*/ 1398561 h 4876327"/>
              <a:gd name="connsiteX1" fmla="*/ 2323106 w 2323106"/>
              <a:gd name="connsiteY1" fmla="*/ 4789102 h 4876327"/>
              <a:gd name="connsiteX2" fmla="*/ 2218442 w 2323106"/>
              <a:gd name="connsiteY2" fmla="*/ 4845491 h 4876327"/>
              <a:gd name="connsiteX3" fmla="*/ 328488 w 2323106"/>
              <a:gd name="connsiteY3" fmla="*/ 2471747 h 4876327"/>
              <a:gd name="connsiteX4" fmla="*/ 560005 w 2323106"/>
              <a:gd name="connsiteY4" fmla="*/ 199791 h 4876327"/>
              <a:gd name="connsiteX5" fmla="*/ 2317496 w 2323106"/>
              <a:gd name="connsiteY5" fmla="*/ 1398561 h 4876327"/>
              <a:gd name="connsiteX0" fmla="*/ 2317496 w 2323106"/>
              <a:gd name="connsiteY0" fmla="*/ 1389720 h 4867486"/>
              <a:gd name="connsiteX1" fmla="*/ 2323106 w 2323106"/>
              <a:gd name="connsiteY1" fmla="*/ 4780261 h 4867486"/>
              <a:gd name="connsiteX2" fmla="*/ 2218442 w 2323106"/>
              <a:gd name="connsiteY2" fmla="*/ 4836650 h 4867486"/>
              <a:gd name="connsiteX3" fmla="*/ 328488 w 2323106"/>
              <a:gd name="connsiteY3" fmla="*/ 2462906 h 4867486"/>
              <a:gd name="connsiteX4" fmla="*/ 560005 w 2323106"/>
              <a:gd name="connsiteY4" fmla="*/ 190950 h 4867486"/>
              <a:gd name="connsiteX5" fmla="*/ 2317496 w 2323106"/>
              <a:gd name="connsiteY5" fmla="*/ 1389720 h 4867486"/>
              <a:gd name="connsiteX0" fmla="*/ 2317496 w 2323106"/>
              <a:gd name="connsiteY0" fmla="*/ 1392690 h 4870456"/>
              <a:gd name="connsiteX1" fmla="*/ 2323106 w 2323106"/>
              <a:gd name="connsiteY1" fmla="*/ 4783231 h 4870456"/>
              <a:gd name="connsiteX2" fmla="*/ 2218442 w 2323106"/>
              <a:gd name="connsiteY2" fmla="*/ 4839620 h 4870456"/>
              <a:gd name="connsiteX3" fmla="*/ 328488 w 2323106"/>
              <a:gd name="connsiteY3" fmla="*/ 2465876 h 4870456"/>
              <a:gd name="connsiteX4" fmla="*/ 560005 w 2323106"/>
              <a:gd name="connsiteY4" fmla="*/ 193920 h 4870456"/>
              <a:gd name="connsiteX5" fmla="*/ 2317496 w 2323106"/>
              <a:gd name="connsiteY5" fmla="*/ 1392690 h 4870456"/>
              <a:gd name="connsiteX0" fmla="*/ 2317496 w 2323106"/>
              <a:gd name="connsiteY0" fmla="*/ 1392690 h 4870456"/>
              <a:gd name="connsiteX1" fmla="*/ 2323106 w 2323106"/>
              <a:gd name="connsiteY1" fmla="*/ 4783231 h 4870456"/>
              <a:gd name="connsiteX2" fmla="*/ 2218442 w 2323106"/>
              <a:gd name="connsiteY2" fmla="*/ 4839620 h 4870456"/>
              <a:gd name="connsiteX3" fmla="*/ 328488 w 2323106"/>
              <a:gd name="connsiteY3" fmla="*/ 2465876 h 4870456"/>
              <a:gd name="connsiteX4" fmla="*/ 560005 w 2323106"/>
              <a:gd name="connsiteY4" fmla="*/ 193920 h 4870456"/>
              <a:gd name="connsiteX5" fmla="*/ 2317496 w 2323106"/>
              <a:gd name="connsiteY5" fmla="*/ 1392690 h 4870456"/>
              <a:gd name="connsiteX0" fmla="*/ 2317496 w 2323106"/>
              <a:gd name="connsiteY0" fmla="*/ 1398024 h 4875790"/>
              <a:gd name="connsiteX1" fmla="*/ 2323106 w 2323106"/>
              <a:gd name="connsiteY1" fmla="*/ 4788565 h 4875790"/>
              <a:gd name="connsiteX2" fmla="*/ 2218442 w 2323106"/>
              <a:gd name="connsiteY2" fmla="*/ 4844954 h 4875790"/>
              <a:gd name="connsiteX3" fmla="*/ 328488 w 2323106"/>
              <a:gd name="connsiteY3" fmla="*/ 2471210 h 4875790"/>
              <a:gd name="connsiteX4" fmla="*/ 560005 w 2323106"/>
              <a:gd name="connsiteY4" fmla="*/ 199254 h 4875790"/>
              <a:gd name="connsiteX5" fmla="*/ 2317496 w 2323106"/>
              <a:gd name="connsiteY5" fmla="*/ 1398024 h 4875790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2691 h 4870457"/>
              <a:gd name="connsiteX1" fmla="*/ 2323106 w 2323106"/>
              <a:gd name="connsiteY1" fmla="*/ 4783232 h 4870457"/>
              <a:gd name="connsiteX2" fmla="*/ 2218442 w 2323106"/>
              <a:gd name="connsiteY2" fmla="*/ 4839621 h 4870457"/>
              <a:gd name="connsiteX3" fmla="*/ 328488 w 2323106"/>
              <a:gd name="connsiteY3" fmla="*/ 2465877 h 4870457"/>
              <a:gd name="connsiteX4" fmla="*/ 560005 w 2323106"/>
              <a:gd name="connsiteY4" fmla="*/ 193921 h 4870457"/>
              <a:gd name="connsiteX5" fmla="*/ 2317496 w 2323106"/>
              <a:gd name="connsiteY5" fmla="*/ 1392691 h 4870457"/>
              <a:gd name="connsiteX0" fmla="*/ 2317496 w 2323106"/>
              <a:gd name="connsiteY0" fmla="*/ 1399806 h 4877572"/>
              <a:gd name="connsiteX1" fmla="*/ 2323106 w 2323106"/>
              <a:gd name="connsiteY1" fmla="*/ 4790347 h 4877572"/>
              <a:gd name="connsiteX2" fmla="*/ 2218442 w 2323106"/>
              <a:gd name="connsiteY2" fmla="*/ 4846736 h 4877572"/>
              <a:gd name="connsiteX3" fmla="*/ 328488 w 2323106"/>
              <a:gd name="connsiteY3" fmla="*/ 2472992 h 4877572"/>
              <a:gd name="connsiteX4" fmla="*/ 560005 w 2323106"/>
              <a:gd name="connsiteY4" fmla="*/ 201036 h 4877572"/>
              <a:gd name="connsiteX5" fmla="*/ 2317496 w 2323106"/>
              <a:gd name="connsiteY5" fmla="*/ 1399806 h 4877572"/>
              <a:gd name="connsiteX0" fmla="*/ 2317496 w 2323106"/>
              <a:gd name="connsiteY0" fmla="*/ 1399806 h 4877572"/>
              <a:gd name="connsiteX1" fmla="*/ 2323106 w 2323106"/>
              <a:gd name="connsiteY1" fmla="*/ 4790347 h 4877572"/>
              <a:gd name="connsiteX2" fmla="*/ 2218442 w 2323106"/>
              <a:gd name="connsiteY2" fmla="*/ 4846736 h 4877572"/>
              <a:gd name="connsiteX3" fmla="*/ 328488 w 2323106"/>
              <a:gd name="connsiteY3" fmla="*/ 2472992 h 4877572"/>
              <a:gd name="connsiteX4" fmla="*/ 560005 w 2323106"/>
              <a:gd name="connsiteY4" fmla="*/ 201036 h 4877572"/>
              <a:gd name="connsiteX5" fmla="*/ 2317496 w 2323106"/>
              <a:gd name="connsiteY5" fmla="*/ 1399806 h 4877572"/>
              <a:gd name="connsiteX0" fmla="*/ 2317496 w 2323106"/>
              <a:gd name="connsiteY0" fmla="*/ 1396245 h 4874011"/>
              <a:gd name="connsiteX1" fmla="*/ 2323106 w 2323106"/>
              <a:gd name="connsiteY1" fmla="*/ 4786786 h 4874011"/>
              <a:gd name="connsiteX2" fmla="*/ 2218442 w 2323106"/>
              <a:gd name="connsiteY2" fmla="*/ 4843175 h 4874011"/>
              <a:gd name="connsiteX3" fmla="*/ 328488 w 2323106"/>
              <a:gd name="connsiteY3" fmla="*/ 2469431 h 4874011"/>
              <a:gd name="connsiteX4" fmla="*/ 560005 w 2323106"/>
              <a:gd name="connsiteY4" fmla="*/ 197475 h 4874011"/>
              <a:gd name="connsiteX5" fmla="*/ 2317496 w 2323106"/>
              <a:gd name="connsiteY5" fmla="*/ 1396245 h 4874011"/>
              <a:gd name="connsiteX0" fmla="*/ 2317496 w 2323106"/>
              <a:gd name="connsiteY0" fmla="*/ 1399314 h 4877080"/>
              <a:gd name="connsiteX1" fmla="*/ 2323106 w 2323106"/>
              <a:gd name="connsiteY1" fmla="*/ 4789855 h 4877080"/>
              <a:gd name="connsiteX2" fmla="*/ 2218442 w 2323106"/>
              <a:gd name="connsiteY2" fmla="*/ 4846244 h 4877080"/>
              <a:gd name="connsiteX3" fmla="*/ 328488 w 2323106"/>
              <a:gd name="connsiteY3" fmla="*/ 2472500 h 4877080"/>
              <a:gd name="connsiteX4" fmla="*/ 560005 w 2323106"/>
              <a:gd name="connsiteY4" fmla="*/ 200544 h 4877080"/>
              <a:gd name="connsiteX5" fmla="*/ 2317496 w 2323106"/>
              <a:gd name="connsiteY5" fmla="*/ 1399314 h 4877080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7496 w 2323106"/>
              <a:gd name="connsiteY0" fmla="*/ 1392168 h 4869934"/>
              <a:gd name="connsiteX1" fmla="*/ 2323106 w 2323106"/>
              <a:gd name="connsiteY1" fmla="*/ 4782709 h 4869934"/>
              <a:gd name="connsiteX2" fmla="*/ 2218442 w 2323106"/>
              <a:gd name="connsiteY2" fmla="*/ 4839098 h 4869934"/>
              <a:gd name="connsiteX3" fmla="*/ 328488 w 2323106"/>
              <a:gd name="connsiteY3" fmla="*/ 2465354 h 4869934"/>
              <a:gd name="connsiteX4" fmla="*/ 560005 w 2323106"/>
              <a:gd name="connsiteY4" fmla="*/ 193398 h 4869934"/>
              <a:gd name="connsiteX5" fmla="*/ 2317496 w 2323106"/>
              <a:gd name="connsiteY5" fmla="*/ 1392168 h 4869934"/>
              <a:gd name="connsiteX0" fmla="*/ 2319830 w 2323106"/>
              <a:gd name="connsiteY0" fmla="*/ 1399683 h 4868852"/>
              <a:gd name="connsiteX1" fmla="*/ 2323106 w 2323106"/>
              <a:gd name="connsiteY1" fmla="*/ 4781627 h 4868852"/>
              <a:gd name="connsiteX2" fmla="*/ 2218442 w 2323106"/>
              <a:gd name="connsiteY2" fmla="*/ 4838016 h 4868852"/>
              <a:gd name="connsiteX3" fmla="*/ 328488 w 2323106"/>
              <a:gd name="connsiteY3" fmla="*/ 2464272 h 4868852"/>
              <a:gd name="connsiteX4" fmla="*/ 560005 w 2323106"/>
              <a:gd name="connsiteY4" fmla="*/ 192316 h 4868852"/>
              <a:gd name="connsiteX5" fmla="*/ 2319830 w 2323106"/>
              <a:gd name="connsiteY5" fmla="*/ 1399683 h 4868852"/>
              <a:gd name="connsiteX0" fmla="*/ 2319830 w 2323106"/>
              <a:gd name="connsiteY0" fmla="*/ 1402669 h 4871838"/>
              <a:gd name="connsiteX1" fmla="*/ 2323106 w 2323106"/>
              <a:gd name="connsiteY1" fmla="*/ 4784613 h 4871838"/>
              <a:gd name="connsiteX2" fmla="*/ 2218442 w 2323106"/>
              <a:gd name="connsiteY2" fmla="*/ 4841002 h 4871838"/>
              <a:gd name="connsiteX3" fmla="*/ 328488 w 2323106"/>
              <a:gd name="connsiteY3" fmla="*/ 2467258 h 4871838"/>
              <a:gd name="connsiteX4" fmla="*/ 560005 w 2323106"/>
              <a:gd name="connsiteY4" fmla="*/ 195302 h 4871838"/>
              <a:gd name="connsiteX5" fmla="*/ 2319830 w 2323106"/>
              <a:gd name="connsiteY5" fmla="*/ 1402669 h 4871838"/>
              <a:gd name="connsiteX0" fmla="*/ 2319830 w 2323106"/>
              <a:gd name="connsiteY0" fmla="*/ 1403343 h 4872512"/>
              <a:gd name="connsiteX1" fmla="*/ 2323106 w 2323106"/>
              <a:gd name="connsiteY1" fmla="*/ 4785287 h 4872512"/>
              <a:gd name="connsiteX2" fmla="*/ 2218442 w 2323106"/>
              <a:gd name="connsiteY2" fmla="*/ 4841676 h 4872512"/>
              <a:gd name="connsiteX3" fmla="*/ 328488 w 2323106"/>
              <a:gd name="connsiteY3" fmla="*/ 2467932 h 4872512"/>
              <a:gd name="connsiteX4" fmla="*/ 560005 w 2323106"/>
              <a:gd name="connsiteY4" fmla="*/ 195976 h 4872512"/>
              <a:gd name="connsiteX5" fmla="*/ 2319830 w 2323106"/>
              <a:gd name="connsiteY5" fmla="*/ 1403343 h 4872512"/>
              <a:gd name="connsiteX0" fmla="*/ 2324359 w 2327635"/>
              <a:gd name="connsiteY0" fmla="*/ 1403343 h 4872512"/>
              <a:gd name="connsiteX1" fmla="*/ 2327635 w 2327635"/>
              <a:gd name="connsiteY1" fmla="*/ 4785287 h 4872512"/>
              <a:gd name="connsiteX2" fmla="*/ 2222971 w 2327635"/>
              <a:gd name="connsiteY2" fmla="*/ 4841676 h 4872512"/>
              <a:gd name="connsiteX3" fmla="*/ 333017 w 2327635"/>
              <a:gd name="connsiteY3" fmla="*/ 2467932 h 4872512"/>
              <a:gd name="connsiteX4" fmla="*/ 564534 w 2327635"/>
              <a:gd name="connsiteY4" fmla="*/ 195976 h 4872512"/>
              <a:gd name="connsiteX5" fmla="*/ 2324359 w 2327635"/>
              <a:gd name="connsiteY5" fmla="*/ 1403343 h 4872512"/>
              <a:gd name="connsiteX0" fmla="*/ 2326563 w 2458304"/>
              <a:gd name="connsiteY0" fmla="*/ 1388146 h 4857315"/>
              <a:gd name="connsiteX1" fmla="*/ 2329839 w 2458304"/>
              <a:gd name="connsiteY1" fmla="*/ 4770090 h 4857315"/>
              <a:gd name="connsiteX2" fmla="*/ 2225175 w 2458304"/>
              <a:gd name="connsiteY2" fmla="*/ 4826479 h 4857315"/>
              <a:gd name="connsiteX3" fmla="*/ 335221 w 2458304"/>
              <a:gd name="connsiteY3" fmla="*/ 2452735 h 4857315"/>
              <a:gd name="connsiteX4" fmla="*/ 562070 w 2458304"/>
              <a:gd name="connsiteY4" fmla="*/ 180779 h 4857315"/>
              <a:gd name="connsiteX5" fmla="*/ 2326563 w 2458304"/>
              <a:gd name="connsiteY5" fmla="*/ 1388146 h 4857315"/>
              <a:gd name="connsiteX0" fmla="*/ 2326563 w 2329839"/>
              <a:gd name="connsiteY0" fmla="*/ 1396124 h 4865293"/>
              <a:gd name="connsiteX1" fmla="*/ 2329839 w 2329839"/>
              <a:gd name="connsiteY1" fmla="*/ 4778068 h 4865293"/>
              <a:gd name="connsiteX2" fmla="*/ 2225175 w 2329839"/>
              <a:gd name="connsiteY2" fmla="*/ 4834457 h 4865293"/>
              <a:gd name="connsiteX3" fmla="*/ 335221 w 2329839"/>
              <a:gd name="connsiteY3" fmla="*/ 2460713 h 4865293"/>
              <a:gd name="connsiteX4" fmla="*/ 562070 w 2329839"/>
              <a:gd name="connsiteY4" fmla="*/ 188757 h 4865293"/>
              <a:gd name="connsiteX5" fmla="*/ 2326563 w 2329839"/>
              <a:gd name="connsiteY5" fmla="*/ 1396124 h 4865293"/>
              <a:gd name="connsiteX0" fmla="*/ 2326563 w 2329839"/>
              <a:gd name="connsiteY0" fmla="*/ 1394861 h 4864030"/>
              <a:gd name="connsiteX1" fmla="*/ 2329839 w 2329839"/>
              <a:gd name="connsiteY1" fmla="*/ 4776805 h 4864030"/>
              <a:gd name="connsiteX2" fmla="*/ 2225175 w 2329839"/>
              <a:gd name="connsiteY2" fmla="*/ 4833194 h 4864030"/>
              <a:gd name="connsiteX3" fmla="*/ 335221 w 2329839"/>
              <a:gd name="connsiteY3" fmla="*/ 2459450 h 4864030"/>
              <a:gd name="connsiteX4" fmla="*/ 562070 w 2329839"/>
              <a:gd name="connsiteY4" fmla="*/ 187494 h 4864030"/>
              <a:gd name="connsiteX5" fmla="*/ 2326563 w 2329839"/>
              <a:gd name="connsiteY5" fmla="*/ 1394861 h 4864030"/>
              <a:gd name="connsiteX0" fmla="*/ 2326563 w 2329839"/>
              <a:gd name="connsiteY0" fmla="*/ 1401537 h 4870706"/>
              <a:gd name="connsiteX1" fmla="*/ 2329839 w 2329839"/>
              <a:gd name="connsiteY1" fmla="*/ 4783481 h 4870706"/>
              <a:gd name="connsiteX2" fmla="*/ 2225175 w 2329839"/>
              <a:gd name="connsiteY2" fmla="*/ 4839870 h 4870706"/>
              <a:gd name="connsiteX3" fmla="*/ 335221 w 2329839"/>
              <a:gd name="connsiteY3" fmla="*/ 2466126 h 4870706"/>
              <a:gd name="connsiteX4" fmla="*/ 562070 w 2329839"/>
              <a:gd name="connsiteY4" fmla="*/ 194170 h 4870706"/>
              <a:gd name="connsiteX5" fmla="*/ 2326563 w 2329839"/>
              <a:gd name="connsiteY5" fmla="*/ 1401537 h 4870706"/>
              <a:gd name="connsiteX0" fmla="*/ 2326563 w 2329839"/>
              <a:gd name="connsiteY0" fmla="*/ 1403211 h 4872380"/>
              <a:gd name="connsiteX1" fmla="*/ 2329839 w 2329839"/>
              <a:gd name="connsiteY1" fmla="*/ 4785155 h 4872380"/>
              <a:gd name="connsiteX2" fmla="*/ 2225175 w 2329839"/>
              <a:gd name="connsiteY2" fmla="*/ 4841544 h 4872380"/>
              <a:gd name="connsiteX3" fmla="*/ 335221 w 2329839"/>
              <a:gd name="connsiteY3" fmla="*/ 2467800 h 4872380"/>
              <a:gd name="connsiteX4" fmla="*/ 562070 w 2329839"/>
              <a:gd name="connsiteY4" fmla="*/ 195844 h 4872380"/>
              <a:gd name="connsiteX5" fmla="*/ 2326563 w 2329839"/>
              <a:gd name="connsiteY5" fmla="*/ 1403211 h 4872380"/>
              <a:gd name="connsiteX0" fmla="*/ 2326563 w 2330469"/>
              <a:gd name="connsiteY0" fmla="*/ 1418627 h 4887796"/>
              <a:gd name="connsiteX1" fmla="*/ 2329839 w 2330469"/>
              <a:gd name="connsiteY1" fmla="*/ 4800571 h 4887796"/>
              <a:gd name="connsiteX2" fmla="*/ 2225175 w 2330469"/>
              <a:gd name="connsiteY2" fmla="*/ 4856960 h 4887796"/>
              <a:gd name="connsiteX3" fmla="*/ 335221 w 2330469"/>
              <a:gd name="connsiteY3" fmla="*/ 2483216 h 4887796"/>
              <a:gd name="connsiteX4" fmla="*/ 562070 w 2330469"/>
              <a:gd name="connsiteY4" fmla="*/ 211260 h 4887796"/>
              <a:gd name="connsiteX5" fmla="*/ 2326563 w 2330469"/>
              <a:gd name="connsiteY5" fmla="*/ 1418627 h 4887796"/>
              <a:gd name="connsiteX0" fmla="*/ 2326563 w 2330469"/>
              <a:gd name="connsiteY0" fmla="*/ 1403156 h 4872325"/>
              <a:gd name="connsiteX1" fmla="*/ 2329839 w 2330469"/>
              <a:gd name="connsiteY1" fmla="*/ 4785100 h 4872325"/>
              <a:gd name="connsiteX2" fmla="*/ 2225175 w 2330469"/>
              <a:gd name="connsiteY2" fmla="*/ 4841489 h 4872325"/>
              <a:gd name="connsiteX3" fmla="*/ 335221 w 2330469"/>
              <a:gd name="connsiteY3" fmla="*/ 2467745 h 4872325"/>
              <a:gd name="connsiteX4" fmla="*/ 562070 w 2330469"/>
              <a:gd name="connsiteY4" fmla="*/ 195789 h 4872325"/>
              <a:gd name="connsiteX5" fmla="*/ 2326563 w 2330469"/>
              <a:gd name="connsiteY5" fmla="*/ 1403156 h 4872325"/>
              <a:gd name="connsiteX0" fmla="*/ 2326563 w 2330469"/>
              <a:gd name="connsiteY0" fmla="*/ 1377614 h 4846783"/>
              <a:gd name="connsiteX1" fmla="*/ 2329839 w 2330469"/>
              <a:gd name="connsiteY1" fmla="*/ 4759558 h 4846783"/>
              <a:gd name="connsiteX2" fmla="*/ 2225175 w 2330469"/>
              <a:gd name="connsiteY2" fmla="*/ 4815947 h 4846783"/>
              <a:gd name="connsiteX3" fmla="*/ 335221 w 2330469"/>
              <a:gd name="connsiteY3" fmla="*/ 2442203 h 4846783"/>
              <a:gd name="connsiteX4" fmla="*/ 562070 w 2330469"/>
              <a:gd name="connsiteY4" fmla="*/ 170247 h 4846783"/>
              <a:gd name="connsiteX5" fmla="*/ 2326563 w 2330469"/>
              <a:gd name="connsiteY5" fmla="*/ 1377614 h 4846783"/>
              <a:gd name="connsiteX0" fmla="*/ 2326563 w 2330469"/>
              <a:gd name="connsiteY0" fmla="*/ 1403155 h 4872324"/>
              <a:gd name="connsiteX1" fmla="*/ 2329839 w 2330469"/>
              <a:gd name="connsiteY1" fmla="*/ 4785099 h 4872324"/>
              <a:gd name="connsiteX2" fmla="*/ 2225175 w 2330469"/>
              <a:gd name="connsiteY2" fmla="*/ 4841488 h 4872324"/>
              <a:gd name="connsiteX3" fmla="*/ 335221 w 2330469"/>
              <a:gd name="connsiteY3" fmla="*/ 2467744 h 4872324"/>
              <a:gd name="connsiteX4" fmla="*/ 562070 w 2330469"/>
              <a:gd name="connsiteY4" fmla="*/ 195788 h 4872324"/>
              <a:gd name="connsiteX5" fmla="*/ 2326563 w 2330469"/>
              <a:gd name="connsiteY5" fmla="*/ 1403155 h 4872324"/>
              <a:gd name="connsiteX0" fmla="*/ 2278081 w 2281987"/>
              <a:gd name="connsiteY0" fmla="*/ 1403155 h 4872324"/>
              <a:gd name="connsiteX1" fmla="*/ 2281357 w 2281987"/>
              <a:gd name="connsiteY1" fmla="*/ 4785099 h 4872324"/>
              <a:gd name="connsiteX2" fmla="*/ 2176693 w 2281987"/>
              <a:gd name="connsiteY2" fmla="*/ 4841488 h 4872324"/>
              <a:gd name="connsiteX3" fmla="*/ 286739 w 2281987"/>
              <a:gd name="connsiteY3" fmla="*/ 2467744 h 4872324"/>
              <a:gd name="connsiteX4" fmla="*/ 513588 w 2281987"/>
              <a:gd name="connsiteY4" fmla="*/ 195788 h 4872324"/>
              <a:gd name="connsiteX5" fmla="*/ 2278081 w 2281987"/>
              <a:gd name="connsiteY5" fmla="*/ 1403155 h 4872324"/>
              <a:gd name="connsiteX0" fmla="*/ 2321655 w 2325561"/>
              <a:gd name="connsiteY0" fmla="*/ 1403155 h 4872324"/>
              <a:gd name="connsiteX1" fmla="*/ 2324931 w 2325561"/>
              <a:gd name="connsiteY1" fmla="*/ 4785099 h 4872324"/>
              <a:gd name="connsiteX2" fmla="*/ 2220267 w 2325561"/>
              <a:gd name="connsiteY2" fmla="*/ 4841488 h 4872324"/>
              <a:gd name="connsiteX3" fmla="*/ 330313 w 2325561"/>
              <a:gd name="connsiteY3" fmla="*/ 2467744 h 4872324"/>
              <a:gd name="connsiteX4" fmla="*/ 557162 w 2325561"/>
              <a:gd name="connsiteY4" fmla="*/ 195788 h 4872324"/>
              <a:gd name="connsiteX5" fmla="*/ 2321655 w 2325561"/>
              <a:gd name="connsiteY5" fmla="*/ 1403155 h 4872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25561" h="4872324">
                <a:moveTo>
                  <a:pt x="2321655" y="1403155"/>
                </a:moveTo>
                <a:cubicBezTo>
                  <a:pt x="2327968" y="2360767"/>
                  <a:pt x="2324666" y="4001780"/>
                  <a:pt x="2324931" y="4785099"/>
                </a:cubicBezTo>
                <a:cubicBezTo>
                  <a:pt x="2321552" y="4937375"/>
                  <a:pt x="2214114" y="4844655"/>
                  <a:pt x="2220267" y="4841488"/>
                </a:cubicBezTo>
                <a:cubicBezTo>
                  <a:pt x="1934243" y="4471710"/>
                  <a:pt x="788411" y="3040549"/>
                  <a:pt x="330313" y="2467744"/>
                </a:cubicBezTo>
                <a:cubicBezTo>
                  <a:pt x="-81862" y="1937583"/>
                  <a:pt x="-211970" y="817537"/>
                  <a:pt x="557162" y="195788"/>
                </a:cubicBezTo>
                <a:cubicBezTo>
                  <a:pt x="1466748" y="-393302"/>
                  <a:pt x="2315342" y="445543"/>
                  <a:pt x="2321655" y="140315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0378845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medio corazón izquier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85404" y="430442"/>
            <a:ext cx="7969288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 dirty="0"/>
              <a:t>Haga clic para modificar el estilo de título</a:t>
            </a:r>
            <a:br>
              <a:rPr lang="es-ES" dirty="0"/>
            </a:br>
            <a:r>
              <a:rPr lang="es-ES" dirty="0"/>
              <a:t>del patrón</a:t>
            </a:r>
            <a:endParaRPr lang="de-DE" dirty="0"/>
          </a:p>
        </p:txBody>
      </p:sp>
      <p:sp>
        <p:nvSpPr>
          <p:cNvPr id="8" name="Marcador de texto 4">
            <a:extLst>
              <a:ext uri="{FF2B5EF4-FFF2-40B4-BE49-F238E27FC236}">
                <a16:creationId xmlns:a16="http://schemas.microsoft.com/office/drawing/2014/main" id="{1B495CF2-4B2E-0B46-AB90-08CC9E65205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85404" y="1628775"/>
            <a:ext cx="7977996" cy="4321175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</p:txBody>
      </p:sp>
      <p:sp>
        <p:nvSpPr>
          <p:cNvPr id="7" name="Marcador de posición de imagen 3">
            <a:extLst>
              <a:ext uri="{FF2B5EF4-FFF2-40B4-BE49-F238E27FC236}">
                <a16:creationId xmlns:a16="http://schemas.microsoft.com/office/drawing/2014/main" id="{ED850B16-9AF2-6E48-9DDE-9EEC709D968C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-16329" y="391019"/>
            <a:ext cx="3657600" cy="6241555"/>
          </a:xfrm>
          <a:custGeom>
            <a:avLst/>
            <a:gdLst>
              <a:gd name="connsiteX0" fmla="*/ 1726784 w 3453568"/>
              <a:gd name="connsiteY0" fmla="*/ 761850 h 3047398"/>
              <a:gd name="connsiteX1" fmla="*/ 1726784 w 3453568"/>
              <a:gd name="connsiteY1" fmla="*/ 3047398 h 3047398"/>
              <a:gd name="connsiteX2" fmla="*/ 1726784 w 3453568"/>
              <a:gd name="connsiteY2" fmla="*/ 761850 h 3047398"/>
              <a:gd name="connsiteX0" fmla="*/ 323012 w 2062385"/>
              <a:gd name="connsiteY0" fmla="*/ 724098 h 3009646"/>
              <a:gd name="connsiteX1" fmla="*/ 323012 w 2062385"/>
              <a:gd name="connsiteY1" fmla="*/ 3009646 h 3009646"/>
              <a:gd name="connsiteX2" fmla="*/ 323012 w 2062385"/>
              <a:gd name="connsiteY2" fmla="*/ 724098 h 3009646"/>
              <a:gd name="connsiteX0" fmla="*/ 5073 w 1744446"/>
              <a:gd name="connsiteY0" fmla="*/ 724098 h 3009646"/>
              <a:gd name="connsiteX1" fmla="*/ 5073 w 1744446"/>
              <a:gd name="connsiteY1" fmla="*/ 3009646 h 3009646"/>
              <a:gd name="connsiteX2" fmla="*/ 5073 w 1744446"/>
              <a:gd name="connsiteY2" fmla="*/ 724098 h 3009646"/>
              <a:gd name="connsiteX0" fmla="*/ 0 w 1739373"/>
              <a:gd name="connsiteY0" fmla="*/ 724098 h 3009646"/>
              <a:gd name="connsiteX1" fmla="*/ 0 w 1739373"/>
              <a:gd name="connsiteY1" fmla="*/ 3009646 h 3009646"/>
              <a:gd name="connsiteX2" fmla="*/ 0 w 1739373"/>
              <a:gd name="connsiteY2" fmla="*/ 724098 h 3009646"/>
              <a:gd name="connsiteX0" fmla="*/ 0 w 1741571"/>
              <a:gd name="connsiteY0" fmla="*/ 741338 h 2941161"/>
              <a:gd name="connsiteX1" fmla="*/ 3175 w 1741571"/>
              <a:gd name="connsiteY1" fmla="*/ 2941161 h 2941161"/>
              <a:gd name="connsiteX2" fmla="*/ 0 w 1741571"/>
              <a:gd name="connsiteY2" fmla="*/ 741338 h 2941161"/>
              <a:gd name="connsiteX0" fmla="*/ 0 w 1662955"/>
              <a:gd name="connsiteY0" fmla="*/ 770826 h 2970649"/>
              <a:gd name="connsiteX1" fmla="*/ 3175 w 1662955"/>
              <a:gd name="connsiteY1" fmla="*/ 2970649 h 2970649"/>
              <a:gd name="connsiteX2" fmla="*/ 0 w 1662955"/>
              <a:gd name="connsiteY2" fmla="*/ 770826 h 2970649"/>
              <a:gd name="connsiteX0" fmla="*/ 0 w 1754580"/>
              <a:gd name="connsiteY0" fmla="*/ 790877 h 2990700"/>
              <a:gd name="connsiteX1" fmla="*/ 3175 w 1754580"/>
              <a:gd name="connsiteY1" fmla="*/ 2990700 h 2990700"/>
              <a:gd name="connsiteX2" fmla="*/ 0 w 1754580"/>
              <a:gd name="connsiteY2" fmla="*/ 790877 h 2990700"/>
              <a:gd name="connsiteX0" fmla="*/ 46 w 1754626"/>
              <a:gd name="connsiteY0" fmla="*/ 790877 h 3268319"/>
              <a:gd name="connsiteX1" fmla="*/ 3221 w 1754626"/>
              <a:gd name="connsiteY1" fmla="*/ 2990700 h 3268319"/>
              <a:gd name="connsiteX2" fmla="*/ 1457 w 1754626"/>
              <a:gd name="connsiteY2" fmla="*/ 2995379 h 3268319"/>
              <a:gd name="connsiteX3" fmla="*/ 46 w 1754626"/>
              <a:gd name="connsiteY3" fmla="*/ 790877 h 3268319"/>
              <a:gd name="connsiteX0" fmla="*/ 46 w 2123706"/>
              <a:gd name="connsiteY0" fmla="*/ 879416 h 3232836"/>
              <a:gd name="connsiteX1" fmla="*/ 504333 w 2123706"/>
              <a:gd name="connsiteY1" fmla="*/ 2702113 h 3232836"/>
              <a:gd name="connsiteX2" fmla="*/ 1457 w 2123706"/>
              <a:gd name="connsiteY2" fmla="*/ 3083918 h 3232836"/>
              <a:gd name="connsiteX3" fmla="*/ 46 w 2123706"/>
              <a:gd name="connsiteY3" fmla="*/ 879416 h 3232836"/>
              <a:gd name="connsiteX0" fmla="*/ 46 w 1814106"/>
              <a:gd name="connsiteY0" fmla="*/ 793104 h 3265479"/>
              <a:gd name="connsiteX1" fmla="*/ 85878 w 1814106"/>
              <a:gd name="connsiteY1" fmla="*/ 2982594 h 3265479"/>
              <a:gd name="connsiteX2" fmla="*/ 1457 w 1814106"/>
              <a:gd name="connsiteY2" fmla="*/ 2997606 h 3265479"/>
              <a:gd name="connsiteX3" fmla="*/ 46 w 1814106"/>
              <a:gd name="connsiteY3" fmla="*/ 793104 h 3265479"/>
              <a:gd name="connsiteX0" fmla="*/ 46 w 1814106"/>
              <a:gd name="connsiteY0" fmla="*/ 793104 h 3237717"/>
              <a:gd name="connsiteX1" fmla="*/ 85878 w 1814106"/>
              <a:gd name="connsiteY1" fmla="*/ 2982594 h 3237717"/>
              <a:gd name="connsiteX2" fmla="*/ 1457 w 1814106"/>
              <a:gd name="connsiteY2" fmla="*/ 2940456 h 3237717"/>
              <a:gd name="connsiteX3" fmla="*/ 46 w 1814106"/>
              <a:gd name="connsiteY3" fmla="*/ 793104 h 3237717"/>
              <a:gd name="connsiteX0" fmla="*/ 46 w 1766081"/>
              <a:gd name="connsiteY0" fmla="*/ 801401 h 3226052"/>
              <a:gd name="connsiteX1" fmla="*/ 19203 w 1766081"/>
              <a:gd name="connsiteY1" fmla="*/ 2952791 h 3226052"/>
              <a:gd name="connsiteX2" fmla="*/ 1457 w 1766081"/>
              <a:gd name="connsiteY2" fmla="*/ 2948753 h 3226052"/>
              <a:gd name="connsiteX3" fmla="*/ 46 w 1766081"/>
              <a:gd name="connsiteY3" fmla="*/ 801401 h 3226052"/>
              <a:gd name="connsiteX0" fmla="*/ 46 w 1825596"/>
              <a:gd name="connsiteY0" fmla="*/ 800705 h 3226963"/>
              <a:gd name="connsiteX1" fmla="*/ 101753 w 1825596"/>
              <a:gd name="connsiteY1" fmla="*/ 2955270 h 3226963"/>
              <a:gd name="connsiteX2" fmla="*/ 1457 w 1825596"/>
              <a:gd name="connsiteY2" fmla="*/ 2948057 h 3226963"/>
              <a:gd name="connsiteX3" fmla="*/ 46 w 1825596"/>
              <a:gd name="connsiteY3" fmla="*/ 800705 h 3226963"/>
              <a:gd name="connsiteX0" fmla="*/ 46 w 1825596"/>
              <a:gd name="connsiteY0" fmla="*/ 800705 h 3113418"/>
              <a:gd name="connsiteX1" fmla="*/ 101753 w 1825596"/>
              <a:gd name="connsiteY1" fmla="*/ 2955270 h 3113418"/>
              <a:gd name="connsiteX2" fmla="*/ 1457 w 1825596"/>
              <a:gd name="connsiteY2" fmla="*/ 2948057 h 3113418"/>
              <a:gd name="connsiteX3" fmla="*/ 46 w 1825596"/>
              <a:gd name="connsiteY3" fmla="*/ 800705 h 3113418"/>
              <a:gd name="connsiteX0" fmla="*/ 46 w 1825596"/>
              <a:gd name="connsiteY0" fmla="*/ 801401 h 3113272"/>
              <a:gd name="connsiteX1" fmla="*/ 101753 w 1825596"/>
              <a:gd name="connsiteY1" fmla="*/ 2952791 h 3113272"/>
              <a:gd name="connsiteX2" fmla="*/ 1457 w 1825596"/>
              <a:gd name="connsiteY2" fmla="*/ 2948753 h 3113272"/>
              <a:gd name="connsiteX3" fmla="*/ 46 w 1825596"/>
              <a:gd name="connsiteY3" fmla="*/ 801401 h 3113272"/>
              <a:gd name="connsiteX0" fmla="*/ 46 w 1825596"/>
              <a:gd name="connsiteY0" fmla="*/ 801401 h 2999004"/>
              <a:gd name="connsiteX1" fmla="*/ 101753 w 1825596"/>
              <a:gd name="connsiteY1" fmla="*/ 2952791 h 2999004"/>
              <a:gd name="connsiteX2" fmla="*/ 1457 w 1825596"/>
              <a:gd name="connsiteY2" fmla="*/ 2948753 h 2999004"/>
              <a:gd name="connsiteX3" fmla="*/ 46 w 1825596"/>
              <a:gd name="connsiteY3" fmla="*/ 801401 h 2999004"/>
              <a:gd name="connsiteX0" fmla="*/ 46 w 1825596"/>
              <a:gd name="connsiteY0" fmla="*/ 801401 h 3003762"/>
              <a:gd name="connsiteX1" fmla="*/ 101753 w 1825596"/>
              <a:gd name="connsiteY1" fmla="*/ 2952791 h 3003762"/>
              <a:gd name="connsiteX2" fmla="*/ 1457 w 1825596"/>
              <a:gd name="connsiteY2" fmla="*/ 2948753 h 3003762"/>
              <a:gd name="connsiteX3" fmla="*/ 46 w 1825596"/>
              <a:gd name="connsiteY3" fmla="*/ 801401 h 3003762"/>
              <a:gd name="connsiteX0" fmla="*/ 46 w 1751080"/>
              <a:gd name="connsiteY0" fmla="*/ 791490 h 2993851"/>
              <a:gd name="connsiteX1" fmla="*/ 101753 w 1751080"/>
              <a:gd name="connsiteY1" fmla="*/ 2942880 h 2993851"/>
              <a:gd name="connsiteX2" fmla="*/ 1457 w 1751080"/>
              <a:gd name="connsiteY2" fmla="*/ 2938842 h 2993851"/>
              <a:gd name="connsiteX3" fmla="*/ 46 w 1751080"/>
              <a:gd name="connsiteY3" fmla="*/ 791490 h 2993851"/>
              <a:gd name="connsiteX0" fmla="*/ 46 w 1754103"/>
              <a:gd name="connsiteY0" fmla="*/ 794198 h 2992817"/>
              <a:gd name="connsiteX1" fmla="*/ 105929 w 1754103"/>
              <a:gd name="connsiteY1" fmla="*/ 2933062 h 2992817"/>
              <a:gd name="connsiteX2" fmla="*/ 1457 w 1754103"/>
              <a:gd name="connsiteY2" fmla="*/ 2941550 h 2992817"/>
              <a:gd name="connsiteX3" fmla="*/ 46 w 1754103"/>
              <a:gd name="connsiteY3" fmla="*/ 794198 h 2992817"/>
              <a:gd name="connsiteX0" fmla="*/ 46 w 1754103"/>
              <a:gd name="connsiteY0" fmla="*/ 794198 h 3092665"/>
              <a:gd name="connsiteX1" fmla="*/ 105929 w 1754103"/>
              <a:gd name="connsiteY1" fmla="*/ 2933062 h 3092665"/>
              <a:gd name="connsiteX2" fmla="*/ 112493 w 1754103"/>
              <a:gd name="connsiteY2" fmla="*/ 2916042 h 3092665"/>
              <a:gd name="connsiteX3" fmla="*/ 1457 w 1754103"/>
              <a:gd name="connsiteY3" fmla="*/ 2941550 h 3092665"/>
              <a:gd name="connsiteX4" fmla="*/ 46 w 1754103"/>
              <a:gd name="connsiteY4" fmla="*/ 794198 h 3092665"/>
              <a:gd name="connsiteX0" fmla="*/ 46 w 1754103"/>
              <a:gd name="connsiteY0" fmla="*/ 794198 h 3137950"/>
              <a:gd name="connsiteX1" fmla="*/ 105929 w 1754103"/>
              <a:gd name="connsiteY1" fmla="*/ 2933062 h 3137950"/>
              <a:gd name="connsiteX2" fmla="*/ 49862 w 1754103"/>
              <a:gd name="connsiteY2" fmla="*/ 3062179 h 3137950"/>
              <a:gd name="connsiteX3" fmla="*/ 1457 w 1754103"/>
              <a:gd name="connsiteY3" fmla="*/ 2941550 h 3137950"/>
              <a:gd name="connsiteX4" fmla="*/ 46 w 1754103"/>
              <a:gd name="connsiteY4" fmla="*/ 794198 h 3137950"/>
              <a:gd name="connsiteX0" fmla="*/ 46 w 1947503"/>
              <a:gd name="connsiteY0" fmla="*/ 855901 h 3199653"/>
              <a:gd name="connsiteX1" fmla="*/ 368976 w 1947503"/>
              <a:gd name="connsiteY1" fmla="*/ 2727543 h 3199653"/>
              <a:gd name="connsiteX2" fmla="*/ 49862 w 1947503"/>
              <a:gd name="connsiteY2" fmla="*/ 3123882 h 3199653"/>
              <a:gd name="connsiteX3" fmla="*/ 1457 w 1947503"/>
              <a:gd name="connsiteY3" fmla="*/ 3003253 h 3199653"/>
              <a:gd name="connsiteX4" fmla="*/ 46 w 1947503"/>
              <a:gd name="connsiteY4" fmla="*/ 855901 h 3199653"/>
              <a:gd name="connsiteX0" fmla="*/ 46 w 1947503"/>
              <a:gd name="connsiteY0" fmla="*/ 855901 h 3157433"/>
              <a:gd name="connsiteX1" fmla="*/ 368976 w 1947503"/>
              <a:gd name="connsiteY1" fmla="*/ 2727543 h 3157433"/>
              <a:gd name="connsiteX2" fmla="*/ 125018 w 1947503"/>
              <a:gd name="connsiteY2" fmla="*/ 2990271 h 3157433"/>
              <a:gd name="connsiteX3" fmla="*/ 1457 w 1947503"/>
              <a:gd name="connsiteY3" fmla="*/ 3003253 h 3157433"/>
              <a:gd name="connsiteX4" fmla="*/ 46 w 1947503"/>
              <a:gd name="connsiteY4" fmla="*/ 855901 h 3157433"/>
              <a:gd name="connsiteX0" fmla="*/ 46 w 1947503"/>
              <a:gd name="connsiteY0" fmla="*/ 855901 h 3166659"/>
              <a:gd name="connsiteX1" fmla="*/ 368976 w 1947503"/>
              <a:gd name="connsiteY1" fmla="*/ 2727543 h 3166659"/>
              <a:gd name="connsiteX2" fmla="*/ 96443 w 1947503"/>
              <a:gd name="connsiteY2" fmla="*/ 3025196 h 3166659"/>
              <a:gd name="connsiteX3" fmla="*/ 1457 w 1947503"/>
              <a:gd name="connsiteY3" fmla="*/ 3003253 h 3166659"/>
              <a:gd name="connsiteX4" fmla="*/ 46 w 1947503"/>
              <a:gd name="connsiteY4" fmla="*/ 855901 h 3166659"/>
              <a:gd name="connsiteX0" fmla="*/ 46 w 1947503"/>
              <a:gd name="connsiteY0" fmla="*/ 855901 h 3154564"/>
              <a:gd name="connsiteX1" fmla="*/ 368976 w 1947503"/>
              <a:gd name="connsiteY1" fmla="*/ 2727543 h 3154564"/>
              <a:gd name="connsiteX2" fmla="*/ 96443 w 1947503"/>
              <a:gd name="connsiteY2" fmla="*/ 3025196 h 3154564"/>
              <a:gd name="connsiteX3" fmla="*/ 1457 w 1947503"/>
              <a:gd name="connsiteY3" fmla="*/ 3003253 h 3154564"/>
              <a:gd name="connsiteX4" fmla="*/ 46 w 1947503"/>
              <a:gd name="connsiteY4" fmla="*/ 855901 h 3154564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63511"/>
              <a:gd name="connsiteX1" fmla="*/ 368976 w 1947503"/>
              <a:gd name="connsiteY1" fmla="*/ 2727543 h 3063511"/>
              <a:gd name="connsiteX2" fmla="*/ 96443 w 1947503"/>
              <a:gd name="connsiteY2" fmla="*/ 3025196 h 3063511"/>
              <a:gd name="connsiteX3" fmla="*/ 1457 w 1947503"/>
              <a:gd name="connsiteY3" fmla="*/ 3003253 h 3063511"/>
              <a:gd name="connsiteX4" fmla="*/ 46 w 1947503"/>
              <a:gd name="connsiteY4" fmla="*/ 855901 h 3063511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748161"/>
              <a:gd name="connsiteY0" fmla="*/ 802155 h 3002262"/>
              <a:gd name="connsiteX1" fmla="*/ 368976 w 1748161"/>
              <a:gd name="connsiteY1" fmla="*/ 2673797 h 3002262"/>
              <a:gd name="connsiteX2" fmla="*/ 96443 w 1748161"/>
              <a:gd name="connsiteY2" fmla="*/ 2971450 h 3002262"/>
              <a:gd name="connsiteX3" fmla="*/ 1457 w 1748161"/>
              <a:gd name="connsiteY3" fmla="*/ 2949507 h 3002262"/>
              <a:gd name="connsiteX4" fmla="*/ 46 w 1748161"/>
              <a:gd name="connsiteY4" fmla="*/ 802155 h 3002262"/>
              <a:gd name="connsiteX0" fmla="*/ 46 w 1748161"/>
              <a:gd name="connsiteY0" fmla="*/ 802155 h 3002262"/>
              <a:gd name="connsiteX1" fmla="*/ 368976 w 1748161"/>
              <a:gd name="connsiteY1" fmla="*/ 2673797 h 3002262"/>
              <a:gd name="connsiteX2" fmla="*/ 96443 w 1748161"/>
              <a:gd name="connsiteY2" fmla="*/ 2971450 h 3002262"/>
              <a:gd name="connsiteX3" fmla="*/ 1457 w 1748161"/>
              <a:gd name="connsiteY3" fmla="*/ 2949507 h 3002262"/>
              <a:gd name="connsiteX4" fmla="*/ 46 w 1748161"/>
              <a:gd name="connsiteY4" fmla="*/ 802155 h 3002262"/>
              <a:gd name="connsiteX0" fmla="*/ 46 w 1752318"/>
              <a:gd name="connsiteY0" fmla="*/ 788682 h 2988789"/>
              <a:gd name="connsiteX1" fmla="*/ 368976 w 1752318"/>
              <a:gd name="connsiteY1" fmla="*/ 2660324 h 2988789"/>
              <a:gd name="connsiteX2" fmla="*/ 96443 w 1752318"/>
              <a:gd name="connsiteY2" fmla="*/ 2957977 h 2988789"/>
              <a:gd name="connsiteX3" fmla="*/ 1457 w 1752318"/>
              <a:gd name="connsiteY3" fmla="*/ 2936034 h 2988789"/>
              <a:gd name="connsiteX4" fmla="*/ 46 w 1752318"/>
              <a:gd name="connsiteY4" fmla="*/ 788682 h 2988789"/>
              <a:gd name="connsiteX0" fmla="*/ 46 w 1749822"/>
              <a:gd name="connsiteY0" fmla="*/ 793733 h 2993840"/>
              <a:gd name="connsiteX1" fmla="*/ 368976 w 1749822"/>
              <a:gd name="connsiteY1" fmla="*/ 2665375 h 2993840"/>
              <a:gd name="connsiteX2" fmla="*/ 96443 w 1749822"/>
              <a:gd name="connsiteY2" fmla="*/ 2963028 h 2993840"/>
              <a:gd name="connsiteX3" fmla="*/ 1457 w 1749822"/>
              <a:gd name="connsiteY3" fmla="*/ 2941085 h 2993840"/>
              <a:gd name="connsiteX4" fmla="*/ 46 w 1749822"/>
              <a:gd name="connsiteY4" fmla="*/ 793733 h 2993840"/>
              <a:gd name="connsiteX0" fmla="*/ 46 w 1749822"/>
              <a:gd name="connsiteY0" fmla="*/ 793733 h 2993840"/>
              <a:gd name="connsiteX1" fmla="*/ 368976 w 1749822"/>
              <a:gd name="connsiteY1" fmla="*/ 2665375 h 2993840"/>
              <a:gd name="connsiteX2" fmla="*/ 96443 w 1749822"/>
              <a:gd name="connsiteY2" fmla="*/ 2963028 h 2993840"/>
              <a:gd name="connsiteX3" fmla="*/ 1457 w 1749822"/>
              <a:gd name="connsiteY3" fmla="*/ 2941085 h 2993840"/>
              <a:gd name="connsiteX4" fmla="*/ 46 w 1749822"/>
              <a:gd name="connsiteY4" fmla="*/ 793733 h 2993840"/>
              <a:gd name="connsiteX0" fmla="*/ 46 w 404090"/>
              <a:gd name="connsiteY0" fmla="*/ 516228 h 2716335"/>
              <a:gd name="connsiteX1" fmla="*/ 368976 w 404090"/>
              <a:gd name="connsiteY1" fmla="*/ 2387870 h 2716335"/>
              <a:gd name="connsiteX2" fmla="*/ 96443 w 404090"/>
              <a:gd name="connsiteY2" fmla="*/ 2685523 h 2716335"/>
              <a:gd name="connsiteX3" fmla="*/ 1457 w 404090"/>
              <a:gd name="connsiteY3" fmla="*/ 2663580 h 2716335"/>
              <a:gd name="connsiteX4" fmla="*/ 46 w 404090"/>
              <a:gd name="connsiteY4" fmla="*/ 516228 h 2716335"/>
              <a:gd name="connsiteX0" fmla="*/ 777284 w 2211803"/>
              <a:gd name="connsiteY0" fmla="*/ 744448 h 3507127"/>
              <a:gd name="connsiteX1" fmla="*/ 1146214 w 2211803"/>
              <a:gd name="connsiteY1" fmla="*/ 2616090 h 3507127"/>
              <a:gd name="connsiteX2" fmla="*/ 873681 w 2211803"/>
              <a:gd name="connsiteY2" fmla="*/ 2913743 h 3507127"/>
              <a:gd name="connsiteX3" fmla="*/ 778695 w 2211803"/>
              <a:gd name="connsiteY3" fmla="*/ 2891800 h 3507127"/>
              <a:gd name="connsiteX4" fmla="*/ 777284 w 2211803"/>
              <a:gd name="connsiteY4" fmla="*/ 744448 h 3507127"/>
              <a:gd name="connsiteX0" fmla="*/ 1076399 w 2811144"/>
              <a:gd name="connsiteY0" fmla="*/ 804551 h 3708291"/>
              <a:gd name="connsiteX1" fmla="*/ 1445329 w 2811144"/>
              <a:gd name="connsiteY1" fmla="*/ 2676193 h 3708291"/>
              <a:gd name="connsiteX2" fmla="*/ 1172796 w 2811144"/>
              <a:gd name="connsiteY2" fmla="*/ 2973846 h 3708291"/>
              <a:gd name="connsiteX3" fmla="*/ 1077810 w 2811144"/>
              <a:gd name="connsiteY3" fmla="*/ 2951903 h 3708291"/>
              <a:gd name="connsiteX4" fmla="*/ 1076399 w 2811144"/>
              <a:gd name="connsiteY4" fmla="*/ 804551 h 3708291"/>
              <a:gd name="connsiteX0" fmla="*/ 47 w 399202"/>
              <a:gd name="connsiteY0" fmla="*/ 512681 h 2712788"/>
              <a:gd name="connsiteX1" fmla="*/ 368977 w 399202"/>
              <a:gd name="connsiteY1" fmla="*/ 2384323 h 2712788"/>
              <a:gd name="connsiteX2" fmla="*/ 96444 w 399202"/>
              <a:gd name="connsiteY2" fmla="*/ 2681976 h 2712788"/>
              <a:gd name="connsiteX3" fmla="*/ 1458 w 399202"/>
              <a:gd name="connsiteY3" fmla="*/ 2660033 h 2712788"/>
              <a:gd name="connsiteX4" fmla="*/ 47 w 399202"/>
              <a:gd name="connsiteY4" fmla="*/ 512681 h 2712788"/>
              <a:gd name="connsiteX0" fmla="*/ 47 w 544902"/>
              <a:gd name="connsiteY0" fmla="*/ 553542 h 2753649"/>
              <a:gd name="connsiteX1" fmla="*/ 368977 w 544902"/>
              <a:gd name="connsiteY1" fmla="*/ 2425184 h 2753649"/>
              <a:gd name="connsiteX2" fmla="*/ 96444 w 544902"/>
              <a:gd name="connsiteY2" fmla="*/ 2722837 h 2753649"/>
              <a:gd name="connsiteX3" fmla="*/ 1458 w 544902"/>
              <a:gd name="connsiteY3" fmla="*/ 2700894 h 2753649"/>
              <a:gd name="connsiteX4" fmla="*/ 47 w 544902"/>
              <a:gd name="connsiteY4" fmla="*/ 553542 h 2753649"/>
              <a:gd name="connsiteX0" fmla="*/ 736083 w 2129194"/>
              <a:gd name="connsiteY0" fmla="*/ 737259 h 3482022"/>
              <a:gd name="connsiteX1" fmla="*/ 1105013 w 2129194"/>
              <a:gd name="connsiteY1" fmla="*/ 2608901 h 3482022"/>
              <a:gd name="connsiteX2" fmla="*/ 832480 w 2129194"/>
              <a:gd name="connsiteY2" fmla="*/ 2906554 h 3482022"/>
              <a:gd name="connsiteX3" fmla="*/ 737494 w 2129194"/>
              <a:gd name="connsiteY3" fmla="*/ 2884611 h 3482022"/>
              <a:gd name="connsiteX4" fmla="*/ 736083 w 2129194"/>
              <a:gd name="connsiteY4" fmla="*/ 737259 h 3482022"/>
              <a:gd name="connsiteX0" fmla="*/ 47 w 511420"/>
              <a:gd name="connsiteY0" fmla="*/ 531224 h 2731331"/>
              <a:gd name="connsiteX1" fmla="*/ 368977 w 511420"/>
              <a:gd name="connsiteY1" fmla="*/ 2402866 h 2731331"/>
              <a:gd name="connsiteX2" fmla="*/ 96444 w 511420"/>
              <a:gd name="connsiteY2" fmla="*/ 2700519 h 2731331"/>
              <a:gd name="connsiteX3" fmla="*/ 1458 w 511420"/>
              <a:gd name="connsiteY3" fmla="*/ 2678576 h 2731331"/>
              <a:gd name="connsiteX4" fmla="*/ 47 w 511420"/>
              <a:gd name="connsiteY4" fmla="*/ 531224 h 2731331"/>
              <a:gd name="connsiteX0" fmla="*/ 47 w 730958"/>
              <a:gd name="connsiteY0" fmla="*/ 555697 h 2755804"/>
              <a:gd name="connsiteX1" fmla="*/ 631066 w 730958"/>
              <a:gd name="connsiteY1" fmla="*/ 2217668 h 2755804"/>
              <a:gd name="connsiteX2" fmla="*/ 96444 w 730958"/>
              <a:gd name="connsiteY2" fmla="*/ 2724992 h 2755804"/>
              <a:gd name="connsiteX3" fmla="*/ 1458 w 730958"/>
              <a:gd name="connsiteY3" fmla="*/ 2703049 h 2755804"/>
              <a:gd name="connsiteX4" fmla="*/ 47 w 730958"/>
              <a:gd name="connsiteY4" fmla="*/ 555697 h 2755804"/>
              <a:gd name="connsiteX0" fmla="*/ 47 w 928515"/>
              <a:gd name="connsiteY0" fmla="*/ 653539 h 2950202"/>
              <a:gd name="connsiteX1" fmla="*/ 631066 w 928515"/>
              <a:gd name="connsiteY1" fmla="*/ 2315510 h 2950202"/>
              <a:gd name="connsiteX2" fmla="*/ 96444 w 928515"/>
              <a:gd name="connsiteY2" fmla="*/ 2822834 h 2950202"/>
              <a:gd name="connsiteX3" fmla="*/ 1458 w 928515"/>
              <a:gd name="connsiteY3" fmla="*/ 2800891 h 2950202"/>
              <a:gd name="connsiteX4" fmla="*/ 47 w 928515"/>
              <a:gd name="connsiteY4" fmla="*/ 653539 h 2950202"/>
              <a:gd name="connsiteX0" fmla="*/ 705076 w 2447495"/>
              <a:gd name="connsiteY0" fmla="*/ 796906 h 3438718"/>
              <a:gd name="connsiteX1" fmla="*/ 1336095 w 2447495"/>
              <a:gd name="connsiteY1" fmla="*/ 2458877 h 3438718"/>
              <a:gd name="connsiteX2" fmla="*/ 801473 w 2447495"/>
              <a:gd name="connsiteY2" fmla="*/ 2966201 h 3438718"/>
              <a:gd name="connsiteX3" fmla="*/ 706487 w 2447495"/>
              <a:gd name="connsiteY3" fmla="*/ 2944258 h 3438718"/>
              <a:gd name="connsiteX4" fmla="*/ 705076 w 2447495"/>
              <a:gd name="connsiteY4" fmla="*/ 796906 h 3438718"/>
              <a:gd name="connsiteX0" fmla="*/ 750894 w 2539724"/>
              <a:gd name="connsiteY0" fmla="*/ 791191 h 3420519"/>
              <a:gd name="connsiteX1" fmla="*/ 1381913 w 2539724"/>
              <a:gd name="connsiteY1" fmla="*/ 2453162 h 3420519"/>
              <a:gd name="connsiteX2" fmla="*/ 847291 w 2539724"/>
              <a:gd name="connsiteY2" fmla="*/ 2960486 h 3420519"/>
              <a:gd name="connsiteX3" fmla="*/ 752305 w 2539724"/>
              <a:gd name="connsiteY3" fmla="*/ 2938543 h 3420519"/>
              <a:gd name="connsiteX4" fmla="*/ 750894 w 2539724"/>
              <a:gd name="connsiteY4" fmla="*/ 791191 h 3420519"/>
              <a:gd name="connsiteX0" fmla="*/ 738161 w 2514098"/>
              <a:gd name="connsiteY0" fmla="*/ 798057 h 3442368"/>
              <a:gd name="connsiteX1" fmla="*/ 1369180 w 2514098"/>
              <a:gd name="connsiteY1" fmla="*/ 2460028 h 3442368"/>
              <a:gd name="connsiteX2" fmla="*/ 834558 w 2514098"/>
              <a:gd name="connsiteY2" fmla="*/ 2967352 h 3442368"/>
              <a:gd name="connsiteX3" fmla="*/ 739572 w 2514098"/>
              <a:gd name="connsiteY3" fmla="*/ 2945409 h 3442368"/>
              <a:gd name="connsiteX4" fmla="*/ 738161 w 2514098"/>
              <a:gd name="connsiteY4" fmla="*/ 798057 h 3442368"/>
              <a:gd name="connsiteX0" fmla="*/ 722887 w 2483353"/>
              <a:gd name="connsiteY0" fmla="*/ 798057 h 3442368"/>
              <a:gd name="connsiteX1" fmla="*/ 1353906 w 2483353"/>
              <a:gd name="connsiteY1" fmla="*/ 2460028 h 3442368"/>
              <a:gd name="connsiteX2" fmla="*/ 819284 w 2483353"/>
              <a:gd name="connsiteY2" fmla="*/ 2967352 h 3442368"/>
              <a:gd name="connsiteX3" fmla="*/ 724298 w 2483353"/>
              <a:gd name="connsiteY3" fmla="*/ 2945409 h 3442368"/>
              <a:gd name="connsiteX4" fmla="*/ 722887 w 2483353"/>
              <a:gd name="connsiteY4" fmla="*/ 798057 h 3442368"/>
              <a:gd name="connsiteX0" fmla="*/ 395918 w 2572118"/>
              <a:gd name="connsiteY0" fmla="*/ 953184 h 3278390"/>
              <a:gd name="connsiteX1" fmla="*/ 1551115 w 2572118"/>
              <a:gd name="connsiteY1" fmla="*/ 2026911 h 3278390"/>
              <a:gd name="connsiteX2" fmla="*/ 492315 w 2572118"/>
              <a:gd name="connsiteY2" fmla="*/ 3122479 h 3278390"/>
              <a:gd name="connsiteX3" fmla="*/ 397329 w 2572118"/>
              <a:gd name="connsiteY3" fmla="*/ 3100536 h 3278390"/>
              <a:gd name="connsiteX4" fmla="*/ 395918 w 2572118"/>
              <a:gd name="connsiteY4" fmla="*/ 953184 h 3278390"/>
              <a:gd name="connsiteX0" fmla="*/ 30230 w 1788185"/>
              <a:gd name="connsiteY0" fmla="*/ 831274 h 3031381"/>
              <a:gd name="connsiteX1" fmla="*/ 1185427 w 1788185"/>
              <a:gd name="connsiteY1" fmla="*/ 1905001 h 3031381"/>
              <a:gd name="connsiteX2" fmla="*/ 126627 w 1788185"/>
              <a:gd name="connsiteY2" fmla="*/ 3000569 h 3031381"/>
              <a:gd name="connsiteX3" fmla="*/ 31641 w 1788185"/>
              <a:gd name="connsiteY3" fmla="*/ 2978626 h 3031381"/>
              <a:gd name="connsiteX4" fmla="*/ 30230 w 1788185"/>
              <a:gd name="connsiteY4" fmla="*/ 831274 h 3031381"/>
              <a:gd name="connsiteX0" fmla="*/ 47 w 1256820"/>
              <a:gd name="connsiteY0" fmla="*/ 681223 h 2881330"/>
              <a:gd name="connsiteX1" fmla="*/ 1155244 w 1256820"/>
              <a:gd name="connsiteY1" fmla="*/ 1754950 h 2881330"/>
              <a:gd name="connsiteX2" fmla="*/ 96444 w 1256820"/>
              <a:gd name="connsiteY2" fmla="*/ 2850518 h 2881330"/>
              <a:gd name="connsiteX3" fmla="*/ 1458 w 1256820"/>
              <a:gd name="connsiteY3" fmla="*/ 2828575 h 2881330"/>
              <a:gd name="connsiteX4" fmla="*/ 47 w 1256820"/>
              <a:gd name="connsiteY4" fmla="*/ 681223 h 2881330"/>
              <a:gd name="connsiteX0" fmla="*/ 47 w 1256820"/>
              <a:gd name="connsiteY0" fmla="*/ 681223 h 2881330"/>
              <a:gd name="connsiteX1" fmla="*/ 1155244 w 1256820"/>
              <a:gd name="connsiteY1" fmla="*/ 1754950 h 2881330"/>
              <a:gd name="connsiteX2" fmla="*/ 96444 w 1256820"/>
              <a:gd name="connsiteY2" fmla="*/ 2850518 h 2881330"/>
              <a:gd name="connsiteX3" fmla="*/ 1458 w 1256820"/>
              <a:gd name="connsiteY3" fmla="*/ 2828575 h 2881330"/>
              <a:gd name="connsiteX4" fmla="*/ 47 w 1256820"/>
              <a:gd name="connsiteY4" fmla="*/ 681223 h 2881330"/>
              <a:gd name="connsiteX0" fmla="*/ 47 w 1760471"/>
              <a:gd name="connsiteY0" fmla="*/ 813967 h 3014074"/>
              <a:gd name="connsiteX1" fmla="*/ 1155244 w 1760471"/>
              <a:gd name="connsiteY1" fmla="*/ 1887694 h 3014074"/>
              <a:gd name="connsiteX2" fmla="*/ 96444 w 1760471"/>
              <a:gd name="connsiteY2" fmla="*/ 2983262 h 3014074"/>
              <a:gd name="connsiteX3" fmla="*/ 1458 w 1760471"/>
              <a:gd name="connsiteY3" fmla="*/ 2961319 h 3014074"/>
              <a:gd name="connsiteX4" fmla="*/ 47 w 1760471"/>
              <a:gd name="connsiteY4" fmla="*/ 813967 h 3014074"/>
              <a:gd name="connsiteX0" fmla="*/ 47 w 1675680"/>
              <a:gd name="connsiteY0" fmla="*/ 865670 h 3065777"/>
              <a:gd name="connsiteX1" fmla="*/ 1155244 w 1675680"/>
              <a:gd name="connsiteY1" fmla="*/ 1939397 h 3065777"/>
              <a:gd name="connsiteX2" fmla="*/ 96444 w 1675680"/>
              <a:gd name="connsiteY2" fmla="*/ 3034965 h 3065777"/>
              <a:gd name="connsiteX3" fmla="*/ 1458 w 1675680"/>
              <a:gd name="connsiteY3" fmla="*/ 3013022 h 3065777"/>
              <a:gd name="connsiteX4" fmla="*/ 47 w 1675680"/>
              <a:gd name="connsiteY4" fmla="*/ 865670 h 3065777"/>
              <a:gd name="connsiteX0" fmla="*/ 47 w 1754273"/>
              <a:gd name="connsiteY0" fmla="*/ 834667 h 3034774"/>
              <a:gd name="connsiteX1" fmla="*/ 1155244 w 1754273"/>
              <a:gd name="connsiteY1" fmla="*/ 1908394 h 3034774"/>
              <a:gd name="connsiteX2" fmla="*/ 96444 w 1754273"/>
              <a:gd name="connsiteY2" fmla="*/ 3003962 h 3034774"/>
              <a:gd name="connsiteX3" fmla="*/ 1458 w 1754273"/>
              <a:gd name="connsiteY3" fmla="*/ 2982019 h 3034774"/>
              <a:gd name="connsiteX4" fmla="*/ 47 w 1754273"/>
              <a:gd name="connsiteY4" fmla="*/ 834667 h 3034774"/>
              <a:gd name="connsiteX0" fmla="*/ 47 w 1712428"/>
              <a:gd name="connsiteY0" fmla="*/ 860399 h 3060506"/>
              <a:gd name="connsiteX1" fmla="*/ 1155244 w 1712428"/>
              <a:gd name="connsiteY1" fmla="*/ 1934126 h 3060506"/>
              <a:gd name="connsiteX2" fmla="*/ 96444 w 1712428"/>
              <a:gd name="connsiteY2" fmla="*/ 3029694 h 3060506"/>
              <a:gd name="connsiteX3" fmla="*/ 1458 w 1712428"/>
              <a:gd name="connsiteY3" fmla="*/ 3007751 h 3060506"/>
              <a:gd name="connsiteX4" fmla="*/ 47 w 1712428"/>
              <a:gd name="connsiteY4" fmla="*/ 860399 h 3060506"/>
              <a:gd name="connsiteX0" fmla="*/ 47 w 1749340"/>
              <a:gd name="connsiteY0" fmla="*/ 813600 h 3013707"/>
              <a:gd name="connsiteX1" fmla="*/ 1155244 w 1749340"/>
              <a:gd name="connsiteY1" fmla="*/ 1887327 h 3013707"/>
              <a:gd name="connsiteX2" fmla="*/ 96444 w 1749340"/>
              <a:gd name="connsiteY2" fmla="*/ 2982895 h 3013707"/>
              <a:gd name="connsiteX3" fmla="*/ 1458 w 1749340"/>
              <a:gd name="connsiteY3" fmla="*/ 2960952 h 3013707"/>
              <a:gd name="connsiteX4" fmla="*/ 47 w 1749340"/>
              <a:gd name="connsiteY4" fmla="*/ 813600 h 3013707"/>
              <a:gd name="connsiteX0" fmla="*/ 47 w 2123694"/>
              <a:gd name="connsiteY0" fmla="*/ 939789 h 3139896"/>
              <a:gd name="connsiteX1" fmla="*/ 1592060 w 2123694"/>
              <a:gd name="connsiteY1" fmla="*/ 1553404 h 3139896"/>
              <a:gd name="connsiteX2" fmla="*/ 96444 w 2123694"/>
              <a:gd name="connsiteY2" fmla="*/ 3109084 h 3139896"/>
              <a:gd name="connsiteX3" fmla="*/ 1458 w 2123694"/>
              <a:gd name="connsiteY3" fmla="*/ 3087141 h 3139896"/>
              <a:gd name="connsiteX4" fmla="*/ 47 w 2123694"/>
              <a:gd name="connsiteY4" fmla="*/ 939789 h 3139896"/>
              <a:gd name="connsiteX0" fmla="*/ 47 w 1761213"/>
              <a:gd name="connsiteY0" fmla="*/ 891556 h 3091663"/>
              <a:gd name="connsiteX1" fmla="*/ 1592060 w 1761213"/>
              <a:gd name="connsiteY1" fmla="*/ 1505171 h 3091663"/>
              <a:gd name="connsiteX2" fmla="*/ 96444 w 1761213"/>
              <a:gd name="connsiteY2" fmla="*/ 3060851 h 3091663"/>
              <a:gd name="connsiteX3" fmla="*/ 1458 w 1761213"/>
              <a:gd name="connsiteY3" fmla="*/ 3038908 h 3091663"/>
              <a:gd name="connsiteX4" fmla="*/ 47 w 1761213"/>
              <a:gd name="connsiteY4" fmla="*/ 891556 h 3091663"/>
              <a:gd name="connsiteX0" fmla="*/ 47 w 1765403"/>
              <a:gd name="connsiteY0" fmla="*/ 808980 h 3009087"/>
              <a:gd name="connsiteX1" fmla="*/ 1592060 w 1765403"/>
              <a:gd name="connsiteY1" fmla="*/ 1422595 h 3009087"/>
              <a:gd name="connsiteX2" fmla="*/ 96444 w 1765403"/>
              <a:gd name="connsiteY2" fmla="*/ 2978275 h 3009087"/>
              <a:gd name="connsiteX3" fmla="*/ 1458 w 1765403"/>
              <a:gd name="connsiteY3" fmla="*/ 2956332 h 3009087"/>
              <a:gd name="connsiteX4" fmla="*/ 47 w 1765403"/>
              <a:gd name="connsiteY4" fmla="*/ 808980 h 3009087"/>
              <a:gd name="connsiteX0" fmla="*/ 47 w 1814671"/>
              <a:gd name="connsiteY0" fmla="*/ 781904 h 2982011"/>
              <a:gd name="connsiteX1" fmla="*/ 1592060 w 1814671"/>
              <a:gd name="connsiteY1" fmla="*/ 1395519 h 2982011"/>
              <a:gd name="connsiteX2" fmla="*/ 96444 w 1814671"/>
              <a:gd name="connsiteY2" fmla="*/ 2951199 h 2982011"/>
              <a:gd name="connsiteX3" fmla="*/ 1458 w 1814671"/>
              <a:gd name="connsiteY3" fmla="*/ 2929256 h 2982011"/>
              <a:gd name="connsiteX4" fmla="*/ 47 w 1814671"/>
              <a:gd name="connsiteY4" fmla="*/ 781904 h 2982011"/>
              <a:gd name="connsiteX0" fmla="*/ 47 w 1669744"/>
              <a:gd name="connsiteY0" fmla="*/ 678598 h 2878705"/>
              <a:gd name="connsiteX1" fmla="*/ 1304433 w 1669744"/>
              <a:gd name="connsiteY1" fmla="*/ 20356 h 2878705"/>
              <a:gd name="connsiteX2" fmla="*/ 1592060 w 1669744"/>
              <a:gd name="connsiteY2" fmla="*/ 1292213 h 2878705"/>
              <a:gd name="connsiteX3" fmla="*/ 96444 w 1669744"/>
              <a:gd name="connsiteY3" fmla="*/ 2847893 h 2878705"/>
              <a:gd name="connsiteX4" fmla="*/ 1458 w 1669744"/>
              <a:gd name="connsiteY4" fmla="*/ 2825950 h 2878705"/>
              <a:gd name="connsiteX5" fmla="*/ 47 w 1669744"/>
              <a:gd name="connsiteY5" fmla="*/ 678598 h 2878705"/>
              <a:gd name="connsiteX0" fmla="*/ 47 w 1669744"/>
              <a:gd name="connsiteY0" fmla="*/ 797492 h 2997599"/>
              <a:gd name="connsiteX1" fmla="*/ 1304433 w 1669744"/>
              <a:gd name="connsiteY1" fmla="*/ 139250 h 2997599"/>
              <a:gd name="connsiteX2" fmla="*/ 1592060 w 1669744"/>
              <a:gd name="connsiteY2" fmla="*/ 1411107 h 2997599"/>
              <a:gd name="connsiteX3" fmla="*/ 96444 w 1669744"/>
              <a:gd name="connsiteY3" fmla="*/ 2966787 h 2997599"/>
              <a:gd name="connsiteX4" fmla="*/ 1458 w 1669744"/>
              <a:gd name="connsiteY4" fmla="*/ 2944844 h 2997599"/>
              <a:gd name="connsiteX5" fmla="*/ 47 w 1669744"/>
              <a:gd name="connsiteY5" fmla="*/ 797492 h 2997599"/>
              <a:gd name="connsiteX0" fmla="*/ 47 w 1669744"/>
              <a:gd name="connsiteY0" fmla="*/ 796759 h 2996866"/>
              <a:gd name="connsiteX1" fmla="*/ 1304433 w 1669744"/>
              <a:gd name="connsiteY1" fmla="*/ 138517 h 2996866"/>
              <a:gd name="connsiteX2" fmla="*/ 1592060 w 1669744"/>
              <a:gd name="connsiteY2" fmla="*/ 1410374 h 2996866"/>
              <a:gd name="connsiteX3" fmla="*/ 96444 w 1669744"/>
              <a:gd name="connsiteY3" fmla="*/ 2966054 h 2996866"/>
              <a:gd name="connsiteX4" fmla="*/ 1458 w 1669744"/>
              <a:gd name="connsiteY4" fmla="*/ 2944111 h 2996866"/>
              <a:gd name="connsiteX5" fmla="*/ 47 w 1669744"/>
              <a:gd name="connsiteY5" fmla="*/ 796759 h 2996866"/>
              <a:gd name="connsiteX0" fmla="*/ 47 w 1674254"/>
              <a:gd name="connsiteY0" fmla="*/ 816902 h 3017009"/>
              <a:gd name="connsiteX1" fmla="*/ 1321905 w 1674254"/>
              <a:gd name="connsiteY1" fmla="*/ 135363 h 3017009"/>
              <a:gd name="connsiteX2" fmla="*/ 1592060 w 1674254"/>
              <a:gd name="connsiteY2" fmla="*/ 1430517 h 3017009"/>
              <a:gd name="connsiteX3" fmla="*/ 96444 w 1674254"/>
              <a:gd name="connsiteY3" fmla="*/ 2986197 h 3017009"/>
              <a:gd name="connsiteX4" fmla="*/ 1458 w 1674254"/>
              <a:gd name="connsiteY4" fmla="*/ 2964254 h 3017009"/>
              <a:gd name="connsiteX5" fmla="*/ 47 w 1674254"/>
              <a:gd name="connsiteY5" fmla="*/ 816902 h 3017009"/>
              <a:gd name="connsiteX0" fmla="*/ 47 w 1674254"/>
              <a:gd name="connsiteY0" fmla="*/ 795700 h 2995807"/>
              <a:gd name="connsiteX1" fmla="*/ 1321905 w 1674254"/>
              <a:gd name="connsiteY1" fmla="*/ 114161 h 2995807"/>
              <a:gd name="connsiteX2" fmla="*/ 1592060 w 1674254"/>
              <a:gd name="connsiteY2" fmla="*/ 1409315 h 2995807"/>
              <a:gd name="connsiteX3" fmla="*/ 96444 w 1674254"/>
              <a:gd name="connsiteY3" fmla="*/ 2964995 h 2995807"/>
              <a:gd name="connsiteX4" fmla="*/ 1458 w 1674254"/>
              <a:gd name="connsiteY4" fmla="*/ 2943052 h 2995807"/>
              <a:gd name="connsiteX5" fmla="*/ 47 w 1674254"/>
              <a:gd name="connsiteY5" fmla="*/ 795700 h 2995807"/>
              <a:gd name="connsiteX0" fmla="*/ 47 w 1689928"/>
              <a:gd name="connsiteY0" fmla="*/ 795700 h 2995807"/>
              <a:gd name="connsiteX1" fmla="*/ 1321905 w 1689928"/>
              <a:gd name="connsiteY1" fmla="*/ 114161 h 2995807"/>
              <a:gd name="connsiteX2" fmla="*/ 1592060 w 1689928"/>
              <a:gd name="connsiteY2" fmla="*/ 1409315 h 2995807"/>
              <a:gd name="connsiteX3" fmla="*/ 96444 w 1689928"/>
              <a:gd name="connsiteY3" fmla="*/ 2964995 h 2995807"/>
              <a:gd name="connsiteX4" fmla="*/ 1458 w 1689928"/>
              <a:gd name="connsiteY4" fmla="*/ 2943052 h 2995807"/>
              <a:gd name="connsiteX5" fmla="*/ 47 w 1689928"/>
              <a:gd name="connsiteY5" fmla="*/ 795700 h 2995807"/>
              <a:gd name="connsiteX0" fmla="*/ 47 w 1746860"/>
              <a:gd name="connsiteY0" fmla="*/ 795700 h 2995807"/>
              <a:gd name="connsiteX1" fmla="*/ 1321905 w 1746860"/>
              <a:gd name="connsiteY1" fmla="*/ 114161 h 2995807"/>
              <a:gd name="connsiteX2" fmla="*/ 1592060 w 1746860"/>
              <a:gd name="connsiteY2" fmla="*/ 1409315 h 2995807"/>
              <a:gd name="connsiteX3" fmla="*/ 96444 w 1746860"/>
              <a:gd name="connsiteY3" fmla="*/ 2964995 h 2995807"/>
              <a:gd name="connsiteX4" fmla="*/ 1458 w 1746860"/>
              <a:gd name="connsiteY4" fmla="*/ 2943052 h 2995807"/>
              <a:gd name="connsiteX5" fmla="*/ 47 w 1746860"/>
              <a:gd name="connsiteY5" fmla="*/ 795700 h 2995807"/>
              <a:gd name="connsiteX0" fmla="*/ 47 w 1817082"/>
              <a:gd name="connsiteY0" fmla="*/ 795700 h 2995807"/>
              <a:gd name="connsiteX1" fmla="*/ 1321905 w 1817082"/>
              <a:gd name="connsiteY1" fmla="*/ 114161 h 2995807"/>
              <a:gd name="connsiteX2" fmla="*/ 1592060 w 1817082"/>
              <a:gd name="connsiteY2" fmla="*/ 1409315 h 2995807"/>
              <a:gd name="connsiteX3" fmla="*/ 96444 w 1817082"/>
              <a:gd name="connsiteY3" fmla="*/ 2964995 h 2995807"/>
              <a:gd name="connsiteX4" fmla="*/ 1458 w 1817082"/>
              <a:gd name="connsiteY4" fmla="*/ 2943052 h 2995807"/>
              <a:gd name="connsiteX5" fmla="*/ 47 w 1817082"/>
              <a:gd name="connsiteY5" fmla="*/ 795700 h 2995807"/>
              <a:gd name="connsiteX0" fmla="*/ 47 w 1765318"/>
              <a:gd name="connsiteY0" fmla="*/ 795700 h 2995807"/>
              <a:gd name="connsiteX1" fmla="*/ 1321905 w 1765318"/>
              <a:gd name="connsiteY1" fmla="*/ 114161 h 2995807"/>
              <a:gd name="connsiteX2" fmla="*/ 1592060 w 1765318"/>
              <a:gd name="connsiteY2" fmla="*/ 1409315 h 2995807"/>
              <a:gd name="connsiteX3" fmla="*/ 96444 w 1765318"/>
              <a:gd name="connsiteY3" fmla="*/ 2964995 h 2995807"/>
              <a:gd name="connsiteX4" fmla="*/ 1458 w 1765318"/>
              <a:gd name="connsiteY4" fmla="*/ 2943052 h 2995807"/>
              <a:gd name="connsiteX5" fmla="*/ 47 w 1765318"/>
              <a:gd name="connsiteY5" fmla="*/ 795700 h 2995807"/>
              <a:gd name="connsiteX0" fmla="*/ 47 w 1773136"/>
              <a:gd name="connsiteY0" fmla="*/ 795700 h 2995807"/>
              <a:gd name="connsiteX1" fmla="*/ 1321905 w 1773136"/>
              <a:gd name="connsiteY1" fmla="*/ 114161 h 2995807"/>
              <a:gd name="connsiteX2" fmla="*/ 1592060 w 1773136"/>
              <a:gd name="connsiteY2" fmla="*/ 1409315 h 2995807"/>
              <a:gd name="connsiteX3" fmla="*/ 96444 w 1773136"/>
              <a:gd name="connsiteY3" fmla="*/ 2964995 h 2995807"/>
              <a:gd name="connsiteX4" fmla="*/ 1458 w 1773136"/>
              <a:gd name="connsiteY4" fmla="*/ 2943052 h 2995807"/>
              <a:gd name="connsiteX5" fmla="*/ 47 w 1773136"/>
              <a:gd name="connsiteY5" fmla="*/ 795700 h 2995807"/>
              <a:gd name="connsiteX0" fmla="*/ 47 w 1812096"/>
              <a:gd name="connsiteY0" fmla="*/ 795700 h 2995807"/>
              <a:gd name="connsiteX1" fmla="*/ 1321905 w 1812096"/>
              <a:gd name="connsiteY1" fmla="*/ 114161 h 2995807"/>
              <a:gd name="connsiteX2" fmla="*/ 1592060 w 1812096"/>
              <a:gd name="connsiteY2" fmla="*/ 1409315 h 2995807"/>
              <a:gd name="connsiteX3" fmla="*/ 96444 w 1812096"/>
              <a:gd name="connsiteY3" fmla="*/ 2964995 h 2995807"/>
              <a:gd name="connsiteX4" fmla="*/ 1458 w 1812096"/>
              <a:gd name="connsiteY4" fmla="*/ 2943052 h 2995807"/>
              <a:gd name="connsiteX5" fmla="*/ 47 w 1812096"/>
              <a:gd name="connsiteY5" fmla="*/ 795700 h 2995807"/>
              <a:gd name="connsiteX0" fmla="*/ 47 w 1759473"/>
              <a:gd name="connsiteY0" fmla="*/ 795700 h 2995807"/>
              <a:gd name="connsiteX1" fmla="*/ 1321905 w 1759473"/>
              <a:gd name="connsiteY1" fmla="*/ 114161 h 2995807"/>
              <a:gd name="connsiteX2" fmla="*/ 1592060 w 1759473"/>
              <a:gd name="connsiteY2" fmla="*/ 1409315 h 2995807"/>
              <a:gd name="connsiteX3" fmla="*/ 96444 w 1759473"/>
              <a:gd name="connsiteY3" fmla="*/ 2964995 h 2995807"/>
              <a:gd name="connsiteX4" fmla="*/ 1458 w 1759473"/>
              <a:gd name="connsiteY4" fmla="*/ 2943052 h 2995807"/>
              <a:gd name="connsiteX5" fmla="*/ 47 w 1759473"/>
              <a:gd name="connsiteY5" fmla="*/ 795700 h 2995807"/>
              <a:gd name="connsiteX0" fmla="*/ 47 w 1747100"/>
              <a:gd name="connsiteY0" fmla="*/ 795700 h 2995807"/>
              <a:gd name="connsiteX1" fmla="*/ 1321905 w 1747100"/>
              <a:gd name="connsiteY1" fmla="*/ 114161 h 2995807"/>
              <a:gd name="connsiteX2" fmla="*/ 1592060 w 1747100"/>
              <a:gd name="connsiteY2" fmla="*/ 1409315 h 2995807"/>
              <a:gd name="connsiteX3" fmla="*/ 96444 w 1747100"/>
              <a:gd name="connsiteY3" fmla="*/ 2964995 h 2995807"/>
              <a:gd name="connsiteX4" fmla="*/ 1458 w 1747100"/>
              <a:gd name="connsiteY4" fmla="*/ 2943052 h 2995807"/>
              <a:gd name="connsiteX5" fmla="*/ 47 w 1747100"/>
              <a:gd name="connsiteY5" fmla="*/ 795700 h 2995807"/>
              <a:gd name="connsiteX0" fmla="*/ 47 w 1747100"/>
              <a:gd name="connsiteY0" fmla="*/ 801068 h 3001175"/>
              <a:gd name="connsiteX1" fmla="*/ 1321905 w 1747100"/>
              <a:gd name="connsiteY1" fmla="*/ 119529 h 3001175"/>
              <a:gd name="connsiteX2" fmla="*/ 1592060 w 1747100"/>
              <a:gd name="connsiteY2" fmla="*/ 1414683 h 3001175"/>
              <a:gd name="connsiteX3" fmla="*/ 96444 w 1747100"/>
              <a:gd name="connsiteY3" fmla="*/ 2970363 h 3001175"/>
              <a:gd name="connsiteX4" fmla="*/ 1458 w 1747100"/>
              <a:gd name="connsiteY4" fmla="*/ 2948420 h 3001175"/>
              <a:gd name="connsiteX5" fmla="*/ 47 w 1747100"/>
              <a:gd name="connsiteY5" fmla="*/ 801068 h 3001175"/>
              <a:gd name="connsiteX0" fmla="*/ 47 w 1747100"/>
              <a:gd name="connsiteY0" fmla="*/ 859428 h 2992860"/>
              <a:gd name="connsiteX1" fmla="*/ 1321905 w 1747100"/>
              <a:gd name="connsiteY1" fmla="*/ 111214 h 2992860"/>
              <a:gd name="connsiteX2" fmla="*/ 1592060 w 1747100"/>
              <a:gd name="connsiteY2" fmla="*/ 1406368 h 2992860"/>
              <a:gd name="connsiteX3" fmla="*/ 96444 w 1747100"/>
              <a:gd name="connsiteY3" fmla="*/ 2962048 h 2992860"/>
              <a:gd name="connsiteX4" fmla="*/ 1458 w 1747100"/>
              <a:gd name="connsiteY4" fmla="*/ 2940105 h 2992860"/>
              <a:gd name="connsiteX5" fmla="*/ 47 w 1747100"/>
              <a:gd name="connsiteY5" fmla="*/ 859428 h 2992860"/>
              <a:gd name="connsiteX0" fmla="*/ 317 w 1747370"/>
              <a:gd name="connsiteY0" fmla="*/ 863993 h 2997425"/>
              <a:gd name="connsiteX1" fmla="*/ 1322175 w 1747370"/>
              <a:gd name="connsiteY1" fmla="*/ 115779 h 2997425"/>
              <a:gd name="connsiteX2" fmla="*/ 1592330 w 1747370"/>
              <a:gd name="connsiteY2" fmla="*/ 1410933 h 2997425"/>
              <a:gd name="connsiteX3" fmla="*/ 96714 w 1747370"/>
              <a:gd name="connsiteY3" fmla="*/ 2966613 h 2997425"/>
              <a:gd name="connsiteX4" fmla="*/ 1728 w 1747370"/>
              <a:gd name="connsiteY4" fmla="*/ 2944670 h 2997425"/>
              <a:gd name="connsiteX5" fmla="*/ 317 w 1747370"/>
              <a:gd name="connsiteY5" fmla="*/ 863993 h 2997425"/>
              <a:gd name="connsiteX0" fmla="*/ 317 w 1758362"/>
              <a:gd name="connsiteY0" fmla="*/ 863993 h 2997425"/>
              <a:gd name="connsiteX1" fmla="*/ 1322175 w 1758362"/>
              <a:gd name="connsiteY1" fmla="*/ 115779 h 2997425"/>
              <a:gd name="connsiteX2" fmla="*/ 1592330 w 1758362"/>
              <a:gd name="connsiteY2" fmla="*/ 1410933 h 2997425"/>
              <a:gd name="connsiteX3" fmla="*/ 96714 w 1758362"/>
              <a:gd name="connsiteY3" fmla="*/ 2966613 h 2997425"/>
              <a:gd name="connsiteX4" fmla="*/ 1728 w 1758362"/>
              <a:gd name="connsiteY4" fmla="*/ 2944670 h 2997425"/>
              <a:gd name="connsiteX5" fmla="*/ 317 w 1758362"/>
              <a:gd name="connsiteY5" fmla="*/ 863993 h 2997425"/>
              <a:gd name="connsiteX0" fmla="*/ 317 w 1753088"/>
              <a:gd name="connsiteY0" fmla="*/ 863993 h 2997425"/>
              <a:gd name="connsiteX1" fmla="*/ 1322175 w 1753088"/>
              <a:gd name="connsiteY1" fmla="*/ 115779 h 2997425"/>
              <a:gd name="connsiteX2" fmla="*/ 1592330 w 1753088"/>
              <a:gd name="connsiteY2" fmla="*/ 1410933 h 2997425"/>
              <a:gd name="connsiteX3" fmla="*/ 96714 w 1753088"/>
              <a:gd name="connsiteY3" fmla="*/ 2966613 h 2997425"/>
              <a:gd name="connsiteX4" fmla="*/ 1728 w 1753088"/>
              <a:gd name="connsiteY4" fmla="*/ 2944670 h 2997425"/>
              <a:gd name="connsiteX5" fmla="*/ 317 w 1753088"/>
              <a:gd name="connsiteY5" fmla="*/ 863993 h 2997425"/>
              <a:gd name="connsiteX0" fmla="*/ 317 w 1756975"/>
              <a:gd name="connsiteY0" fmla="*/ 863993 h 2997425"/>
              <a:gd name="connsiteX1" fmla="*/ 1322175 w 1756975"/>
              <a:gd name="connsiteY1" fmla="*/ 115779 h 2997425"/>
              <a:gd name="connsiteX2" fmla="*/ 1592330 w 1756975"/>
              <a:gd name="connsiteY2" fmla="*/ 1410933 h 2997425"/>
              <a:gd name="connsiteX3" fmla="*/ 96714 w 1756975"/>
              <a:gd name="connsiteY3" fmla="*/ 2966613 h 2997425"/>
              <a:gd name="connsiteX4" fmla="*/ 1728 w 1756975"/>
              <a:gd name="connsiteY4" fmla="*/ 2944670 h 2997425"/>
              <a:gd name="connsiteX5" fmla="*/ 317 w 1756975"/>
              <a:gd name="connsiteY5" fmla="*/ 863993 h 2997425"/>
              <a:gd name="connsiteX0" fmla="*/ 317 w 1756975"/>
              <a:gd name="connsiteY0" fmla="*/ 863993 h 3004928"/>
              <a:gd name="connsiteX1" fmla="*/ 1322175 w 1756975"/>
              <a:gd name="connsiteY1" fmla="*/ 115779 h 3004928"/>
              <a:gd name="connsiteX2" fmla="*/ 1592330 w 1756975"/>
              <a:gd name="connsiteY2" fmla="*/ 1410933 h 3004928"/>
              <a:gd name="connsiteX3" fmla="*/ 96714 w 1756975"/>
              <a:gd name="connsiteY3" fmla="*/ 2966613 h 3004928"/>
              <a:gd name="connsiteX4" fmla="*/ 1728 w 1756975"/>
              <a:gd name="connsiteY4" fmla="*/ 2944670 h 3004928"/>
              <a:gd name="connsiteX5" fmla="*/ 317 w 1756975"/>
              <a:gd name="connsiteY5" fmla="*/ 863993 h 3004928"/>
              <a:gd name="connsiteX0" fmla="*/ 317 w 1756975"/>
              <a:gd name="connsiteY0" fmla="*/ 863993 h 3009727"/>
              <a:gd name="connsiteX1" fmla="*/ 1322175 w 1756975"/>
              <a:gd name="connsiteY1" fmla="*/ 115779 h 3009727"/>
              <a:gd name="connsiteX2" fmla="*/ 1592330 w 1756975"/>
              <a:gd name="connsiteY2" fmla="*/ 1410933 h 3009727"/>
              <a:gd name="connsiteX3" fmla="*/ 96714 w 1756975"/>
              <a:gd name="connsiteY3" fmla="*/ 2966613 h 3009727"/>
              <a:gd name="connsiteX4" fmla="*/ 1728 w 1756975"/>
              <a:gd name="connsiteY4" fmla="*/ 2944670 h 3009727"/>
              <a:gd name="connsiteX5" fmla="*/ 317 w 1756975"/>
              <a:gd name="connsiteY5" fmla="*/ 863993 h 3009727"/>
              <a:gd name="connsiteX0" fmla="*/ 317 w 1756975"/>
              <a:gd name="connsiteY0" fmla="*/ 863993 h 2995855"/>
              <a:gd name="connsiteX1" fmla="*/ 1322175 w 1756975"/>
              <a:gd name="connsiteY1" fmla="*/ 115779 h 2995855"/>
              <a:gd name="connsiteX2" fmla="*/ 1592330 w 1756975"/>
              <a:gd name="connsiteY2" fmla="*/ 1410933 h 2995855"/>
              <a:gd name="connsiteX3" fmla="*/ 96714 w 1756975"/>
              <a:gd name="connsiteY3" fmla="*/ 2966613 h 2995855"/>
              <a:gd name="connsiteX4" fmla="*/ 1728 w 1756975"/>
              <a:gd name="connsiteY4" fmla="*/ 2944670 h 2995855"/>
              <a:gd name="connsiteX5" fmla="*/ 317 w 1756975"/>
              <a:gd name="connsiteY5" fmla="*/ 863993 h 2995855"/>
              <a:gd name="connsiteX0" fmla="*/ 317 w 1756975"/>
              <a:gd name="connsiteY0" fmla="*/ 863993 h 2995855"/>
              <a:gd name="connsiteX1" fmla="*/ 1322175 w 1756975"/>
              <a:gd name="connsiteY1" fmla="*/ 115779 h 2995855"/>
              <a:gd name="connsiteX2" fmla="*/ 1592330 w 1756975"/>
              <a:gd name="connsiteY2" fmla="*/ 1410933 h 2995855"/>
              <a:gd name="connsiteX3" fmla="*/ 96714 w 1756975"/>
              <a:gd name="connsiteY3" fmla="*/ 2966613 h 2995855"/>
              <a:gd name="connsiteX4" fmla="*/ 1728 w 1756975"/>
              <a:gd name="connsiteY4" fmla="*/ 2944670 h 2995855"/>
              <a:gd name="connsiteX5" fmla="*/ 317 w 1756975"/>
              <a:gd name="connsiteY5" fmla="*/ 863993 h 2995855"/>
              <a:gd name="connsiteX0" fmla="*/ 317 w 1756975"/>
              <a:gd name="connsiteY0" fmla="*/ 861441 h 2993303"/>
              <a:gd name="connsiteX1" fmla="*/ 1322175 w 1756975"/>
              <a:gd name="connsiteY1" fmla="*/ 113227 h 2993303"/>
              <a:gd name="connsiteX2" fmla="*/ 1592330 w 1756975"/>
              <a:gd name="connsiteY2" fmla="*/ 1408381 h 2993303"/>
              <a:gd name="connsiteX3" fmla="*/ 96714 w 1756975"/>
              <a:gd name="connsiteY3" fmla="*/ 2964061 h 2993303"/>
              <a:gd name="connsiteX4" fmla="*/ 1728 w 1756975"/>
              <a:gd name="connsiteY4" fmla="*/ 2942118 h 2993303"/>
              <a:gd name="connsiteX5" fmla="*/ 317 w 1756975"/>
              <a:gd name="connsiteY5" fmla="*/ 861441 h 2993303"/>
              <a:gd name="connsiteX0" fmla="*/ 317 w 1749504"/>
              <a:gd name="connsiteY0" fmla="*/ 861441 h 2993303"/>
              <a:gd name="connsiteX1" fmla="*/ 1322175 w 1749504"/>
              <a:gd name="connsiteY1" fmla="*/ 113227 h 2993303"/>
              <a:gd name="connsiteX2" fmla="*/ 1579626 w 1749504"/>
              <a:gd name="connsiteY2" fmla="*/ 1430606 h 2993303"/>
              <a:gd name="connsiteX3" fmla="*/ 96714 w 1749504"/>
              <a:gd name="connsiteY3" fmla="*/ 2964061 h 2993303"/>
              <a:gd name="connsiteX4" fmla="*/ 1728 w 1749504"/>
              <a:gd name="connsiteY4" fmla="*/ 2942118 h 2993303"/>
              <a:gd name="connsiteX5" fmla="*/ 317 w 1749504"/>
              <a:gd name="connsiteY5" fmla="*/ 861441 h 2993303"/>
              <a:gd name="connsiteX0" fmla="*/ 317 w 1751386"/>
              <a:gd name="connsiteY0" fmla="*/ 861441 h 2993303"/>
              <a:gd name="connsiteX1" fmla="*/ 1322175 w 1751386"/>
              <a:gd name="connsiteY1" fmla="*/ 113227 h 2993303"/>
              <a:gd name="connsiteX2" fmla="*/ 1579626 w 1751386"/>
              <a:gd name="connsiteY2" fmla="*/ 1430606 h 2993303"/>
              <a:gd name="connsiteX3" fmla="*/ 96714 w 1751386"/>
              <a:gd name="connsiteY3" fmla="*/ 2964061 h 2993303"/>
              <a:gd name="connsiteX4" fmla="*/ 1728 w 1751386"/>
              <a:gd name="connsiteY4" fmla="*/ 2942118 h 2993303"/>
              <a:gd name="connsiteX5" fmla="*/ 317 w 1751386"/>
              <a:gd name="connsiteY5" fmla="*/ 861441 h 2993303"/>
              <a:gd name="connsiteX0" fmla="*/ 317 w 1754160"/>
              <a:gd name="connsiteY0" fmla="*/ 861441 h 2993303"/>
              <a:gd name="connsiteX1" fmla="*/ 1322175 w 1754160"/>
              <a:gd name="connsiteY1" fmla="*/ 113227 h 2993303"/>
              <a:gd name="connsiteX2" fmla="*/ 1584360 w 1754160"/>
              <a:gd name="connsiteY2" fmla="*/ 1416408 h 2993303"/>
              <a:gd name="connsiteX3" fmla="*/ 96714 w 1754160"/>
              <a:gd name="connsiteY3" fmla="*/ 2964061 h 2993303"/>
              <a:gd name="connsiteX4" fmla="*/ 1728 w 1754160"/>
              <a:gd name="connsiteY4" fmla="*/ 2942118 h 2993303"/>
              <a:gd name="connsiteX5" fmla="*/ 317 w 1754160"/>
              <a:gd name="connsiteY5" fmla="*/ 861441 h 2993303"/>
              <a:gd name="connsiteX0" fmla="*/ 97212 w 1840728"/>
              <a:gd name="connsiteY0" fmla="*/ 851039 h 2982901"/>
              <a:gd name="connsiteX1" fmla="*/ 1414336 w 1840728"/>
              <a:gd name="connsiteY1" fmla="*/ 105192 h 2982901"/>
              <a:gd name="connsiteX2" fmla="*/ 1681255 w 1840728"/>
              <a:gd name="connsiteY2" fmla="*/ 1406006 h 2982901"/>
              <a:gd name="connsiteX3" fmla="*/ 193609 w 1840728"/>
              <a:gd name="connsiteY3" fmla="*/ 2953659 h 2982901"/>
              <a:gd name="connsiteX4" fmla="*/ 98623 w 1840728"/>
              <a:gd name="connsiteY4" fmla="*/ 2931716 h 2982901"/>
              <a:gd name="connsiteX5" fmla="*/ 97212 w 1840728"/>
              <a:gd name="connsiteY5" fmla="*/ 851039 h 2982901"/>
              <a:gd name="connsiteX0" fmla="*/ 97212 w 1850529"/>
              <a:gd name="connsiteY0" fmla="*/ 851039 h 2982901"/>
              <a:gd name="connsiteX1" fmla="*/ 1414336 w 1850529"/>
              <a:gd name="connsiteY1" fmla="*/ 105192 h 2982901"/>
              <a:gd name="connsiteX2" fmla="*/ 1681255 w 1850529"/>
              <a:gd name="connsiteY2" fmla="*/ 1406006 h 2982901"/>
              <a:gd name="connsiteX3" fmla="*/ 193609 w 1850529"/>
              <a:gd name="connsiteY3" fmla="*/ 2953659 h 2982901"/>
              <a:gd name="connsiteX4" fmla="*/ 98623 w 1850529"/>
              <a:gd name="connsiteY4" fmla="*/ 2931716 h 2982901"/>
              <a:gd name="connsiteX5" fmla="*/ 97212 w 1850529"/>
              <a:gd name="connsiteY5" fmla="*/ 851039 h 2982901"/>
              <a:gd name="connsiteX0" fmla="*/ 13 w 1753330"/>
              <a:gd name="connsiteY0" fmla="*/ 858319 h 2990181"/>
              <a:gd name="connsiteX1" fmla="*/ 1317137 w 1753330"/>
              <a:gd name="connsiteY1" fmla="*/ 112472 h 2990181"/>
              <a:gd name="connsiteX2" fmla="*/ 1584056 w 1753330"/>
              <a:gd name="connsiteY2" fmla="*/ 1413286 h 2990181"/>
              <a:gd name="connsiteX3" fmla="*/ 96410 w 1753330"/>
              <a:gd name="connsiteY3" fmla="*/ 2960939 h 2990181"/>
              <a:gd name="connsiteX4" fmla="*/ 1424 w 1753330"/>
              <a:gd name="connsiteY4" fmla="*/ 2938996 h 2990181"/>
              <a:gd name="connsiteX5" fmla="*/ 13 w 1753330"/>
              <a:gd name="connsiteY5" fmla="*/ 858319 h 2990181"/>
              <a:gd name="connsiteX0" fmla="*/ 13 w 1760528"/>
              <a:gd name="connsiteY0" fmla="*/ 858319 h 2990181"/>
              <a:gd name="connsiteX1" fmla="*/ 1317137 w 1760528"/>
              <a:gd name="connsiteY1" fmla="*/ 112472 h 2990181"/>
              <a:gd name="connsiteX2" fmla="*/ 1584056 w 1760528"/>
              <a:gd name="connsiteY2" fmla="*/ 1413286 h 2990181"/>
              <a:gd name="connsiteX3" fmla="*/ 96410 w 1760528"/>
              <a:gd name="connsiteY3" fmla="*/ 2960939 h 2990181"/>
              <a:gd name="connsiteX4" fmla="*/ 1424 w 1760528"/>
              <a:gd name="connsiteY4" fmla="*/ 2938996 h 2990181"/>
              <a:gd name="connsiteX5" fmla="*/ 13 w 1760528"/>
              <a:gd name="connsiteY5" fmla="*/ 858319 h 2990181"/>
              <a:gd name="connsiteX0" fmla="*/ 13 w 1751658"/>
              <a:gd name="connsiteY0" fmla="*/ 858319 h 2990181"/>
              <a:gd name="connsiteX1" fmla="*/ 1317137 w 1751658"/>
              <a:gd name="connsiteY1" fmla="*/ 112472 h 2990181"/>
              <a:gd name="connsiteX2" fmla="*/ 1584056 w 1751658"/>
              <a:gd name="connsiteY2" fmla="*/ 1413286 h 2990181"/>
              <a:gd name="connsiteX3" fmla="*/ 96410 w 1751658"/>
              <a:gd name="connsiteY3" fmla="*/ 2960939 h 2990181"/>
              <a:gd name="connsiteX4" fmla="*/ 1424 w 1751658"/>
              <a:gd name="connsiteY4" fmla="*/ 2938996 h 2990181"/>
              <a:gd name="connsiteX5" fmla="*/ 13 w 1751658"/>
              <a:gd name="connsiteY5" fmla="*/ 858319 h 2990181"/>
              <a:gd name="connsiteX0" fmla="*/ 13 w 1759584"/>
              <a:gd name="connsiteY0" fmla="*/ 858319 h 2990181"/>
              <a:gd name="connsiteX1" fmla="*/ 1317137 w 1759584"/>
              <a:gd name="connsiteY1" fmla="*/ 112472 h 2990181"/>
              <a:gd name="connsiteX2" fmla="*/ 1584056 w 1759584"/>
              <a:gd name="connsiteY2" fmla="*/ 1413286 h 2990181"/>
              <a:gd name="connsiteX3" fmla="*/ 96410 w 1759584"/>
              <a:gd name="connsiteY3" fmla="*/ 2960939 h 2990181"/>
              <a:gd name="connsiteX4" fmla="*/ 1424 w 1759584"/>
              <a:gd name="connsiteY4" fmla="*/ 2938996 h 2990181"/>
              <a:gd name="connsiteX5" fmla="*/ 13 w 1759584"/>
              <a:gd name="connsiteY5" fmla="*/ 858319 h 2990181"/>
              <a:gd name="connsiteX0" fmla="*/ 13 w 1714478"/>
              <a:gd name="connsiteY0" fmla="*/ 858319 h 2990181"/>
              <a:gd name="connsiteX1" fmla="*/ 1317137 w 1714478"/>
              <a:gd name="connsiteY1" fmla="*/ 112472 h 2990181"/>
              <a:gd name="connsiteX2" fmla="*/ 1503572 w 1714478"/>
              <a:gd name="connsiteY2" fmla="*/ 1515045 h 2990181"/>
              <a:gd name="connsiteX3" fmla="*/ 96410 w 1714478"/>
              <a:gd name="connsiteY3" fmla="*/ 2960939 h 2990181"/>
              <a:gd name="connsiteX4" fmla="*/ 1424 w 1714478"/>
              <a:gd name="connsiteY4" fmla="*/ 2938996 h 2990181"/>
              <a:gd name="connsiteX5" fmla="*/ 13 w 1714478"/>
              <a:gd name="connsiteY5" fmla="*/ 858319 h 2990181"/>
              <a:gd name="connsiteX0" fmla="*/ 13 w 1755639"/>
              <a:gd name="connsiteY0" fmla="*/ 858319 h 2990181"/>
              <a:gd name="connsiteX1" fmla="*/ 1317137 w 1755639"/>
              <a:gd name="connsiteY1" fmla="*/ 112472 h 2990181"/>
              <a:gd name="connsiteX2" fmla="*/ 1503572 w 1755639"/>
              <a:gd name="connsiteY2" fmla="*/ 1515045 h 2990181"/>
              <a:gd name="connsiteX3" fmla="*/ 96410 w 1755639"/>
              <a:gd name="connsiteY3" fmla="*/ 2960939 h 2990181"/>
              <a:gd name="connsiteX4" fmla="*/ 1424 w 1755639"/>
              <a:gd name="connsiteY4" fmla="*/ 2938996 h 2990181"/>
              <a:gd name="connsiteX5" fmla="*/ 13 w 1755639"/>
              <a:gd name="connsiteY5" fmla="*/ 858319 h 2990181"/>
              <a:gd name="connsiteX0" fmla="*/ 13 w 1748972"/>
              <a:gd name="connsiteY0" fmla="*/ 858319 h 2990181"/>
              <a:gd name="connsiteX1" fmla="*/ 1317137 w 1748972"/>
              <a:gd name="connsiteY1" fmla="*/ 112472 h 2990181"/>
              <a:gd name="connsiteX2" fmla="*/ 1503572 w 1748972"/>
              <a:gd name="connsiteY2" fmla="*/ 1515045 h 2990181"/>
              <a:gd name="connsiteX3" fmla="*/ 96410 w 1748972"/>
              <a:gd name="connsiteY3" fmla="*/ 2960939 h 2990181"/>
              <a:gd name="connsiteX4" fmla="*/ 1424 w 1748972"/>
              <a:gd name="connsiteY4" fmla="*/ 2938996 h 2990181"/>
              <a:gd name="connsiteX5" fmla="*/ 13 w 1748972"/>
              <a:gd name="connsiteY5" fmla="*/ 858319 h 2990181"/>
              <a:gd name="connsiteX0" fmla="*/ 13 w 1754684"/>
              <a:gd name="connsiteY0" fmla="*/ 858319 h 2990181"/>
              <a:gd name="connsiteX1" fmla="*/ 1317137 w 1754684"/>
              <a:gd name="connsiteY1" fmla="*/ 112472 h 2990181"/>
              <a:gd name="connsiteX2" fmla="*/ 1503572 w 1754684"/>
              <a:gd name="connsiteY2" fmla="*/ 1515045 h 2990181"/>
              <a:gd name="connsiteX3" fmla="*/ 96410 w 1754684"/>
              <a:gd name="connsiteY3" fmla="*/ 2960939 h 2990181"/>
              <a:gd name="connsiteX4" fmla="*/ 1424 w 1754684"/>
              <a:gd name="connsiteY4" fmla="*/ 2938996 h 2990181"/>
              <a:gd name="connsiteX5" fmla="*/ 13 w 1754684"/>
              <a:gd name="connsiteY5" fmla="*/ 858319 h 2990181"/>
              <a:gd name="connsiteX0" fmla="*/ 13 w 1753730"/>
              <a:gd name="connsiteY0" fmla="*/ 858319 h 2990181"/>
              <a:gd name="connsiteX1" fmla="*/ 1317137 w 1753730"/>
              <a:gd name="connsiteY1" fmla="*/ 112472 h 2990181"/>
              <a:gd name="connsiteX2" fmla="*/ 1503572 w 1753730"/>
              <a:gd name="connsiteY2" fmla="*/ 1515045 h 2990181"/>
              <a:gd name="connsiteX3" fmla="*/ 96410 w 1753730"/>
              <a:gd name="connsiteY3" fmla="*/ 2960939 h 2990181"/>
              <a:gd name="connsiteX4" fmla="*/ 1424 w 1753730"/>
              <a:gd name="connsiteY4" fmla="*/ 2938996 h 2990181"/>
              <a:gd name="connsiteX5" fmla="*/ 13 w 1753730"/>
              <a:gd name="connsiteY5" fmla="*/ 858319 h 2990181"/>
              <a:gd name="connsiteX0" fmla="*/ 13 w 1700318"/>
              <a:gd name="connsiteY0" fmla="*/ 858319 h 2991855"/>
              <a:gd name="connsiteX1" fmla="*/ 1317137 w 1700318"/>
              <a:gd name="connsiteY1" fmla="*/ 112472 h 2991855"/>
              <a:gd name="connsiteX2" fmla="*/ 1503572 w 1700318"/>
              <a:gd name="connsiteY2" fmla="*/ 1515045 h 2991855"/>
              <a:gd name="connsiteX3" fmla="*/ 86941 w 1700318"/>
              <a:gd name="connsiteY3" fmla="*/ 2965672 h 2991855"/>
              <a:gd name="connsiteX4" fmla="*/ 1424 w 1700318"/>
              <a:gd name="connsiteY4" fmla="*/ 2938996 h 2991855"/>
              <a:gd name="connsiteX5" fmla="*/ 13 w 1700318"/>
              <a:gd name="connsiteY5" fmla="*/ 858319 h 2991855"/>
              <a:gd name="connsiteX0" fmla="*/ 13 w 1763120"/>
              <a:gd name="connsiteY0" fmla="*/ 858319 h 2991855"/>
              <a:gd name="connsiteX1" fmla="*/ 1317137 w 1763120"/>
              <a:gd name="connsiteY1" fmla="*/ 112472 h 2991855"/>
              <a:gd name="connsiteX2" fmla="*/ 1503572 w 1763120"/>
              <a:gd name="connsiteY2" fmla="*/ 1515045 h 2991855"/>
              <a:gd name="connsiteX3" fmla="*/ 86941 w 1763120"/>
              <a:gd name="connsiteY3" fmla="*/ 2965672 h 2991855"/>
              <a:gd name="connsiteX4" fmla="*/ 1424 w 1763120"/>
              <a:gd name="connsiteY4" fmla="*/ 2938996 h 2991855"/>
              <a:gd name="connsiteX5" fmla="*/ 13 w 1763120"/>
              <a:gd name="connsiteY5" fmla="*/ 858319 h 2991855"/>
              <a:gd name="connsiteX0" fmla="*/ 13 w 1745944"/>
              <a:gd name="connsiteY0" fmla="*/ 858319 h 2991855"/>
              <a:gd name="connsiteX1" fmla="*/ 1317137 w 1745944"/>
              <a:gd name="connsiteY1" fmla="*/ 112472 h 2991855"/>
              <a:gd name="connsiteX2" fmla="*/ 1503572 w 1745944"/>
              <a:gd name="connsiteY2" fmla="*/ 1515045 h 2991855"/>
              <a:gd name="connsiteX3" fmla="*/ 86941 w 1745944"/>
              <a:gd name="connsiteY3" fmla="*/ 2965672 h 2991855"/>
              <a:gd name="connsiteX4" fmla="*/ 1424 w 1745944"/>
              <a:gd name="connsiteY4" fmla="*/ 2938996 h 2991855"/>
              <a:gd name="connsiteX5" fmla="*/ 13 w 1745944"/>
              <a:gd name="connsiteY5" fmla="*/ 858319 h 2991855"/>
              <a:gd name="connsiteX0" fmla="*/ 13 w 1752593"/>
              <a:gd name="connsiteY0" fmla="*/ 858319 h 2991855"/>
              <a:gd name="connsiteX1" fmla="*/ 1317137 w 1752593"/>
              <a:gd name="connsiteY1" fmla="*/ 112472 h 2991855"/>
              <a:gd name="connsiteX2" fmla="*/ 1503572 w 1752593"/>
              <a:gd name="connsiteY2" fmla="*/ 1515045 h 2991855"/>
              <a:gd name="connsiteX3" fmla="*/ 86941 w 1752593"/>
              <a:gd name="connsiteY3" fmla="*/ 2965672 h 2991855"/>
              <a:gd name="connsiteX4" fmla="*/ 1424 w 1752593"/>
              <a:gd name="connsiteY4" fmla="*/ 2938996 h 2991855"/>
              <a:gd name="connsiteX5" fmla="*/ 13 w 1752593"/>
              <a:gd name="connsiteY5" fmla="*/ 858319 h 2991855"/>
              <a:gd name="connsiteX0" fmla="*/ 13 w 1752593"/>
              <a:gd name="connsiteY0" fmla="*/ 858319 h 2984818"/>
              <a:gd name="connsiteX1" fmla="*/ 1317137 w 1752593"/>
              <a:gd name="connsiteY1" fmla="*/ 112472 h 2984818"/>
              <a:gd name="connsiteX2" fmla="*/ 1503572 w 1752593"/>
              <a:gd name="connsiteY2" fmla="*/ 1515045 h 2984818"/>
              <a:gd name="connsiteX3" fmla="*/ 86941 w 1752593"/>
              <a:gd name="connsiteY3" fmla="*/ 2965672 h 2984818"/>
              <a:gd name="connsiteX4" fmla="*/ 1424 w 1752593"/>
              <a:gd name="connsiteY4" fmla="*/ 2938996 h 2984818"/>
              <a:gd name="connsiteX5" fmla="*/ 13 w 1752593"/>
              <a:gd name="connsiteY5" fmla="*/ 858319 h 2984818"/>
              <a:gd name="connsiteX0" fmla="*/ 13 w 1701062"/>
              <a:gd name="connsiteY0" fmla="*/ 858319 h 2994906"/>
              <a:gd name="connsiteX1" fmla="*/ 1317137 w 1701062"/>
              <a:gd name="connsiteY1" fmla="*/ 112472 h 2994906"/>
              <a:gd name="connsiteX2" fmla="*/ 1503572 w 1701062"/>
              <a:gd name="connsiteY2" fmla="*/ 1515045 h 2994906"/>
              <a:gd name="connsiteX3" fmla="*/ 75105 w 1701062"/>
              <a:gd name="connsiteY3" fmla="*/ 2986970 h 2994906"/>
              <a:gd name="connsiteX4" fmla="*/ 1424 w 1701062"/>
              <a:gd name="connsiteY4" fmla="*/ 2938996 h 2994906"/>
              <a:gd name="connsiteX5" fmla="*/ 13 w 1701062"/>
              <a:gd name="connsiteY5" fmla="*/ 858319 h 2994906"/>
              <a:gd name="connsiteX0" fmla="*/ 13 w 1700318"/>
              <a:gd name="connsiteY0" fmla="*/ 858319 h 2984818"/>
              <a:gd name="connsiteX1" fmla="*/ 1317137 w 1700318"/>
              <a:gd name="connsiteY1" fmla="*/ 112472 h 2984818"/>
              <a:gd name="connsiteX2" fmla="*/ 1503572 w 1700318"/>
              <a:gd name="connsiteY2" fmla="*/ 1515045 h 2984818"/>
              <a:gd name="connsiteX3" fmla="*/ 86941 w 1700318"/>
              <a:gd name="connsiteY3" fmla="*/ 2965672 h 2984818"/>
              <a:gd name="connsiteX4" fmla="*/ 1424 w 1700318"/>
              <a:gd name="connsiteY4" fmla="*/ 2938996 h 2984818"/>
              <a:gd name="connsiteX5" fmla="*/ 13 w 1700318"/>
              <a:gd name="connsiteY5" fmla="*/ 858319 h 2984818"/>
              <a:gd name="connsiteX0" fmla="*/ 13 w 1700318"/>
              <a:gd name="connsiteY0" fmla="*/ 858319 h 2984818"/>
              <a:gd name="connsiteX1" fmla="*/ 1317137 w 1700318"/>
              <a:gd name="connsiteY1" fmla="*/ 112472 h 2984818"/>
              <a:gd name="connsiteX2" fmla="*/ 1503572 w 1700318"/>
              <a:gd name="connsiteY2" fmla="*/ 1515045 h 2984818"/>
              <a:gd name="connsiteX3" fmla="*/ 86941 w 1700318"/>
              <a:gd name="connsiteY3" fmla="*/ 2965672 h 2984818"/>
              <a:gd name="connsiteX4" fmla="*/ 1424 w 1700318"/>
              <a:gd name="connsiteY4" fmla="*/ 2938996 h 2984818"/>
              <a:gd name="connsiteX5" fmla="*/ 13 w 1700318"/>
              <a:gd name="connsiteY5" fmla="*/ 858319 h 2984818"/>
              <a:gd name="connsiteX0" fmla="*/ 13 w 1699425"/>
              <a:gd name="connsiteY0" fmla="*/ 858319 h 3009727"/>
              <a:gd name="connsiteX1" fmla="*/ 1317137 w 1699425"/>
              <a:gd name="connsiteY1" fmla="*/ 112472 h 3009727"/>
              <a:gd name="connsiteX2" fmla="*/ 1503572 w 1699425"/>
              <a:gd name="connsiteY2" fmla="*/ 1515045 h 3009727"/>
              <a:gd name="connsiteX3" fmla="*/ 101144 w 1699425"/>
              <a:gd name="connsiteY3" fmla="*/ 3008269 h 3009727"/>
              <a:gd name="connsiteX4" fmla="*/ 1424 w 1699425"/>
              <a:gd name="connsiteY4" fmla="*/ 2938996 h 3009727"/>
              <a:gd name="connsiteX5" fmla="*/ 13 w 1699425"/>
              <a:gd name="connsiteY5" fmla="*/ 858319 h 3009727"/>
              <a:gd name="connsiteX0" fmla="*/ 13 w 1699425"/>
              <a:gd name="connsiteY0" fmla="*/ 858319 h 3045227"/>
              <a:gd name="connsiteX1" fmla="*/ 1317137 w 1699425"/>
              <a:gd name="connsiteY1" fmla="*/ 112472 h 3045227"/>
              <a:gd name="connsiteX2" fmla="*/ 1503572 w 1699425"/>
              <a:gd name="connsiteY2" fmla="*/ 1515045 h 3045227"/>
              <a:gd name="connsiteX3" fmla="*/ 101144 w 1699425"/>
              <a:gd name="connsiteY3" fmla="*/ 3008269 h 3045227"/>
              <a:gd name="connsiteX4" fmla="*/ 1424 w 1699425"/>
              <a:gd name="connsiteY4" fmla="*/ 2938996 h 3045227"/>
              <a:gd name="connsiteX5" fmla="*/ 13 w 1699425"/>
              <a:gd name="connsiteY5" fmla="*/ 858319 h 3045227"/>
              <a:gd name="connsiteX0" fmla="*/ 13 w 1698831"/>
              <a:gd name="connsiteY0" fmla="*/ 858319 h 3004841"/>
              <a:gd name="connsiteX1" fmla="*/ 1317137 w 1698831"/>
              <a:gd name="connsiteY1" fmla="*/ 112472 h 3004841"/>
              <a:gd name="connsiteX2" fmla="*/ 1503572 w 1698831"/>
              <a:gd name="connsiteY2" fmla="*/ 1515045 h 3004841"/>
              <a:gd name="connsiteX3" fmla="*/ 110613 w 1698831"/>
              <a:gd name="connsiteY3" fmla="*/ 2946741 h 3004841"/>
              <a:gd name="connsiteX4" fmla="*/ 1424 w 1698831"/>
              <a:gd name="connsiteY4" fmla="*/ 2938996 h 3004841"/>
              <a:gd name="connsiteX5" fmla="*/ 13 w 1698831"/>
              <a:gd name="connsiteY5" fmla="*/ 858319 h 3004841"/>
              <a:gd name="connsiteX0" fmla="*/ 13 w 1698831"/>
              <a:gd name="connsiteY0" fmla="*/ 858319 h 3007635"/>
              <a:gd name="connsiteX1" fmla="*/ 1317137 w 1698831"/>
              <a:gd name="connsiteY1" fmla="*/ 112472 h 3007635"/>
              <a:gd name="connsiteX2" fmla="*/ 1503572 w 1698831"/>
              <a:gd name="connsiteY2" fmla="*/ 1515045 h 3007635"/>
              <a:gd name="connsiteX3" fmla="*/ 110613 w 1698831"/>
              <a:gd name="connsiteY3" fmla="*/ 2946741 h 3007635"/>
              <a:gd name="connsiteX4" fmla="*/ 1424 w 1698831"/>
              <a:gd name="connsiteY4" fmla="*/ 2938996 h 3007635"/>
              <a:gd name="connsiteX5" fmla="*/ 13 w 1698831"/>
              <a:gd name="connsiteY5" fmla="*/ 858319 h 3007635"/>
              <a:gd name="connsiteX0" fmla="*/ 13 w 1698979"/>
              <a:gd name="connsiteY0" fmla="*/ 858319 h 3005098"/>
              <a:gd name="connsiteX1" fmla="*/ 1317137 w 1698979"/>
              <a:gd name="connsiteY1" fmla="*/ 112472 h 3005098"/>
              <a:gd name="connsiteX2" fmla="*/ 1503572 w 1698979"/>
              <a:gd name="connsiteY2" fmla="*/ 1515045 h 3005098"/>
              <a:gd name="connsiteX3" fmla="*/ 108246 w 1698979"/>
              <a:gd name="connsiteY3" fmla="*/ 2942008 h 3005098"/>
              <a:gd name="connsiteX4" fmla="*/ 1424 w 1698979"/>
              <a:gd name="connsiteY4" fmla="*/ 2938996 h 3005098"/>
              <a:gd name="connsiteX5" fmla="*/ 13 w 1698979"/>
              <a:gd name="connsiteY5" fmla="*/ 858319 h 3005098"/>
              <a:gd name="connsiteX0" fmla="*/ 13 w 1701077"/>
              <a:gd name="connsiteY0" fmla="*/ 858319 h 3022766"/>
              <a:gd name="connsiteX1" fmla="*/ 1317137 w 1701077"/>
              <a:gd name="connsiteY1" fmla="*/ 112472 h 3022766"/>
              <a:gd name="connsiteX2" fmla="*/ 1503572 w 1701077"/>
              <a:gd name="connsiteY2" fmla="*/ 1515045 h 3022766"/>
              <a:gd name="connsiteX3" fmla="*/ 74876 w 1701077"/>
              <a:gd name="connsiteY3" fmla="*/ 2972033 h 3022766"/>
              <a:gd name="connsiteX4" fmla="*/ 1424 w 1701077"/>
              <a:gd name="connsiteY4" fmla="*/ 2938996 h 3022766"/>
              <a:gd name="connsiteX5" fmla="*/ 13 w 1701077"/>
              <a:gd name="connsiteY5" fmla="*/ 858319 h 3022766"/>
              <a:gd name="connsiteX0" fmla="*/ 13 w 1701077"/>
              <a:gd name="connsiteY0" fmla="*/ 858319 h 2995037"/>
              <a:gd name="connsiteX1" fmla="*/ 1317137 w 1701077"/>
              <a:gd name="connsiteY1" fmla="*/ 112472 h 2995037"/>
              <a:gd name="connsiteX2" fmla="*/ 1503572 w 1701077"/>
              <a:gd name="connsiteY2" fmla="*/ 1515045 h 2995037"/>
              <a:gd name="connsiteX3" fmla="*/ 74876 w 1701077"/>
              <a:gd name="connsiteY3" fmla="*/ 2972033 h 2995037"/>
              <a:gd name="connsiteX4" fmla="*/ 1424 w 1701077"/>
              <a:gd name="connsiteY4" fmla="*/ 2938996 h 2995037"/>
              <a:gd name="connsiteX5" fmla="*/ 13 w 1701077"/>
              <a:gd name="connsiteY5" fmla="*/ 858319 h 2995037"/>
              <a:gd name="connsiteX0" fmla="*/ 13 w 1760182"/>
              <a:gd name="connsiteY0" fmla="*/ 858319 h 2995037"/>
              <a:gd name="connsiteX1" fmla="*/ 1317137 w 1760182"/>
              <a:gd name="connsiteY1" fmla="*/ 112472 h 2995037"/>
              <a:gd name="connsiteX2" fmla="*/ 1503572 w 1760182"/>
              <a:gd name="connsiteY2" fmla="*/ 1515045 h 2995037"/>
              <a:gd name="connsiteX3" fmla="*/ 74876 w 1760182"/>
              <a:gd name="connsiteY3" fmla="*/ 2972033 h 2995037"/>
              <a:gd name="connsiteX4" fmla="*/ 1424 w 1760182"/>
              <a:gd name="connsiteY4" fmla="*/ 2938996 h 2995037"/>
              <a:gd name="connsiteX5" fmla="*/ 13 w 1760182"/>
              <a:gd name="connsiteY5" fmla="*/ 858319 h 2995037"/>
              <a:gd name="connsiteX0" fmla="*/ 13 w 1760182"/>
              <a:gd name="connsiteY0" fmla="*/ 858319 h 3003213"/>
              <a:gd name="connsiteX1" fmla="*/ 1317137 w 1760182"/>
              <a:gd name="connsiteY1" fmla="*/ 112472 h 3003213"/>
              <a:gd name="connsiteX2" fmla="*/ 1503572 w 1760182"/>
              <a:gd name="connsiteY2" fmla="*/ 1515045 h 3003213"/>
              <a:gd name="connsiteX3" fmla="*/ 74876 w 1760182"/>
              <a:gd name="connsiteY3" fmla="*/ 2972033 h 3003213"/>
              <a:gd name="connsiteX4" fmla="*/ 1424 w 1760182"/>
              <a:gd name="connsiteY4" fmla="*/ 2938996 h 3003213"/>
              <a:gd name="connsiteX5" fmla="*/ 13 w 1760182"/>
              <a:gd name="connsiteY5" fmla="*/ 858319 h 3003213"/>
              <a:gd name="connsiteX0" fmla="*/ 13 w 1699398"/>
              <a:gd name="connsiteY0" fmla="*/ 858319 h 2990793"/>
              <a:gd name="connsiteX1" fmla="*/ 1317137 w 1699398"/>
              <a:gd name="connsiteY1" fmla="*/ 112472 h 2990793"/>
              <a:gd name="connsiteX2" fmla="*/ 1503572 w 1699398"/>
              <a:gd name="connsiteY2" fmla="*/ 1515045 h 2990793"/>
              <a:gd name="connsiteX3" fmla="*/ 101572 w 1699398"/>
              <a:gd name="connsiteY3" fmla="*/ 2947397 h 2990793"/>
              <a:gd name="connsiteX4" fmla="*/ 1424 w 1699398"/>
              <a:gd name="connsiteY4" fmla="*/ 2938996 h 2990793"/>
              <a:gd name="connsiteX5" fmla="*/ 13 w 1699398"/>
              <a:gd name="connsiteY5" fmla="*/ 858319 h 2990793"/>
              <a:gd name="connsiteX0" fmla="*/ 13 w 1699398"/>
              <a:gd name="connsiteY0" fmla="*/ 858319 h 2992199"/>
              <a:gd name="connsiteX1" fmla="*/ 1317137 w 1699398"/>
              <a:gd name="connsiteY1" fmla="*/ 112472 h 2992199"/>
              <a:gd name="connsiteX2" fmla="*/ 1503572 w 1699398"/>
              <a:gd name="connsiteY2" fmla="*/ 1515045 h 2992199"/>
              <a:gd name="connsiteX3" fmla="*/ 101572 w 1699398"/>
              <a:gd name="connsiteY3" fmla="*/ 2947397 h 2992199"/>
              <a:gd name="connsiteX4" fmla="*/ 1424 w 1699398"/>
              <a:gd name="connsiteY4" fmla="*/ 2938996 h 2992199"/>
              <a:gd name="connsiteX5" fmla="*/ 13 w 1699398"/>
              <a:gd name="connsiteY5" fmla="*/ 858319 h 2992199"/>
              <a:gd name="connsiteX0" fmla="*/ 13 w 1701077"/>
              <a:gd name="connsiteY0" fmla="*/ 858319 h 3006121"/>
              <a:gd name="connsiteX1" fmla="*/ 1317137 w 1701077"/>
              <a:gd name="connsiteY1" fmla="*/ 112472 h 3006121"/>
              <a:gd name="connsiteX2" fmla="*/ 1503572 w 1701077"/>
              <a:gd name="connsiteY2" fmla="*/ 1515045 h 3006121"/>
              <a:gd name="connsiteX3" fmla="*/ 74876 w 1701077"/>
              <a:gd name="connsiteY3" fmla="*/ 2974086 h 3006121"/>
              <a:gd name="connsiteX4" fmla="*/ 1424 w 1701077"/>
              <a:gd name="connsiteY4" fmla="*/ 2938996 h 3006121"/>
              <a:gd name="connsiteX5" fmla="*/ 13 w 1701077"/>
              <a:gd name="connsiteY5" fmla="*/ 858319 h 3006121"/>
              <a:gd name="connsiteX0" fmla="*/ 13 w 1701077"/>
              <a:gd name="connsiteY0" fmla="*/ 858319 h 2994525"/>
              <a:gd name="connsiteX1" fmla="*/ 1317137 w 1701077"/>
              <a:gd name="connsiteY1" fmla="*/ 112472 h 2994525"/>
              <a:gd name="connsiteX2" fmla="*/ 1503572 w 1701077"/>
              <a:gd name="connsiteY2" fmla="*/ 1515045 h 2994525"/>
              <a:gd name="connsiteX3" fmla="*/ 74876 w 1701077"/>
              <a:gd name="connsiteY3" fmla="*/ 2974086 h 2994525"/>
              <a:gd name="connsiteX4" fmla="*/ 1424 w 1701077"/>
              <a:gd name="connsiteY4" fmla="*/ 2938996 h 2994525"/>
              <a:gd name="connsiteX5" fmla="*/ 13 w 1701077"/>
              <a:gd name="connsiteY5" fmla="*/ 858319 h 2994525"/>
              <a:gd name="connsiteX0" fmla="*/ 13 w 1761447"/>
              <a:gd name="connsiteY0" fmla="*/ 858319 h 2994525"/>
              <a:gd name="connsiteX1" fmla="*/ 1317137 w 1761447"/>
              <a:gd name="connsiteY1" fmla="*/ 112472 h 2994525"/>
              <a:gd name="connsiteX2" fmla="*/ 1503572 w 1761447"/>
              <a:gd name="connsiteY2" fmla="*/ 1515045 h 2994525"/>
              <a:gd name="connsiteX3" fmla="*/ 74876 w 1761447"/>
              <a:gd name="connsiteY3" fmla="*/ 2974086 h 2994525"/>
              <a:gd name="connsiteX4" fmla="*/ 1424 w 1761447"/>
              <a:gd name="connsiteY4" fmla="*/ 2938996 h 2994525"/>
              <a:gd name="connsiteX5" fmla="*/ 13 w 1761447"/>
              <a:gd name="connsiteY5" fmla="*/ 858319 h 2994525"/>
              <a:gd name="connsiteX0" fmla="*/ 13 w 1753976"/>
              <a:gd name="connsiteY0" fmla="*/ 858319 h 2994525"/>
              <a:gd name="connsiteX1" fmla="*/ 1317137 w 1753976"/>
              <a:gd name="connsiteY1" fmla="*/ 112472 h 2994525"/>
              <a:gd name="connsiteX2" fmla="*/ 1503572 w 1753976"/>
              <a:gd name="connsiteY2" fmla="*/ 1515045 h 2994525"/>
              <a:gd name="connsiteX3" fmla="*/ 74876 w 1753976"/>
              <a:gd name="connsiteY3" fmla="*/ 2974086 h 2994525"/>
              <a:gd name="connsiteX4" fmla="*/ 1424 w 1753976"/>
              <a:gd name="connsiteY4" fmla="*/ 2938996 h 2994525"/>
              <a:gd name="connsiteX5" fmla="*/ 13 w 1753976"/>
              <a:gd name="connsiteY5" fmla="*/ 858319 h 2994525"/>
              <a:gd name="connsiteX0" fmla="*/ 13 w 1753976"/>
              <a:gd name="connsiteY0" fmla="*/ 858319 h 2994525"/>
              <a:gd name="connsiteX1" fmla="*/ 1317137 w 1753976"/>
              <a:gd name="connsiteY1" fmla="*/ 112472 h 2994525"/>
              <a:gd name="connsiteX2" fmla="*/ 1503572 w 1753976"/>
              <a:gd name="connsiteY2" fmla="*/ 1515045 h 2994525"/>
              <a:gd name="connsiteX3" fmla="*/ 74876 w 1753976"/>
              <a:gd name="connsiteY3" fmla="*/ 2974086 h 2994525"/>
              <a:gd name="connsiteX4" fmla="*/ 1424 w 1753976"/>
              <a:gd name="connsiteY4" fmla="*/ 2938996 h 2994525"/>
              <a:gd name="connsiteX5" fmla="*/ 13 w 1753976"/>
              <a:gd name="connsiteY5" fmla="*/ 858319 h 2994525"/>
              <a:gd name="connsiteX0" fmla="*/ 13 w 1753976"/>
              <a:gd name="connsiteY0" fmla="*/ 858319 h 2995168"/>
              <a:gd name="connsiteX1" fmla="*/ 1317137 w 1753976"/>
              <a:gd name="connsiteY1" fmla="*/ 112472 h 2995168"/>
              <a:gd name="connsiteX2" fmla="*/ 1503572 w 1753976"/>
              <a:gd name="connsiteY2" fmla="*/ 1515045 h 2995168"/>
              <a:gd name="connsiteX3" fmla="*/ 74876 w 1753976"/>
              <a:gd name="connsiteY3" fmla="*/ 2974086 h 2995168"/>
              <a:gd name="connsiteX4" fmla="*/ 1424 w 1753976"/>
              <a:gd name="connsiteY4" fmla="*/ 2938996 h 2995168"/>
              <a:gd name="connsiteX5" fmla="*/ 13 w 1753976"/>
              <a:gd name="connsiteY5" fmla="*/ 858319 h 2995168"/>
              <a:gd name="connsiteX0" fmla="*/ 13 w 1753976"/>
              <a:gd name="connsiteY0" fmla="*/ 858319 h 2992234"/>
              <a:gd name="connsiteX1" fmla="*/ 1317137 w 1753976"/>
              <a:gd name="connsiteY1" fmla="*/ 112472 h 2992234"/>
              <a:gd name="connsiteX2" fmla="*/ 1503572 w 1753976"/>
              <a:gd name="connsiteY2" fmla="*/ 1515045 h 2992234"/>
              <a:gd name="connsiteX3" fmla="*/ 74876 w 1753976"/>
              <a:gd name="connsiteY3" fmla="*/ 2974086 h 2992234"/>
              <a:gd name="connsiteX4" fmla="*/ 1424 w 1753976"/>
              <a:gd name="connsiteY4" fmla="*/ 2938996 h 2992234"/>
              <a:gd name="connsiteX5" fmla="*/ 13 w 1753976"/>
              <a:gd name="connsiteY5" fmla="*/ 858319 h 29922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53976" h="2992234">
                <a:moveTo>
                  <a:pt x="13" y="858319"/>
                </a:moveTo>
                <a:cubicBezTo>
                  <a:pt x="-3215" y="318604"/>
                  <a:pt x="626118" y="-245536"/>
                  <a:pt x="1317137" y="112472"/>
                </a:cubicBezTo>
                <a:cubicBezTo>
                  <a:pt x="1885310" y="453554"/>
                  <a:pt x="1845745" y="1161058"/>
                  <a:pt x="1503572" y="1515045"/>
                </a:cubicBezTo>
                <a:cubicBezTo>
                  <a:pt x="1211764" y="1816929"/>
                  <a:pt x="93646" y="2954272"/>
                  <a:pt x="74876" y="2974086"/>
                </a:cubicBezTo>
                <a:cubicBezTo>
                  <a:pt x="56106" y="2993900"/>
                  <a:pt x="3595" y="3013732"/>
                  <a:pt x="1424" y="2938996"/>
                </a:cubicBezTo>
                <a:cubicBezTo>
                  <a:pt x="895" y="2572359"/>
                  <a:pt x="3241" y="1398034"/>
                  <a:pt x="13" y="85831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31560303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medio corazón izquier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85404" y="430442"/>
            <a:ext cx="7969288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 dirty="0"/>
              <a:t>Haga clic para modificar el estilo de título</a:t>
            </a:r>
            <a:br>
              <a:rPr lang="es-ES" dirty="0"/>
            </a:br>
            <a:r>
              <a:rPr lang="es-ES" dirty="0"/>
              <a:t>del patrón</a:t>
            </a:r>
            <a:endParaRPr lang="de-DE" dirty="0"/>
          </a:p>
        </p:txBody>
      </p:sp>
      <p:sp>
        <p:nvSpPr>
          <p:cNvPr id="4" name="Marcador de posición de imagen 3">
            <a:extLst>
              <a:ext uri="{FF2B5EF4-FFF2-40B4-BE49-F238E27FC236}">
                <a16:creationId xmlns:a16="http://schemas.microsoft.com/office/drawing/2014/main" id="{A769403B-BE7A-614A-90C1-192EE12F8017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-16329" y="391019"/>
            <a:ext cx="3657600" cy="6241555"/>
          </a:xfrm>
          <a:custGeom>
            <a:avLst/>
            <a:gdLst>
              <a:gd name="connsiteX0" fmla="*/ 1726784 w 3453568"/>
              <a:gd name="connsiteY0" fmla="*/ 761850 h 3047398"/>
              <a:gd name="connsiteX1" fmla="*/ 1726784 w 3453568"/>
              <a:gd name="connsiteY1" fmla="*/ 3047398 h 3047398"/>
              <a:gd name="connsiteX2" fmla="*/ 1726784 w 3453568"/>
              <a:gd name="connsiteY2" fmla="*/ 761850 h 3047398"/>
              <a:gd name="connsiteX0" fmla="*/ 323012 w 2062385"/>
              <a:gd name="connsiteY0" fmla="*/ 724098 h 3009646"/>
              <a:gd name="connsiteX1" fmla="*/ 323012 w 2062385"/>
              <a:gd name="connsiteY1" fmla="*/ 3009646 h 3009646"/>
              <a:gd name="connsiteX2" fmla="*/ 323012 w 2062385"/>
              <a:gd name="connsiteY2" fmla="*/ 724098 h 3009646"/>
              <a:gd name="connsiteX0" fmla="*/ 5073 w 1744446"/>
              <a:gd name="connsiteY0" fmla="*/ 724098 h 3009646"/>
              <a:gd name="connsiteX1" fmla="*/ 5073 w 1744446"/>
              <a:gd name="connsiteY1" fmla="*/ 3009646 h 3009646"/>
              <a:gd name="connsiteX2" fmla="*/ 5073 w 1744446"/>
              <a:gd name="connsiteY2" fmla="*/ 724098 h 3009646"/>
              <a:gd name="connsiteX0" fmla="*/ 0 w 1739373"/>
              <a:gd name="connsiteY0" fmla="*/ 724098 h 3009646"/>
              <a:gd name="connsiteX1" fmla="*/ 0 w 1739373"/>
              <a:gd name="connsiteY1" fmla="*/ 3009646 h 3009646"/>
              <a:gd name="connsiteX2" fmla="*/ 0 w 1739373"/>
              <a:gd name="connsiteY2" fmla="*/ 724098 h 3009646"/>
              <a:gd name="connsiteX0" fmla="*/ 0 w 1741571"/>
              <a:gd name="connsiteY0" fmla="*/ 741338 h 2941161"/>
              <a:gd name="connsiteX1" fmla="*/ 3175 w 1741571"/>
              <a:gd name="connsiteY1" fmla="*/ 2941161 h 2941161"/>
              <a:gd name="connsiteX2" fmla="*/ 0 w 1741571"/>
              <a:gd name="connsiteY2" fmla="*/ 741338 h 2941161"/>
              <a:gd name="connsiteX0" fmla="*/ 0 w 1662955"/>
              <a:gd name="connsiteY0" fmla="*/ 770826 h 2970649"/>
              <a:gd name="connsiteX1" fmla="*/ 3175 w 1662955"/>
              <a:gd name="connsiteY1" fmla="*/ 2970649 h 2970649"/>
              <a:gd name="connsiteX2" fmla="*/ 0 w 1662955"/>
              <a:gd name="connsiteY2" fmla="*/ 770826 h 2970649"/>
              <a:gd name="connsiteX0" fmla="*/ 0 w 1754580"/>
              <a:gd name="connsiteY0" fmla="*/ 790877 h 2990700"/>
              <a:gd name="connsiteX1" fmla="*/ 3175 w 1754580"/>
              <a:gd name="connsiteY1" fmla="*/ 2990700 h 2990700"/>
              <a:gd name="connsiteX2" fmla="*/ 0 w 1754580"/>
              <a:gd name="connsiteY2" fmla="*/ 790877 h 2990700"/>
              <a:gd name="connsiteX0" fmla="*/ 46 w 1754626"/>
              <a:gd name="connsiteY0" fmla="*/ 790877 h 3268319"/>
              <a:gd name="connsiteX1" fmla="*/ 3221 w 1754626"/>
              <a:gd name="connsiteY1" fmla="*/ 2990700 h 3268319"/>
              <a:gd name="connsiteX2" fmla="*/ 1457 w 1754626"/>
              <a:gd name="connsiteY2" fmla="*/ 2995379 h 3268319"/>
              <a:gd name="connsiteX3" fmla="*/ 46 w 1754626"/>
              <a:gd name="connsiteY3" fmla="*/ 790877 h 3268319"/>
              <a:gd name="connsiteX0" fmla="*/ 46 w 2123706"/>
              <a:gd name="connsiteY0" fmla="*/ 879416 h 3232836"/>
              <a:gd name="connsiteX1" fmla="*/ 504333 w 2123706"/>
              <a:gd name="connsiteY1" fmla="*/ 2702113 h 3232836"/>
              <a:gd name="connsiteX2" fmla="*/ 1457 w 2123706"/>
              <a:gd name="connsiteY2" fmla="*/ 3083918 h 3232836"/>
              <a:gd name="connsiteX3" fmla="*/ 46 w 2123706"/>
              <a:gd name="connsiteY3" fmla="*/ 879416 h 3232836"/>
              <a:gd name="connsiteX0" fmla="*/ 46 w 1814106"/>
              <a:gd name="connsiteY0" fmla="*/ 793104 h 3265479"/>
              <a:gd name="connsiteX1" fmla="*/ 85878 w 1814106"/>
              <a:gd name="connsiteY1" fmla="*/ 2982594 h 3265479"/>
              <a:gd name="connsiteX2" fmla="*/ 1457 w 1814106"/>
              <a:gd name="connsiteY2" fmla="*/ 2997606 h 3265479"/>
              <a:gd name="connsiteX3" fmla="*/ 46 w 1814106"/>
              <a:gd name="connsiteY3" fmla="*/ 793104 h 3265479"/>
              <a:gd name="connsiteX0" fmla="*/ 46 w 1814106"/>
              <a:gd name="connsiteY0" fmla="*/ 793104 h 3237717"/>
              <a:gd name="connsiteX1" fmla="*/ 85878 w 1814106"/>
              <a:gd name="connsiteY1" fmla="*/ 2982594 h 3237717"/>
              <a:gd name="connsiteX2" fmla="*/ 1457 w 1814106"/>
              <a:gd name="connsiteY2" fmla="*/ 2940456 h 3237717"/>
              <a:gd name="connsiteX3" fmla="*/ 46 w 1814106"/>
              <a:gd name="connsiteY3" fmla="*/ 793104 h 3237717"/>
              <a:gd name="connsiteX0" fmla="*/ 46 w 1766081"/>
              <a:gd name="connsiteY0" fmla="*/ 801401 h 3226052"/>
              <a:gd name="connsiteX1" fmla="*/ 19203 w 1766081"/>
              <a:gd name="connsiteY1" fmla="*/ 2952791 h 3226052"/>
              <a:gd name="connsiteX2" fmla="*/ 1457 w 1766081"/>
              <a:gd name="connsiteY2" fmla="*/ 2948753 h 3226052"/>
              <a:gd name="connsiteX3" fmla="*/ 46 w 1766081"/>
              <a:gd name="connsiteY3" fmla="*/ 801401 h 3226052"/>
              <a:gd name="connsiteX0" fmla="*/ 46 w 1825596"/>
              <a:gd name="connsiteY0" fmla="*/ 800705 h 3226963"/>
              <a:gd name="connsiteX1" fmla="*/ 101753 w 1825596"/>
              <a:gd name="connsiteY1" fmla="*/ 2955270 h 3226963"/>
              <a:gd name="connsiteX2" fmla="*/ 1457 w 1825596"/>
              <a:gd name="connsiteY2" fmla="*/ 2948057 h 3226963"/>
              <a:gd name="connsiteX3" fmla="*/ 46 w 1825596"/>
              <a:gd name="connsiteY3" fmla="*/ 800705 h 3226963"/>
              <a:gd name="connsiteX0" fmla="*/ 46 w 1825596"/>
              <a:gd name="connsiteY0" fmla="*/ 800705 h 3113418"/>
              <a:gd name="connsiteX1" fmla="*/ 101753 w 1825596"/>
              <a:gd name="connsiteY1" fmla="*/ 2955270 h 3113418"/>
              <a:gd name="connsiteX2" fmla="*/ 1457 w 1825596"/>
              <a:gd name="connsiteY2" fmla="*/ 2948057 h 3113418"/>
              <a:gd name="connsiteX3" fmla="*/ 46 w 1825596"/>
              <a:gd name="connsiteY3" fmla="*/ 800705 h 3113418"/>
              <a:gd name="connsiteX0" fmla="*/ 46 w 1825596"/>
              <a:gd name="connsiteY0" fmla="*/ 801401 h 3113272"/>
              <a:gd name="connsiteX1" fmla="*/ 101753 w 1825596"/>
              <a:gd name="connsiteY1" fmla="*/ 2952791 h 3113272"/>
              <a:gd name="connsiteX2" fmla="*/ 1457 w 1825596"/>
              <a:gd name="connsiteY2" fmla="*/ 2948753 h 3113272"/>
              <a:gd name="connsiteX3" fmla="*/ 46 w 1825596"/>
              <a:gd name="connsiteY3" fmla="*/ 801401 h 3113272"/>
              <a:gd name="connsiteX0" fmla="*/ 46 w 1825596"/>
              <a:gd name="connsiteY0" fmla="*/ 801401 h 2999004"/>
              <a:gd name="connsiteX1" fmla="*/ 101753 w 1825596"/>
              <a:gd name="connsiteY1" fmla="*/ 2952791 h 2999004"/>
              <a:gd name="connsiteX2" fmla="*/ 1457 w 1825596"/>
              <a:gd name="connsiteY2" fmla="*/ 2948753 h 2999004"/>
              <a:gd name="connsiteX3" fmla="*/ 46 w 1825596"/>
              <a:gd name="connsiteY3" fmla="*/ 801401 h 2999004"/>
              <a:gd name="connsiteX0" fmla="*/ 46 w 1825596"/>
              <a:gd name="connsiteY0" fmla="*/ 801401 h 3003762"/>
              <a:gd name="connsiteX1" fmla="*/ 101753 w 1825596"/>
              <a:gd name="connsiteY1" fmla="*/ 2952791 h 3003762"/>
              <a:gd name="connsiteX2" fmla="*/ 1457 w 1825596"/>
              <a:gd name="connsiteY2" fmla="*/ 2948753 h 3003762"/>
              <a:gd name="connsiteX3" fmla="*/ 46 w 1825596"/>
              <a:gd name="connsiteY3" fmla="*/ 801401 h 3003762"/>
              <a:gd name="connsiteX0" fmla="*/ 46 w 1751080"/>
              <a:gd name="connsiteY0" fmla="*/ 791490 h 2993851"/>
              <a:gd name="connsiteX1" fmla="*/ 101753 w 1751080"/>
              <a:gd name="connsiteY1" fmla="*/ 2942880 h 2993851"/>
              <a:gd name="connsiteX2" fmla="*/ 1457 w 1751080"/>
              <a:gd name="connsiteY2" fmla="*/ 2938842 h 2993851"/>
              <a:gd name="connsiteX3" fmla="*/ 46 w 1751080"/>
              <a:gd name="connsiteY3" fmla="*/ 791490 h 2993851"/>
              <a:gd name="connsiteX0" fmla="*/ 46 w 1754103"/>
              <a:gd name="connsiteY0" fmla="*/ 794198 h 2992817"/>
              <a:gd name="connsiteX1" fmla="*/ 105929 w 1754103"/>
              <a:gd name="connsiteY1" fmla="*/ 2933062 h 2992817"/>
              <a:gd name="connsiteX2" fmla="*/ 1457 w 1754103"/>
              <a:gd name="connsiteY2" fmla="*/ 2941550 h 2992817"/>
              <a:gd name="connsiteX3" fmla="*/ 46 w 1754103"/>
              <a:gd name="connsiteY3" fmla="*/ 794198 h 2992817"/>
              <a:gd name="connsiteX0" fmla="*/ 46 w 1754103"/>
              <a:gd name="connsiteY0" fmla="*/ 794198 h 3092665"/>
              <a:gd name="connsiteX1" fmla="*/ 105929 w 1754103"/>
              <a:gd name="connsiteY1" fmla="*/ 2933062 h 3092665"/>
              <a:gd name="connsiteX2" fmla="*/ 112493 w 1754103"/>
              <a:gd name="connsiteY2" fmla="*/ 2916042 h 3092665"/>
              <a:gd name="connsiteX3" fmla="*/ 1457 w 1754103"/>
              <a:gd name="connsiteY3" fmla="*/ 2941550 h 3092665"/>
              <a:gd name="connsiteX4" fmla="*/ 46 w 1754103"/>
              <a:gd name="connsiteY4" fmla="*/ 794198 h 3092665"/>
              <a:gd name="connsiteX0" fmla="*/ 46 w 1754103"/>
              <a:gd name="connsiteY0" fmla="*/ 794198 h 3137950"/>
              <a:gd name="connsiteX1" fmla="*/ 105929 w 1754103"/>
              <a:gd name="connsiteY1" fmla="*/ 2933062 h 3137950"/>
              <a:gd name="connsiteX2" fmla="*/ 49862 w 1754103"/>
              <a:gd name="connsiteY2" fmla="*/ 3062179 h 3137950"/>
              <a:gd name="connsiteX3" fmla="*/ 1457 w 1754103"/>
              <a:gd name="connsiteY3" fmla="*/ 2941550 h 3137950"/>
              <a:gd name="connsiteX4" fmla="*/ 46 w 1754103"/>
              <a:gd name="connsiteY4" fmla="*/ 794198 h 3137950"/>
              <a:gd name="connsiteX0" fmla="*/ 46 w 1947503"/>
              <a:gd name="connsiteY0" fmla="*/ 855901 h 3199653"/>
              <a:gd name="connsiteX1" fmla="*/ 368976 w 1947503"/>
              <a:gd name="connsiteY1" fmla="*/ 2727543 h 3199653"/>
              <a:gd name="connsiteX2" fmla="*/ 49862 w 1947503"/>
              <a:gd name="connsiteY2" fmla="*/ 3123882 h 3199653"/>
              <a:gd name="connsiteX3" fmla="*/ 1457 w 1947503"/>
              <a:gd name="connsiteY3" fmla="*/ 3003253 h 3199653"/>
              <a:gd name="connsiteX4" fmla="*/ 46 w 1947503"/>
              <a:gd name="connsiteY4" fmla="*/ 855901 h 3199653"/>
              <a:gd name="connsiteX0" fmla="*/ 46 w 1947503"/>
              <a:gd name="connsiteY0" fmla="*/ 855901 h 3157433"/>
              <a:gd name="connsiteX1" fmla="*/ 368976 w 1947503"/>
              <a:gd name="connsiteY1" fmla="*/ 2727543 h 3157433"/>
              <a:gd name="connsiteX2" fmla="*/ 125018 w 1947503"/>
              <a:gd name="connsiteY2" fmla="*/ 2990271 h 3157433"/>
              <a:gd name="connsiteX3" fmla="*/ 1457 w 1947503"/>
              <a:gd name="connsiteY3" fmla="*/ 3003253 h 3157433"/>
              <a:gd name="connsiteX4" fmla="*/ 46 w 1947503"/>
              <a:gd name="connsiteY4" fmla="*/ 855901 h 3157433"/>
              <a:gd name="connsiteX0" fmla="*/ 46 w 1947503"/>
              <a:gd name="connsiteY0" fmla="*/ 855901 h 3166659"/>
              <a:gd name="connsiteX1" fmla="*/ 368976 w 1947503"/>
              <a:gd name="connsiteY1" fmla="*/ 2727543 h 3166659"/>
              <a:gd name="connsiteX2" fmla="*/ 96443 w 1947503"/>
              <a:gd name="connsiteY2" fmla="*/ 3025196 h 3166659"/>
              <a:gd name="connsiteX3" fmla="*/ 1457 w 1947503"/>
              <a:gd name="connsiteY3" fmla="*/ 3003253 h 3166659"/>
              <a:gd name="connsiteX4" fmla="*/ 46 w 1947503"/>
              <a:gd name="connsiteY4" fmla="*/ 855901 h 3166659"/>
              <a:gd name="connsiteX0" fmla="*/ 46 w 1947503"/>
              <a:gd name="connsiteY0" fmla="*/ 855901 h 3154564"/>
              <a:gd name="connsiteX1" fmla="*/ 368976 w 1947503"/>
              <a:gd name="connsiteY1" fmla="*/ 2727543 h 3154564"/>
              <a:gd name="connsiteX2" fmla="*/ 96443 w 1947503"/>
              <a:gd name="connsiteY2" fmla="*/ 3025196 h 3154564"/>
              <a:gd name="connsiteX3" fmla="*/ 1457 w 1947503"/>
              <a:gd name="connsiteY3" fmla="*/ 3003253 h 3154564"/>
              <a:gd name="connsiteX4" fmla="*/ 46 w 1947503"/>
              <a:gd name="connsiteY4" fmla="*/ 855901 h 3154564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63511"/>
              <a:gd name="connsiteX1" fmla="*/ 368976 w 1947503"/>
              <a:gd name="connsiteY1" fmla="*/ 2727543 h 3063511"/>
              <a:gd name="connsiteX2" fmla="*/ 96443 w 1947503"/>
              <a:gd name="connsiteY2" fmla="*/ 3025196 h 3063511"/>
              <a:gd name="connsiteX3" fmla="*/ 1457 w 1947503"/>
              <a:gd name="connsiteY3" fmla="*/ 3003253 h 3063511"/>
              <a:gd name="connsiteX4" fmla="*/ 46 w 1947503"/>
              <a:gd name="connsiteY4" fmla="*/ 855901 h 3063511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748161"/>
              <a:gd name="connsiteY0" fmla="*/ 802155 h 3002262"/>
              <a:gd name="connsiteX1" fmla="*/ 368976 w 1748161"/>
              <a:gd name="connsiteY1" fmla="*/ 2673797 h 3002262"/>
              <a:gd name="connsiteX2" fmla="*/ 96443 w 1748161"/>
              <a:gd name="connsiteY2" fmla="*/ 2971450 h 3002262"/>
              <a:gd name="connsiteX3" fmla="*/ 1457 w 1748161"/>
              <a:gd name="connsiteY3" fmla="*/ 2949507 h 3002262"/>
              <a:gd name="connsiteX4" fmla="*/ 46 w 1748161"/>
              <a:gd name="connsiteY4" fmla="*/ 802155 h 3002262"/>
              <a:gd name="connsiteX0" fmla="*/ 46 w 1748161"/>
              <a:gd name="connsiteY0" fmla="*/ 802155 h 3002262"/>
              <a:gd name="connsiteX1" fmla="*/ 368976 w 1748161"/>
              <a:gd name="connsiteY1" fmla="*/ 2673797 h 3002262"/>
              <a:gd name="connsiteX2" fmla="*/ 96443 w 1748161"/>
              <a:gd name="connsiteY2" fmla="*/ 2971450 h 3002262"/>
              <a:gd name="connsiteX3" fmla="*/ 1457 w 1748161"/>
              <a:gd name="connsiteY3" fmla="*/ 2949507 h 3002262"/>
              <a:gd name="connsiteX4" fmla="*/ 46 w 1748161"/>
              <a:gd name="connsiteY4" fmla="*/ 802155 h 3002262"/>
              <a:gd name="connsiteX0" fmla="*/ 46 w 1752318"/>
              <a:gd name="connsiteY0" fmla="*/ 788682 h 2988789"/>
              <a:gd name="connsiteX1" fmla="*/ 368976 w 1752318"/>
              <a:gd name="connsiteY1" fmla="*/ 2660324 h 2988789"/>
              <a:gd name="connsiteX2" fmla="*/ 96443 w 1752318"/>
              <a:gd name="connsiteY2" fmla="*/ 2957977 h 2988789"/>
              <a:gd name="connsiteX3" fmla="*/ 1457 w 1752318"/>
              <a:gd name="connsiteY3" fmla="*/ 2936034 h 2988789"/>
              <a:gd name="connsiteX4" fmla="*/ 46 w 1752318"/>
              <a:gd name="connsiteY4" fmla="*/ 788682 h 2988789"/>
              <a:gd name="connsiteX0" fmla="*/ 46 w 1749822"/>
              <a:gd name="connsiteY0" fmla="*/ 793733 h 2993840"/>
              <a:gd name="connsiteX1" fmla="*/ 368976 w 1749822"/>
              <a:gd name="connsiteY1" fmla="*/ 2665375 h 2993840"/>
              <a:gd name="connsiteX2" fmla="*/ 96443 w 1749822"/>
              <a:gd name="connsiteY2" fmla="*/ 2963028 h 2993840"/>
              <a:gd name="connsiteX3" fmla="*/ 1457 w 1749822"/>
              <a:gd name="connsiteY3" fmla="*/ 2941085 h 2993840"/>
              <a:gd name="connsiteX4" fmla="*/ 46 w 1749822"/>
              <a:gd name="connsiteY4" fmla="*/ 793733 h 2993840"/>
              <a:gd name="connsiteX0" fmla="*/ 46 w 1749822"/>
              <a:gd name="connsiteY0" fmla="*/ 793733 h 2993840"/>
              <a:gd name="connsiteX1" fmla="*/ 368976 w 1749822"/>
              <a:gd name="connsiteY1" fmla="*/ 2665375 h 2993840"/>
              <a:gd name="connsiteX2" fmla="*/ 96443 w 1749822"/>
              <a:gd name="connsiteY2" fmla="*/ 2963028 h 2993840"/>
              <a:gd name="connsiteX3" fmla="*/ 1457 w 1749822"/>
              <a:gd name="connsiteY3" fmla="*/ 2941085 h 2993840"/>
              <a:gd name="connsiteX4" fmla="*/ 46 w 1749822"/>
              <a:gd name="connsiteY4" fmla="*/ 793733 h 2993840"/>
              <a:gd name="connsiteX0" fmla="*/ 46 w 404090"/>
              <a:gd name="connsiteY0" fmla="*/ 516228 h 2716335"/>
              <a:gd name="connsiteX1" fmla="*/ 368976 w 404090"/>
              <a:gd name="connsiteY1" fmla="*/ 2387870 h 2716335"/>
              <a:gd name="connsiteX2" fmla="*/ 96443 w 404090"/>
              <a:gd name="connsiteY2" fmla="*/ 2685523 h 2716335"/>
              <a:gd name="connsiteX3" fmla="*/ 1457 w 404090"/>
              <a:gd name="connsiteY3" fmla="*/ 2663580 h 2716335"/>
              <a:gd name="connsiteX4" fmla="*/ 46 w 404090"/>
              <a:gd name="connsiteY4" fmla="*/ 516228 h 2716335"/>
              <a:gd name="connsiteX0" fmla="*/ 777284 w 2211803"/>
              <a:gd name="connsiteY0" fmla="*/ 744448 h 3507127"/>
              <a:gd name="connsiteX1" fmla="*/ 1146214 w 2211803"/>
              <a:gd name="connsiteY1" fmla="*/ 2616090 h 3507127"/>
              <a:gd name="connsiteX2" fmla="*/ 873681 w 2211803"/>
              <a:gd name="connsiteY2" fmla="*/ 2913743 h 3507127"/>
              <a:gd name="connsiteX3" fmla="*/ 778695 w 2211803"/>
              <a:gd name="connsiteY3" fmla="*/ 2891800 h 3507127"/>
              <a:gd name="connsiteX4" fmla="*/ 777284 w 2211803"/>
              <a:gd name="connsiteY4" fmla="*/ 744448 h 3507127"/>
              <a:gd name="connsiteX0" fmla="*/ 1076399 w 2811144"/>
              <a:gd name="connsiteY0" fmla="*/ 804551 h 3708291"/>
              <a:gd name="connsiteX1" fmla="*/ 1445329 w 2811144"/>
              <a:gd name="connsiteY1" fmla="*/ 2676193 h 3708291"/>
              <a:gd name="connsiteX2" fmla="*/ 1172796 w 2811144"/>
              <a:gd name="connsiteY2" fmla="*/ 2973846 h 3708291"/>
              <a:gd name="connsiteX3" fmla="*/ 1077810 w 2811144"/>
              <a:gd name="connsiteY3" fmla="*/ 2951903 h 3708291"/>
              <a:gd name="connsiteX4" fmla="*/ 1076399 w 2811144"/>
              <a:gd name="connsiteY4" fmla="*/ 804551 h 3708291"/>
              <a:gd name="connsiteX0" fmla="*/ 47 w 399202"/>
              <a:gd name="connsiteY0" fmla="*/ 512681 h 2712788"/>
              <a:gd name="connsiteX1" fmla="*/ 368977 w 399202"/>
              <a:gd name="connsiteY1" fmla="*/ 2384323 h 2712788"/>
              <a:gd name="connsiteX2" fmla="*/ 96444 w 399202"/>
              <a:gd name="connsiteY2" fmla="*/ 2681976 h 2712788"/>
              <a:gd name="connsiteX3" fmla="*/ 1458 w 399202"/>
              <a:gd name="connsiteY3" fmla="*/ 2660033 h 2712788"/>
              <a:gd name="connsiteX4" fmla="*/ 47 w 399202"/>
              <a:gd name="connsiteY4" fmla="*/ 512681 h 2712788"/>
              <a:gd name="connsiteX0" fmla="*/ 47 w 544902"/>
              <a:gd name="connsiteY0" fmla="*/ 553542 h 2753649"/>
              <a:gd name="connsiteX1" fmla="*/ 368977 w 544902"/>
              <a:gd name="connsiteY1" fmla="*/ 2425184 h 2753649"/>
              <a:gd name="connsiteX2" fmla="*/ 96444 w 544902"/>
              <a:gd name="connsiteY2" fmla="*/ 2722837 h 2753649"/>
              <a:gd name="connsiteX3" fmla="*/ 1458 w 544902"/>
              <a:gd name="connsiteY3" fmla="*/ 2700894 h 2753649"/>
              <a:gd name="connsiteX4" fmla="*/ 47 w 544902"/>
              <a:gd name="connsiteY4" fmla="*/ 553542 h 2753649"/>
              <a:gd name="connsiteX0" fmla="*/ 736083 w 2129194"/>
              <a:gd name="connsiteY0" fmla="*/ 737259 h 3482022"/>
              <a:gd name="connsiteX1" fmla="*/ 1105013 w 2129194"/>
              <a:gd name="connsiteY1" fmla="*/ 2608901 h 3482022"/>
              <a:gd name="connsiteX2" fmla="*/ 832480 w 2129194"/>
              <a:gd name="connsiteY2" fmla="*/ 2906554 h 3482022"/>
              <a:gd name="connsiteX3" fmla="*/ 737494 w 2129194"/>
              <a:gd name="connsiteY3" fmla="*/ 2884611 h 3482022"/>
              <a:gd name="connsiteX4" fmla="*/ 736083 w 2129194"/>
              <a:gd name="connsiteY4" fmla="*/ 737259 h 3482022"/>
              <a:gd name="connsiteX0" fmla="*/ 47 w 511420"/>
              <a:gd name="connsiteY0" fmla="*/ 531224 h 2731331"/>
              <a:gd name="connsiteX1" fmla="*/ 368977 w 511420"/>
              <a:gd name="connsiteY1" fmla="*/ 2402866 h 2731331"/>
              <a:gd name="connsiteX2" fmla="*/ 96444 w 511420"/>
              <a:gd name="connsiteY2" fmla="*/ 2700519 h 2731331"/>
              <a:gd name="connsiteX3" fmla="*/ 1458 w 511420"/>
              <a:gd name="connsiteY3" fmla="*/ 2678576 h 2731331"/>
              <a:gd name="connsiteX4" fmla="*/ 47 w 511420"/>
              <a:gd name="connsiteY4" fmla="*/ 531224 h 2731331"/>
              <a:gd name="connsiteX0" fmla="*/ 47 w 730958"/>
              <a:gd name="connsiteY0" fmla="*/ 555697 h 2755804"/>
              <a:gd name="connsiteX1" fmla="*/ 631066 w 730958"/>
              <a:gd name="connsiteY1" fmla="*/ 2217668 h 2755804"/>
              <a:gd name="connsiteX2" fmla="*/ 96444 w 730958"/>
              <a:gd name="connsiteY2" fmla="*/ 2724992 h 2755804"/>
              <a:gd name="connsiteX3" fmla="*/ 1458 w 730958"/>
              <a:gd name="connsiteY3" fmla="*/ 2703049 h 2755804"/>
              <a:gd name="connsiteX4" fmla="*/ 47 w 730958"/>
              <a:gd name="connsiteY4" fmla="*/ 555697 h 2755804"/>
              <a:gd name="connsiteX0" fmla="*/ 47 w 928515"/>
              <a:gd name="connsiteY0" fmla="*/ 653539 h 2950202"/>
              <a:gd name="connsiteX1" fmla="*/ 631066 w 928515"/>
              <a:gd name="connsiteY1" fmla="*/ 2315510 h 2950202"/>
              <a:gd name="connsiteX2" fmla="*/ 96444 w 928515"/>
              <a:gd name="connsiteY2" fmla="*/ 2822834 h 2950202"/>
              <a:gd name="connsiteX3" fmla="*/ 1458 w 928515"/>
              <a:gd name="connsiteY3" fmla="*/ 2800891 h 2950202"/>
              <a:gd name="connsiteX4" fmla="*/ 47 w 928515"/>
              <a:gd name="connsiteY4" fmla="*/ 653539 h 2950202"/>
              <a:gd name="connsiteX0" fmla="*/ 705076 w 2447495"/>
              <a:gd name="connsiteY0" fmla="*/ 796906 h 3438718"/>
              <a:gd name="connsiteX1" fmla="*/ 1336095 w 2447495"/>
              <a:gd name="connsiteY1" fmla="*/ 2458877 h 3438718"/>
              <a:gd name="connsiteX2" fmla="*/ 801473 w 2447495"/>
              <a:gd name="connsiteY2" fmla="*/ 2966201 h 3438718"/>
              <a:gd name="connsiteX3" fmla="*/ 706487 w 2447495"/>
              <a:gd name="connsiteY3" fmla="*/ 2944258 h 3438718"/>
              <a:gd name="connsiteX4" fmla="*/ 705076 w 2447495"/>
              <a:gd name="connsiteY4" fmla="*/ 796906 h 3438718"/>
              <a:gd name="connsiteX0" fmla="*/ 750894 w 2539724"/>
              <a:gd name="connsiteY0" fmla="*/ 791191 h 3420519"/>
              <a:gd name="connsiteX1" fmla="*/ 1381913 w 2539724"/>
              <a:gd name="connsiteY1" fmla="*/ 2453162 h 3420519"/>
              <a:gd name="connsiteX2" fmla="*/ 847291 w 2539724"/>
              <a:gd name="connsiteY2" fmla="*/ 2960486 h 3420519"/>
              <a:gd name="connsiteX3" fmla="*/ 752305 w 2539724"/>
              <a:gd name="connsiteY3" fmla="*/ 2938543 h 3420519"/>
              <a:gd name="connsiteX4" fmla="*/ 750894 w 2539724"/>
              <a:gd name="connsiteY4" fmla="*/ 791191 h 3420519"/>
              <a:gd name="connsiteX0" fmla="*/ 738161 w 2514098"/>
              <a:gd name="connsiteY0" fmla="*/ 798057 h 3442368"/>
              <a:gd name="connsiteX1" fmla="*/ 1369180 w 2514098"/>
              <a:gd name="connsiteY1" fmla="*/ 2460028 h 3442368"/>
              <a:gd name="connsiteX2" fmla="*/ 834558 w 2514098"/>
              <a:gd name="connsiteY2" fmla="*/ 2967352 h 3442368"/>
              <a:gd name="connsiteX3" fmla="*/ 739572 w 2514098"/>
              <a:gd name="connsiteY3" fmla="*/ 2945409 h 3442368"/>
              <a:gd name="connsiteX4" fmla="*/ 738161 w 2514098"/>
              <a:gd name="connsiteY4" fmla="*/ 798057 h 3442368"/>
              <a:gd name="connsiteX0" fmla="*/ 722887 w 2483353"/>
              <a:gd name="connsiteY0" fmla="*/ 798057 h 3442368"/>
              <a:gd name="connsiteX1" fmla="*/ 1353906 w 2483353"/>
              <a:gd name="connsiteY1" fmla="*/ 2460028 h 3442368"/>
              <a:gd name="connsiteX2" fmla="*/ 819284 w 2483353"/>
              <a:gd name="connsiteY2" fmla="*/ 2967352 h 3442368"/>
              <a:gd name="connsiteX3" fmla="*/ 724298 w 2483353"/>
              <a:gd name="connsiteY3" fmla="*/ 2945409 h 3442368"/>
              <a:gd name="connsiteX4" fmla="*/ 722887 w 2483353"/>
              <a:gd name="connsiteY4" fmla="*/ 798057 h 3442368"/>
              <a:gd name="connsiteX0" fmla="*/ 395918 w 2572118"/>
              <a:gd name="connsiteY0" fmla="*/ 953184 h 3278390"/>
              <a:gd name="connsiteX1" fmla="*/ 1551115 w 2572118"/>
              <a:gd name="connsiteY1" fmla="*/ 2026911 h 3278390"/>
              <a:gd name="connsiteX2" fmla="*/ 492315 w 2572118"/>
              <a:gd name="connsiteY2" fmla="*/ 3122479 h 3278390"/>
              <a:gd name="connsiteX3" fmla="*/ 397329 w 2572118"/>
              <a:gd name="connsiteY3" fmla="*/ 3100536 h 3278390"/>
              <a:gd name="connsiteX4" fmla="*/ 395918 w 2572118"/>
              <a:gd name="connsiteY4" fmla="*/ 953184 h 3278390"/>
              <a:gd name="connsiteX0" fmla="*/ 30230 w 1788185"/>
              <a:gd name="connsiteY0" fmla="*/ 831274 h 3031381"/>
              <a:gd name="connsiteX1" fmla="*/ 1185427 w 1788185"/>
              <a:gd name="connsiteY1" fmla="*/ 1905001 h 3031381"/>
              <a:gd name="connsiteX2" fmla="*/ 126627 w 1788185"/>
              <a:gd name="connsiteY2" fmla="*/ 3000569 h 3031381"/>
              <a:gd name="connsiteX3" fmla="*/ 31641 w 1788185"/>
              <a:gd name="connsiteY3" fmla="*/ 2978626 h 3031381"/>
              <a:gd name="connsiteX4" fmla="*/ 30230 w 1788185"/>
              <a:gd name="connsiteY4" fmla="*/ 831274 h 3031381"/>
              <a:gd name="connsiteX0" fmla="*/ 47 w 1256820"/>
              <a:gd name="connsiteY0" fmla="*/ 681223 h 2881330"/>
              <a:gd name="connsiteX1" fmla="*/ 1155244 w 1256820"/>
              <a:gd name="connsiteY1" fmla="*/ 1754950 h 2881330"/>
              <a:gd name="connsiteX2" fmla="*/ 96444 w 1256820"/>
              <a:gd name="connsiteY2" fmla="*/ 2850518 h 2881330"/>
              <a:gd name="connsiteX3" fmla="*/ 1458 w 1256820"/>
              <a:gd name="connsiteY3" fmla="*/ 2828575 h 2881330"/>
              <a:gd name="connsiteX4" fmla="*/ 47 w 1256820"/>
              <a:gd name="connsiteY4" fmla="*/ 681223 h 2881330"/>
              <a:gd name="connsiteX0" fmla="*/ 47 w 1256820"/>
              <a:gd name="connsiteY0" fmla="*/ 681223 h 2881330"/>
              <a:gd name="connsiteX1" fmla="*/ 1155244 w 1256820"/>
              <a:gd name="connsiteY1" fmla="*/ 1754950 h 2881330"/>
              <a:gd name="connsiteX2" fmla="*/ 96444 w 1256820"/>
              <a:gd name="connsiteY2" fmla="*/ 2850518 h 2881330"/>
              <a:gd name="connsiteX3" fmla="*/ 1458 w 1256820"/>
              <a:gd name="connsiteY3" fmla="*/ 2828575 h 2881330"/>
              <a:gd name="connsiteX4" fmla="*/ 47 w 1256820"/>
              <a:gd name="connsiteY4" fmla="*/ 681223 h 2881330"/>
              <a:gd name="connsiteX0" fmla="*/ 47 w 1760471"/>
              <a:gd name="connsiteY0" fmla="*/ 813967 h 3014074"/>
              <a:gd name="connsiteX1" fmla="*/ 1155244 w 1760471"/>
              <a:gd name="connsiteY1" fmla="*/ 1887694 h 3014074"/>
              <a:gd name="connsiteX2" fmla="*/ 96444 w 1760471"/>
              <a:gd name="connsiteY2" fmla="*/ 2983262 h 3014074"/>
              <a:gd name="connsiteX3" fmla="*/ 1458 w 1760471"/>
              <a:gd name="connsiteY3" fmla="*/ 2961319 h 3014074"/>
              <a:gd name="connsiteX4" fmla="*/ 47 w 1760471"/>
              <a:gd name="connsiteY4" fmla="*/ 813967 h 3014074"/>
              <a:gd name="connsiteX0" fmla="*/ 47 w 1675680"/>
              <a:gd name="connsiteY0" fmla="*/ 865670 h 3065777"/>
              <a:gd name="connsiteX1" fmla="*/ 1155244 w 1675680"/>
              <a:gd name="connsiteY1" fmla="*/ 1939397 h 3065777"/>
              <a:gd name="connsiteX2" fmla="*/ 96444 w 1675680"/>
              <a:gd name="connsiteY2" fmla="*/ 3034965 h 3065777"/>
              <a:gd name="connsiteX3" fmla="*/ 1458 w 1675680"/>
              <a:gd name="connsiteY3" fmla="*/ 3013022 h 3065777"/>
              <a:gd name="connsiteX4" fmla="*/ 47 w 1675680"/>
              <a:gd name="connsiteY4" fmla="*/ 865670 h 3065777"/>
              <a:gd name="connsiteX0" fmla="*/ 47 w 1754273"/>
              <a:gd name="connsiteY0" fmla="*/ 834667 h 3034774"/>
              <a:gd name="connsiteX1" fmla="*/ 1155244 w 1754273"/>
              <a:gd name="connsiteY1" fmla="*/ 1908394 h 3034774"/>
              <a:gd name="connsiteX2" fmla="*/ 96444 w 1754273"/>
              <a:gd name="connsiteY2" fmla="*/ 3003962 h 3034774"/>
              <a:gd name="connsiteX3" fmla="*/ 1458 w 1754273"/>
              <a:gd name="connsiteY3" fmla="*/ 2982019 h 3034774"/>
              <a:gd name="connsiteX4" fmla="*/ 47 w 1754273"/>
              <a:gd name="connsiteY4" fmla="*/ 834667 h 3034774"/>
              <a:gd name="connsiteX0" fmla="*/ 47 w 1712428"/>
              <a:gd name="connsiteY0" fmla="*/ 860399 h 3060506"/>
              <a:gd name="connsiteX1" fmla="*/ 1155244 w 1712428"/>
              <a:gd name="connsiteY1" fmla="*/ 1934126 h 3060506"/>
              <a:gd name="connsiteX2" fmla="*/ 96444 w 1712428"/>
              <a:gd name="connsiteY2" fmla="*/ 3029694 h 3060506"/>
              <a:gd name="connsiteX3" fmla="*/ 1458 w 1712428"/>
              <a:gd name="connsiteY3" fmla="*/ 3007751 h 3060506"/>
              <a:gd name="connsiteX4" fmla="*/ 47 w 1712428"/>
              <a:gd name="connsiteY4" fmla="*/ 860399 h 3060506"/>
              <a:gd name="connsiteX0" fmla="*/ 47 w 1749340"/>
              <a:gd name="connsiteY0" fmla="*/ 813600 h 3013707"/>
              <a:gd name="connsiteX1" fmla="*/ 1155244 w 1749340"/>
              <a:gd name="connsiteY1" fmla="*/ 1887327 h 3013707"/>
              <a:gd name="connsiteX2" fmla="*/ 96444 w 1749340"/>
              <a:gd name="connsiteY2" fmla="*/ 2982895 h 3013707"/>
              <a:gd name="connsiteX3" fmla="*/ 1458 w 1749340"/>
              <a:gd name="connsiteY3" fmla="*/ 2960952 h 3013707"/>
              <a:gd name="connsiteX4" fmla="*/ 47 w 1749340"/>
              <a:gd name="connsiteY4" fmla="*/ 813600 h 3013707"/>
              <a:gd name="connsiteX0" fmla="*/ 47 w 2123694"/>
              <a:gd name="connsiteY0" fmla="*/ 939789 h 3139896"/>
              <a:gd name="connsiteX1" fmla="*/ 1592060 w 2123694"/>
              <a:gd name="connsiteY1" fmla="*/ 1553404 h 3139896"/>
              <a:gd name="connsiteX2" fmla="*/ 96444 w 2123694"/>
              <a:gd name="connsiteY2" fmla="*/ 3109084 h 3139896"/>
              <a:gd name="connsiteX3" fmla="*/ 1458 w 2123694"/>
              <a:gd name="connsiteY3" fmla="*/ 3087141 h 3139896"/>
              <a:gd name="connsiteX4" fmla="*/ 47 w 2123694"/>
              <a:gd name="connsiteY4" fmla="*/ 939789 h 3139896"/>
              <a:gd name="connsiteX0" fmla="*/ 47 w 1761213"/>
              <a:gd name="connsiteY0" fmla="*/ 891556 h 3091663"/>
              <a:gd name="connsiteX1" fmla="*/ 1592060 w 1761213"/>
              <a:gd name="connsiteY1" fmla="*/ 1505171 h 3091663"/>
              <a:gd name="connsiteX2" fmla="*/ 96444 w 1761213"/>
              <a:gd name="connsiteY2" fmla="*/ 3060851 h 3091663"/>
              <a:gd name="connsiteX3" fmla="*/ 1458 w 1761213"/>
              <a:gd name="connsiteY3" fmla="*/ 3038908 h 3091663"/>
              <a:gd name="connsiteX4" fmla="*/ 47 w 1761213"/>
              <a:gd name="connsiteY4" fmla="*/ 891556 h 3091663"/>
              <a:gd name="connsiteX0" fmla="*/ 47 w 1765403"/>
              <a:gd name="connsiteY0" fmla="*/ 808980 h 3009087"/>
              <a:gd name="connsiteX1" fmla="*/ 1592060 w 1765403"/>
              <a:gd name="connsiteY1" fmla="*/ 1422595 h 3009087"/>
              <a:gd name="connsiteX2" fmla="*/ 96444 w 1765403"/>
              <a:gd name="connsiteY2" fmla="*/ 2978275 h 3009087"/>
              <a:gd name="connsiteX3" fmla="*/ 1458 w 1765403"/>
              <a:gd name="connsiteY3" fmla="*/ 2956332 h 3009087"/>
              <a:gd name="connsiteX4" fmla="*/ 47 w 1765403"/>
              <a:gd name="connsiteY4" fmla="*/ 808980 h 3009087"/>
              <a:gd name="connsiteX0" fmla="*/ 47 w 1814671"/>
              <a:gd name="connsiteY0" fmla="*/ 781904 h 2982011"/>
              <a:gd name="connsiteX1" fmla="*/ 1592060 w 1814671"/>
              <a:gd name="connsiteY1" fmla="*/ 1395519 h 2982011"/>
              <a:gd name="connsiteX2" fmla="*/ 96444 w 1814671"/>
              <a:gd name="connsiteY2" fmla="*/ 2951199 h 2982011"/>
              <a:gd name="connsiteX3" fmla="*/ 1458 w 1814671"/>
              <a:gd name="connsiteY3" fmla="*/ 2929256 h 2982011"/>
              <a:gd name="connsiteX4" fmla="*/ 47 w 1814671"/>
              <a:gd name="connsiteY4" fmla="*/ 781904 h 2982011"/>
              <a:gd name="connsiteX0" fmla="*/ 47 w 1669744"/>
              <a:gd name="connsiteY0" fmla="*/ 678598 h 2878705"/>
              <a:gd name="connsiteX1" fmla="*/ 1304433 w 1669744"/>
              <a:gd name="connsiteY1" fmla="*/ 20356 h 2878705"/>
              <a:gd name="connsiteX2" fmla="*/ 1592060 w 1669744"/>
              <a:gd name="connsiteY2" fmla="*/ 1292213 h 2878705"/>
              <a:gd name="connsiteX3" fmla="*/ 96444 w 1669744"/>
              <a:gd name="connsiteY3" fmla="*/ 2847893 h 2878705"/>
              <a:gd name="connsiteX4" fmla="*/ 1458 w 1669744"/>
              <a:gd name="connsiteY4" fmla="*/ 2825950 h 2878705"/>
              <a:gd name="connsiteX5" fmla="*/ 47 w 1669744"/>
              <a:gd name="connsiteY5" fmla="*/ 678598 h 2878705"/>
              <a:gd name="connsiteX0" fmla="*/ 47 w 1669744"/>
              <a:gd name="connsiteY0" fmla="*/ 797492 h 2997599"/>
              <a:gd name="connsiteX1" fmla="*/ 1304433 w 1669744"/>
              <a:gd name="connsiteY1" fmla="*/ 139250 h 2997599"/>
              <a:gd name="connsiteX2" fmla="*/ 1592060 w 1669744"/>
              <a:gd name="connsiteY2" fmla="*/ 1411107 h 2997599"/>
              <a:gd name="connsiteX3" fmla="*/ 96444 w 1669744"/>
              <a:gd name="connsiteY3" fmla="*/ 2966787 h 2997599"/>
              <a:gd name="connsiteX4" fmla="*/ 1458 w 1669744"/>
              <a:gd name="connsiteY4" fmla="*/ 2944844 h 2997599"/>
              <a:gd name="connsiteX5" fmla="*/ 47 w 1669744"/>
              <a:gd name="connsiteY5" fmla="*/ 797492 h 2997599"/>
              <a:gd name="connsiteX0" fmla="*/ 47 w 1669744"/>
              <a:gd name="connsiteY0" fmla="*/ 796759 h 2996866"/>
              <a:gd name="connsiteX1" fmla="*/ 1304433 w 1669744"/>
              <a:gd name="connsiteY1" fmla="*/ 138517 h 2996866"/>
              <a:gd name="connsiteX2" fmla="*/ 1592060 w 1669744"/>
              <a:gd name="connsiteY2" fmla="*/ 1410374 h 2996866"/>
              <a:gd name="connsiteX3" fmla="*/ 96444 w 1669744"/>
              <a:gd name="connsiteY3" fmla="*/ 2966054 h 2996866"/>
              <a:gd name="connsiteX4" fmla="*/ 1458 w 1669744"/>
              <a:gd name="connsiteY4" fmla="*/ 2944111 h 2996866"/>
              <a:gd name="connsiteX5" fmla="*/ 47 w 1669744"/>
              <a:gd name="connsiteY5" fmla="*/ 796759 h 2996866"/>
              <a:gd name="connsiteX0" fmla="*/ 47 w 1674254"/>
              <a:gd name="connsiteY0" fmla="*/ 816902 h 3017009"/>
              <a:gd name="connsiteX1" fmla="*/ 1321905 w 1674254"/>
              <a:gd name="connsiteY1" fmla="*/ 135363 h 3017009"/>
              <a:gd name="connsiteX2" fmla="*/ 1592060 w 1674254"/>
              <a:gd name="connsiteY2" fmla="*/ 1430517 h 3017009"/>
              <a:gd name="connsiteX3" fmla="*/ 96444 w 1674254"/>
              <a:gd name="connsiteY3" fmla="*/ 2986197 h 3017009"/>
              <a:gd name="connsiteX4" fmla="*/ 1458 w 1674254"/>
              <a:gd name="connsiteY4" fmla="*/ 2964254 h 3017009"/>
              <a:gd name="connsiteX5" fmla="*/ 47 w 1674254"/>
              <a:gd name="connsiteY5" fmla="*/ 816902 h 3017009"/>
              <a:gd name="connsiteX0" fmla="*/ 47 w 1674254"/>
              <a:gd name="connsiteY0" fmla="*/ 795700 h 2995807"/>
              <a:gd name="connsiteX1" fmla="*/ 1321905 w 1674254"/>
              <a:gd name="connsiteY1" fmla="*/ 114161 h 2995807"/>
              <a:gd name="connsiteX2" fmla="*/ 1592060 w 1674254"/>
              <a:gd name="connsiteY2" fmla="*/ 1409315 h 2995807"/>
              <a:gd name="connsiteX3" fmla="*/ 96444 w 1674254"/>
              <a:gd name="connsiteY3" fmla="*/ 2964995 h 2995807"/>
              <a:gd name="connsiteX4" fmla="*/ 1458 w 1674254"/>
              <a:gd name="connsiteY4" fmla="*/ 2943052 h 2995807"/>
              <a:gd name="connsiteX5" fmla="*/ 47 w 1674254"/>
              <a:gd name="connsiteY5" fmla="*/ 795700 h 2995807"/>
              <a:gd name="connsiteX0" fmla="*/ 47 w 1689928"/>
              <a:gd name="connsiteY0" fmla="*/ 795700 h 2995807"/>
              <a:gd name="connsiteX1" fmla="*/ 1321905 w 1689928"/>
              <a:gd name="connsiteY1" fmla="*/ 114161 h 2995807"/>
              <a:gd name="connsiteX2" fmla="*/ 1592060 w 1689928"/>
              <a:gd name="connsiteY2" fmla="*/ 1409315 h 2995807"/>
              <a:gd name="connsiteX3" fmla="*/ 96444 w 1689928"/>
              <a:gd name="connsiteY3" fmla="*/ 2964995 h 2995807"/>
              <a:gd name="connsiteX4" fmla="*/ 1458 w 1689928"/>
              <a:gd name="connsiteY4" fmla="*/ 2943052 h 2995807"/>
              <a:gd name="connsiteX5" fmla="*/ 47 w 1689928"/>
              <a:gd name="connsiteY5" fmla="*/ 795700 h 2995807"/>
              <a:gd name="connsiteX0" fmla="*/ 47 w 1746860"/>
              <a:gd name="connsiteY0" fmla="*/ 795700 h 2995807"/>
              <a:gd name="connsiteX1" fmla="*/ 1321905 w 1746860"/>
              <a:gd name="connsiteY1" fmla="*/ 114161 h 2995807"/>
              <a:gd name="connsiteX2" fmla="*/ 1592060 w 1746860"/>
              <a:gd name="connsiteY2" fmla="*/ 1409315 h 2995807"/>
              <a:gd name="connsiteX3" fmla="*/ 96444 w 1746860"/>
              <a:gd name="connsiteY3" fmla="*/ 2964995 h 2995807"/>
              <a:gd name="connsiteX4" fmla="*/ 1458 w 1746860"/>
              <a:gd name="connsiteY4" fmla="*/ 2943052 h 2995807"/>
              <a:gd name="connsiteX5" fmla="*/ 47 w 1746860"/>
              <a:gd name="connsiteY5" fmla="*/ 795700 h 2995807"/>
              <a:gd name="connsiteX0" fmla="*/ 47 w 1817082"/>
              <a:gd name="connsiteY0" fmla="*/ 795700 h 2995807"/>
              <a:gd name="connsiteX1" fmla="*/ 1321905 w 1817082"/>
              <a:gd name="connsiteY1" fmla="*/ 114161 h 2995807"/>
              <a:gd name="connsiteX2" fmla="*/ 1592060 w 1817082"/>
              <a:gd name="connsiteY2" fmla="*/ 1409315 h 2995807"/>
              <a:gd name="connsiteX3" fmla="*/ 96444 w 1817082"/>
              <a:gd name="connsiteY3" fmla="*/ 2964995 h 2995807"/>
              <a:gd name="connsiteX4" fmla="*/ 1458 w 1817082"/>
              <a:gd name="connsiteY4" fmla="*/ 2943052 h 2995807"/>
              <a:gd name="connsiteX5" fmla="*/ 47 w 1817082"/>
              <a:gd name="connsiteY5" fmla="*/ 795700 h 2995807"/>
              <a:gd name="connsiteX0" fmla="*/ 47 w 1765318"/>
              <a:gd name="connsiteY0" fmla="*/ 795700 h 2995807"/>
              <a:gd name="connsiteX1" fmla="*/ 1321905 w 1765318"/>
              <a:gd name="connsiteY1" fmla="*/ 114161 h 2995807"/>
              <a:gd name="connsiteX2" fmla="*/ 1592060 w 1765318"/>
              <a:gd name="connsiteY2" fmla="*/ 1409315 h 2995807"/>
              <a:gd name="connsiteX3" fmla="*/ 96444 w 1765318"/>
              <a:gd name="connsiteY3" fmla="*/ 2964995 h 2995807"/>
              <a:gd name="connsiteX4" fmla="*/ 1458 w 1765318"/>
              <a:gd name="connsiteY4" fmla="*/ 2943052 h 2995807"/>
              <a:gd name="connsiteX5" fmla="*/ 47 w 1765318"/>
              <a:gd name="connsiteY5" fmla="*/ 795700 h 2995807"/>
              <a:gd name="connsiteX0" fmla="*/ 47 w 1773136"/>
              <a:gd name="connsiteY0" fmla="*/ 795700 h 2995807"/>
              <a:gd name="connsiteX1" fmla="*/ 1321905 w 1773136"/>
              <a:gd name="connsiteY1" fmla="*/ 114161 h 2995807"/>
              <a:gd name="connsiteX2" fmla="*/ 1592060 w 1773136"/>
              <a:gd name="connsiteY2" fmla="*/ 1409315 h 2995807"/>
              <a:gd name="connsiteX3" fmla="*/ 96444 w 1773136"/>
              <a:gd name="connsiteY3" fmla="*/ 2964995 h 2995807"/>
              <a:gd name="connsiteX4" fmla="*/ 1458 w 1773136"/>
              <a:gd name="connsiteY4" fmla="*/ 2943052 h 2995807"/>
              <a:gd name="connsiteX5" fmla="*/ 47 w 1773136"/>
              <a:gd name="connsiteY5" fmla="*/ 795700 h 2995807"/>
              <a:gd name="connsiteX0" fmla="*/ 47 w 1812096"/>
              <a:gd name="connsiteY0" fmla="*/ 795700 h 2995807"/>
              <a:gd name="connsiteX1" fmla="*/ 1321905 w 1812096"/>
              <a:gd name="connsiteY1" fmla="*/ 114161 h 2995807"/>
              <a:gd name="connsiteX2" fmla="*/ 1592060 w 1812096"/>
              <a:gd name="connsiteY2" fmla="*/ 1409315 h 2995807"/>
              <a:gd name="connsiteX3" fmla="*/ 96444 w 1812096"/>
              <a:gd name="connsiteY3" fmla="*/ 2964995 h 2995807"/>
              <a:gd name="connsiteX4" fmla="*/ 1458 w 1812096"/>
              <a:gd name="connsiteY4" fmla="*/ 2943052 h 2995807"/>
              <a:gd name="connsiteX5" fmla="*/ 47 w 1812096"/>
              <a:gd name="connsiteY5" fmla="*/ 795700 h 2995807"/>
              <a:gd name="connsiteX0" fmla="*/ 47 w 1759473"/>
              <a:gd name="connsiteY0" fmla="*/ 795700 h 2995807"/>
              <a:gd name="connsiteX1" fmla="*/ 1321905 w 1759473"/>
              <a:gd name="connsiteY1" fmla="*/ 114161 h 2995807"/>
              <a:gd name="connsiteX2" fmla="*/ 1592060 w 1759473"/>
              <a:gd name="connsiteY2" fmla="*/ 1409315 h 2995807"/>
              <a:gd name="connsiteX3" fmla="*/ 96444 w 1759473"/>
              <a:gd name="connsiteY3" fmla="*/ 2964995 h 2995807"/>
              <a:gd name="connsiteX4" fmla="*/ 1458 w 1759473"/>
              <a:gd name="connsiteY4" fmla="*/ 2943052 h 2995807"/>
              <a:gd name="connsiteX5" fmla="*/ 47 w 1759473"/>
              <a:gd name="connsiteY5" fmla="*/ 795700 h 2995807"/>
              <a:gd name="connsiteX0" fmla="*/ 47 w 1747100"/>
              <a:gd name="connsiteY0" fmla="*/ 795700 h 2995807"/>
              <a:gd name="connsiteX1" fmla="*/ 1321905 w 1747100"/>
              <a:gd name="connsiteY1" fmla="*/ 114161 h 2995807"/>
              <a:gd name="connsiteX2" fmla="*/ 1592060 w 1747100"/>
              <a:gd name="connsiteY2" fmla="*/ 1409315 h 2995807"/>
              <a:gd name="connsiteX3" fmla="*/ 96444 w 1747100"/>
              <a:gd name="connsiteY3" fmla="*/ 2964995 h 2995807"/>
              <a:gd name="connsiteX4" fmla="*/ 1458 w 1747100"/>
              <a:gd name="connsiteY4" fmla="*/ 2943052 h 2995807"/>
              <a:gd name="connsiteX5" fmla="*/ 47 w 1747100"/>
              <a:gd name="connsiteY5" fmla="*/ 795700 h 2995807"/>
              <a:gd name="connsiteX0" fmla="*/ 47 w 1747100"/>
              <a:gd name="connsiteY0" fmla="*/ 801068 h 3001175"/>
              <a:gd name="connsiteX1" fmla="*/ 1321905 w 1747100"/>
              <a:gd name="connsiteY1" fmla="*/ 119529 h 3001175"/>
              <a:gd name="connsiteX2" fmla="*/ 1592060 w 1747100"/>
              <a:gd name="connsiteY2" fmla="*/ 1414683 h 3001175"/>
              <a:gd name="connsiteX3" fmla="*/ 96444 w 1747100"/>
              <a:gd name="connsiteY3" fmla="*/ 2970363 h 3001175"/>
              <a:gd name="connsiteX4" fmla="*/ 1458 w 1747100"/>
              <a:gd name="connsiteY4" fmla="*/ 2948420 h 3001175"/>
              <a:gd name="connsiteX5" fmla="*/ 47 w 1747100"/>
              <a:gd name="connsiteY5" fmla="*/ 801068 h 3001175"/>
              <a:gd name="connsiteX0" fmla="*/ 47 w 1747100"/>
              <a:gd name="connsiteY0" fmla="*/ 859428 h 2992860"/>
              <a:gd name="connsiteX1" fmla="*/ 1321905 w 1747100"/>
              <a:gd name="connsiteY1" fmla="*/ 111214 h 2992860"/>
              <a:gd name="connsiteX2" fmla="*/ 1592060 w 1747100"/>
              <a:gd name="connsiteY2" fmla="*/ 1406368 h 2992860"/>
              <a:gd name="connsiteX3" fmla="*/ 96444 w 1747100"/>
              <a:gd name="connsiteY3" fmla="*/ 2962048 h 2992860"/>
              <a:gd name="connsiteX4" fmla="*/ 1458 w 1747100"/>
              <a:gd name="connsiteY4" fmla="*/ 2940105 h 2992860"/>
              <a:gd name="connsiteX5" fmla="*/ 47 w 1747100"/>
              <a:gd name="connsiteY5" fmla="*/ 859428 h 2992860"/>
              <a:gd name="connsiteX0" fmla="*/ 317 w 1747370"/>
              <a:gd name="connsiteY0" fmla="*/ 863993 h 2997425"/>
              <a:gd name="connsiteX1" fmla="*/ 1322175 w 1747370"/>
              <a:gd name="connsiteY1" fmla="*/ 115779 h 2997425"/>
              <a:gd name="connsiteX2" fmla="*/ 1592330 w 1747370"/>
              <a:gd name="connsiteY2" fmla="*/ 1410933 h 2997425"/>
              <a:gd name="connsiteX3" fmla="*/ 96714 w 1747370"/>
              <a:gd name="connsiteY3" fmla="*/ 2966613 h 2997425"/>
              <a:gd name="connsiteX4" fmla="*/ 1728 w 1747370"/>
              <a:gd name="connsiteY4" fmla="*/ 2944670 h 2997425"/>
              <a:gd name="connsiteX5" fmla="*/ 317 w 1747370"/>
              <a:gd name="connsiteY5" fmla="*/ 863993 h 2997425"/>
              <a:gd name="connsiteX0" fmla="*/ 317 w 1758362"/>
              <a:gd name="connsiteY0" fmla="*/ 863993 h 2997425"/>
              <a:gd name="connsiteX1" fmla="*/ 1322175 w 1758362"/>
              <a:gd name="connsiteY1" fmla="*/ 115779 h 2997425"/>
              <a:gd name="connsiteX2" fmla="*/ 1592330 w 1758362"/>
              <a:gd name="connsiteY2" fmla="*/ 1410933 h 2997425"/>
              <a:gd name="connsiteX3" fmla="*/ 96714 w 1758362"/>
              <a:gd name="connsiteY3" fmla="*/ 2966613 h 2997425"/>
              <a:gd name="connsiteX4" fmla="*/ 1728 w 1758362"/>
              <a:gd name="connsiteY4" fmla="*/ 2944670 h 2997425"/>
              <a:gd name="connsiteX5" fmla="*/ 317 w 1758362"/>
              <a:gd name="connsiteY5" fmla="*/ 863993 h 2997425"/>
              <a:gd name="connsiteX0" fmla="*/ 317 w 1753088"/>
              <a:gd name="connsiteY0" fmla="*/ 863993 h 2997425"/>
              <a:gd name="connsiteX1" fmla="*/ 1322175 w 1753088"/>
              <a:gd name="connsiteY1" fmla="*/ 115779 h 2997425"/>
              <a:gd name="connsiteX2" fmla="*/ 1592330 w 1753088"/>
              <a:gd name="connsiteY2" fmla="*/ 1410933 h 2997425"/>
              <a:gd name="connsiteX3" fmla="*/ 96714 w 1753088"/>
              <a:gd name="connsiteY3" fmla="*/ 2966613 h 2997425"/>
              <a:gd name="connsiteX4" fmla="*/ 1728 w 1753088"/>
              <a:gd name="connsiteY4" fmla="*/ 2944670 h 2997425"/>
              <a:gd name="connsiteX5" fmla="*/ 317 w 1753088"/>
              <a:gd name="connsiteY5" fmla="*/ 863993 h 2997425"/>
              <a:gd name="connsiteX0" fmla="*/ 317 w 1756975"/>
              <a:gd name="connsiteY0" fmla="*/ 863993 h 2997425"/>
              <a:gd name="connsiteX1" fmla="*/ 1322175 w 1756975"/>
              <a:gd name="connsiteY1" fmla="*/ 115779 h 2997425"/>
              <a:gd name="connsiteX2" fmla="*/ 1592330 w 1756975"/>
              <a:gd name="connsiteY2" fmla="*/ 1410933 h 2997425"/>
              <a:gd name="connsiteX3" fmla="*/ 96714 w 1756975"/>
              <a:gd name="connsiteY3" fmla="*/ 2966613 h 2997425"/>
              <a:gd name="connsiteX4" fmla="*/ 1728 w 1756975"/>
              <a:gd name="connsiteY4" fmla="*/ 2944670 h 2997425"/>
              <a:gd name="connsiteX5" fmla="*/ 317 w 1756975"/>
              <a:gd name="connsiteY5" fmla="*/ 863993 h 2997425"/>
              <a:gd name="connsiteX0" fmla="*/ 317 w 1756975"/>
              <a:gd name="connsiteY0" fmla="*/ 863993 h 3004928"/>
              <a:gd name="connsiteX1" fmla="*/ 1322175 w 1756975"/>
              <a:gd name="connsiteY1" fmla="*/ 115779 h 3004928"/>
              <a:gd name="connsiteX2" fmla="*/ 1592330 w 1756975"/>
              <a:gd name="connsiteY2" fmla="*/ 1410933 h 3004928"/>
              <a:gd name="connsiteX3" fmla="*/ 96714 w 1756975"/>
              <a:gd name="connsiteY3" fmla="*/ 2966613 h 3004928"/>
              <a:gd name="connsiteX4" fmla="*/ 1728 w 1756975"/>
              <a:gd name="connsiteY4" fmla="*/ 2944670 h 3004928"/>
              <a:gd name="connsiteX5" fmla="*/ 317 w 1756975"/>
              <a:gd name="connsiteY5" fmla="*/ 863993 h 3004928"/>
              <a:gd name="connsiteX0" fmla="*/ 317 w 1756975"/>
              <a:gd name="connsiteY0" fmla="*/ 863993 h 3009727"/>
              <a:gd name="connsiteX1" fmla="*/ 1322175 w 1756975"/>
              <a:gd name="connsiteY1" fmla="*/ 115779 h 3009727"/>
              <a:gd name="connsiteX2" fmla="*/ 1592330 w 1756975"/>
              <a:gd name="connsiteY2" fmla="*/ 1410933 h 3009727"/>
              <a:gd name="connsiteX3" fmla="*/ 96714 w 1756975"/>
              <a:gd name="connsiteY3" fmla="*/ 2966613 h 3009727"/>
              <a:gd name="connsiteX4" fmla="*/ 1728 w 1756975"/>
              <a:gd name="connsiteY4" fmla="*/ 2944670 h 3009727"/>
              <a:gd name="connsiteX5" fmla="*/ 317 w 1756975"/>
              <a:gd name="connsiteY5" fmla="*/ 863993 h 3009727"/>
              <a:gd name="connsiteX0" fmla="*/ 317 w 1756975"/>
              <a:gd name="connsiteY0" fmla="*/ 863993 h 2995855"/>
              <a:gd name="connsiteX1" fmla="*/ 1322175 w 1756975"/>
              <a:gd name="connsiteY1" fmla="*/ 115779 h 2995855"/>
              <a:gd name="connsiteX2" fmla="*/ 1592330 w 1756975"/>
              <a:gd name="connsiteY2" fmla="*/ 1410933 h 2995855"/>
              <a:gd name="connsiteX3" fmla="*/ 96714 w 1756975"/>
              <a:gd name="connsiteY3" fmla="*/ 2966613 h 2995855"/>
              <a:gd name="connsiteX4" fmla="*/ 1728 w 1756975"/>
              <a:gd name="connsiteY4" fmla="*/ 2944670 h 2995855"/>
              <a:gd name="connsiteX5" fmla="*/ 317 w 1756975"/>
              <a:gd name="connsiteY5" fmla="*/ 863993 h 2995855"/>
              <a:gd name="connsiteX0" fmla="*/ 317 w 1756975"/>
              <a:gd name="connsiteY0" fmla="*/ 863993 h 2995855"/>
              <a:gd name="connsiteX1" fmla="*/ 1322175 w 1756975"/>
              <a:gd name="connsiteY1" fmla="*/ 115779 h 2995855"/>
              <a:gd name="connsiteX2" fmla="*/ 1592330 w 1756975"/>
              <a:gd name="connsiteY2" fmla="*/ 1410933 h 2995855"/>
              <a:gd name="connsiteX3" fmla="*/ 96714 w 1756975"/>
              <a:gd name="connsiteY3" fmla="*/ 2966613 h 2995855"/>
              <a:gd name="connsiteX4" fmla="*/ 1728 w 1756975"/>
              <a:gd name="connsiteY4" fmla="*/ 2944670 h 2995855"/>
              <a:gd name="connsiteX5" fmla="*/ 317 w 1756975"/>
              <a:gd name="connsiteY5" fmla="*/ 863993 h 2995855"/>
              <a:gd name="connsiteX0" fmla="*/ 317 w 1756975"/>
              <a:gd name="connsiteY0" fmla="*/ 861441 h 2993303"/>
              <a:gd name="connsiteX1" fmla="*/ 1322175 w 1756975"/>
              <a:gd name="connsiteY1" fmla="*/ 113227 h 2993303"/>
              <a:gd name="connsiteX2" fmla="*/ 1592330 w 1756975"/>
              <a:gd name="connsiteY2" fmla="*/ 1408381 h 2993303"/>
              <a:gd name="connsiteX3" fmla="*/ 96714 w 1756975"/>
              <a:gd name="connsiteY3" fmla="*/ 2964061 h 2993303"/>
              <a:gd name="connsiteX4" fmla="*/ 1728 w 1756975"/>
              <a:gd name="connsiteY4" fmla="*/ 2942118 h 2993303"/>
              <a:gd name="connsiteX5" fmla="*/ 317 w 1756975"/>
              <a:gd name="connsiteY5" fmla="*/ 861441 h 2993303"/>
              <a:gd name="connsiteX0" fmla="*/ 317 w 1749504"/>
              <a:gd name="connsiteY0" fmla="*/ 861441 h 2993303"/>
              <a:gd name="connsiteX1" fmla="*/ 1322175 w 1749504"/>
              <a:gd name="connsiteY1" fmla="*/ 113227 h 2993303"/>
              <a:gd name="connsiteX2" fmla="*/ 1579626 w 1749504"/>
              <a:gd name="connsiteY2" fmla="*/ 1430606 h 2993303"/>
              <a:gd name="connsiteX3" fmla="*/ 96714 w 1749504"/>
              <a:gd name="connsiteY3" fmla="*/ 2964061 h 2993303"/>
              <a:gd name="connsiteX4" fmla="*/ 1728 w 1749504"/>
              <a:gd name="connsiteY4" fmla="*/ 2942118 h 2993303"/>
              <a:gd name="connsiteX5" fmla="*/ 317 w 1749504"/>
              <a:gd name="connsiteY5" fmla="*/ 861441 h 2993303"/>
              <a:gd name="connsiteX0" fmla="*/ 317 w 1751386"/>
              <a:gd name="connsiteY0" fmla="*/ 861441 h 2993303"/>
              <a:gd name="connsiteX1" fmla="*/ 1322175 w 1751386"/>
              <a:gd name="connsiteY1" fmla="*/ 113227 h 2993303"/>
              <a:gd name="connsiteX2" fmla="*/ 1579626 w 1751386"/>
              <a:gd name="connsiteY2" fmla="*/ 1430606 h 2993303"/>
              <a:gd name="connsiteX3" fmla="*/ 96714 w 1751386"/>
              <a:gd name="connsiteY3" fmla="*/ 2964061 h 2993303"/>
              <a:gd name="connsiteX4" fmla="*/ 1728 w 1751386"/>
              <a:gd name="connsiteY4" fmla="*/ 2942118 h 2993303"/>
              <a:gd name="connsiteX5" fmla="*/ 317 w 1751386"/>
              <a:gd name="connsiteY5" fmla="*/ 861441 h 2993303"/>
              <a:gd name="connsiteX0" fmla="*/ 317 w 1754160"/>
              <a:gd name="connsiteY0" fmla="*/ 861441 h 2993303"/>
              <a:gd name="connsiteX1" fmla="*/ 1322175 w 1754160"/>
              <a:gd name="connsiteY1" fmla="*/ 113227 h 2993303"/>
              <a:gd name="connsiteX2" fmla="*/ 1584360 w 1754160"/>
              <a:gd name="connsiteY2" fmla="*/ 1416408 h 2993303"/>
              <a:gd name="connsiteX3" fmla="*/ 96714 w 1754160"/>
              <a:gd name="connsiteY3" fmla="*/ 2964061 h 2993303"/>
              <a:gd name="connsiteX4" fmla="*/ 1728 w 1754160"/>
              <a:gd name="connsiteY4" fmla="*/ 2942118 h 2993303"/>
              <a:gd name="connsiteX5" fmla="*/ 317 w 1754160"/>
              <a:gd name="connsiteY5" fmla="*/ 861441 h 2993303"/>
              <a:gd name="connsiteX0" fmla="*/ 97212 w 1840728"/>
              <a:gd name="connsiteY0" fmla="*/ 851039 h 2982901"/>
              <a:gd name="connsiteX1" fmla="*/ 1414336 w 1840728"/>
              <a:gd name="connsiteY1" fmla="*/ 105192 h 2982901"/>
              <a:gd name="connsiteX2" fmla="*/ 1681255 w 1840728"/>
              <a:gd name="connsiteY2" fmla="*/ 1406006 h 2982901"/>
              <a:gd name="connsiteX3" fmla="*/ 193609 w 1840728"/>
              <a:gd name="connsiteY3" fmla="*/ 2953659 h 2982901"/>
              <a:gd name="connsiteX4" fmla="*/ 98623 w 1840728"/>
              <a:gd name="connsiteY4" fmla="*/ 2931716 h 2982901"/>
              <a:gd name="connsiteX5" fmla="*/ 97212 w 1840728"/>
              <a:gd name="connsiteY5" fmla="*/ 851039 h 2982901"/>
              <a:gd name="connsiteX0" fmla="*/ 97212 w 1850529"/>
              <a:gd name="connsiteY0" fmla="*/ 851039 h 2982901"/>
              <a:gd name="connsiteX1" fmla="*/ 1414336 w 1850529"/>
              <a:gd name="connsiteY1" fmla="*/ 105192 h 2982901"/>
              <a:gd name="connsiteX2" fmla="*/ 1681255 w 1850529"/>
              <a:gd name="connsiteY2" fmla="*/ 1406006 h 2982901"/>
              <a:gd name="connsiteX3" fmla="*/ 193609 w 1850529"/>
              <a:gd name="connsiteY3" fmla="*/ 2953659 h 2982901"/>
              <a:gd name="connsiteX4" fmla="*/ 98623 w 1850529"/>
              <a:gd name="connsiteY4" fmla="*/ 2931716 h 2982901"/>
              <a:gd name="connsiteX5" fmla="*/ 97212 w 1850529"/>
              <a:gd name="connsiteY5" fmla="*/ 851039 h 2982901"/>
              <a:gd name="connsiteX0" fmla="*/ 13 w 1753330"/>
              <a:gd name="connsiteY0" fmla="*/ 858319 h 2990181"/>
              <a:gd name="connsiteX1" fmla="*/ 1317137 w 1753330"/>
              <a:gd name="connsiteY1" fmla="*/ 112472 h 2990181"/>
              <a:gd name="connsiteX2" fmla="*/ 1584056 w 1753330"/>
              <a:gd name="connsiteY2" fmla="*/ 1413286 h 2990181"/>
              <a:gd name="connsiteX3" fmla="*/ 96410 w 1753330"/>
              <a:gd name="connsiteY3" fmla="*/ 2960939 h 2990181"/>
              <a:gd name="connsiteX4" fmla="*/ 1424 w 1753330"/>
              <a:gd name="connsiteY4" fmla="*/ 2938996 h 2990181"/>
              <a:gd name="connsiteX5" fmla="*/ 13 w 1753330"/>
              <a:gd name="connsiteY5" fmla="*/ 858319 h 2990181"/>
              <a:gd name="connsiteX0" fmla="*/ 13 w 1760528"/>
              <a:gd name="connsiteY0" fmla="*/ 858319 h 2990181"/>
              <a:gd name="connsiteX1" fmla="*/ 1317137 w 1760528"/>
              <a:gd name="connsiteY1" fmla="*/ 112472 h 2990181"/>
              <a:gd name="connsiteX2" fmla="*/ 1584056 w 1760528"/>
              <a:gd name="connsiteY2" fmla="*/ 1413286 h 2990181"/>
              <a:gd name="connsiteX3" fmla="*/ 96410 w 1760528"/>
              <a:gd name="connsiteY3" fmla="*/ 2960939 h 2990181"/>
              <a:gd name="connsiteX4" fmla="*/ 1424 w 1760528"/>
              <a:gd name="connsiteY4" fmla="*/ 2938996 h 2990181"/>
              <a:gd name="connsiteX5" fmla="*/ 13 w 1760528"/>
              <a:gd name="connsiteY5" fmla="*/ 858319 h 2990181"/>
              <a:gd name="connsiteX0" fmla="*/ 13 w 1751658"/>
              <a:gd name="connsiteY0" fmla="*/ 858319 h 2990181"/>
              <a:gd name="connsiteX1" fmla="*/ 1317137 w 1751658"/>
              <a:gd name="connsiteY1" fmla="*/ 112472 h 2990181"/>
              <a:gd name="connsiteX2" fmla="*/ 1584056 w 1751658"/>
              <a:gd name="connsiteY2" fmla="*/ 1413286 h 2990181"/>
              <a:gd name="connsiteX3" fmla="*/ 96410 w 1751658"/>
              <a:gd name="connsiteY3" fmla="*/ 2960939 h 2990181"/>
              <a:gd name="connsiteX4" fmla="*/ 1424 w 1751658"/>
              <a:gd name="connsiteY4" fmla="*/ 2938996 h 2990181"/>
              <a:gd name="connsiteX5" fmla="*/ 13 w 1751658"/>
              <a:gd name="connsiteY5" fmla="*/ 858319 h 2990181"/>
              <a:gd name="connsiteX0" fmla="*/ 13 w 1759584"/>
              <a:gd name="connsiteY0" fmla="*/ 858319 h 2990181"/>
              <a:gd name="connsiteX1" fmla="*/ 1317137 w 1759584"/>
              <a:gd name="connsiteY1" fmla="*/ 112472 h 2990181"/>
              <a:gd name="connsiteX2" fmla="*/ 1584056 w 1759584"/>
              <a:gd name="connsiteY2" fmla="*/ 1413286 h 2990181"/>
              <a:gd name="connsiteX3" fmla="*/ 96410 w 1759584"/>
              <a:gd name="connsiteY3" fmla="*/ 2960939 h 2990181"/>
              <a:gd name="connsiteX4" fmla="*/ 1424 w 1759584"/>
              <a:gd name="connsiteY4" fmla="*/ 2938996 h 2990181"/>
              <a:gd name="connsiteX5" fmla="*/ 13 w 1759584"/>
              <a:gd name="connsiteY5" fmla="*/ 858319 h 2990181"/>
              <a:gd name="connsiteX0" fmla="*/ 13 w 1714478"/>
              <a:gd name="connsiteY0" fmla="*/ 858319 h 2990181"/>
              <a:gd name="connsiteX1" fmla="*/ 1317137 w 1714478"/>
              <a:gd name="connsiteY1" fmla="*/ 112472 h 2990181"/>
              <a:gd name="connsiteX2" fmla="*/ 1503572 w 1714478"/>
              <a:gd name="connsiteY2" fmla="*/ 1515045 h 2990181"/>
              <a:gd name="connsiteX3" fmla="*/ 96410 w 1714478"/>
              <a:gd name="connsiteY3" fmla="*/ 2960939 h 2990181"/>
              <a:gd name="connsiteX4" fmla="*/ 1424 w 1714478"/>
              <a:gd name="connsiteY4" fmla="*/ 2938996 h 2990181"/>
              <a:gd name="connsiteX5" fmla="*/ 13 w 1714478"/>
              <a:gd name="connsiteY5" fmla="*/ 858319 h 2990181"/>
              <a:gd name="connsiteX0" fmla="*/ 13 w 1755639"/>
              <a:gd name="connsiteY0" fmla="*/ 858319 h 2990181"/>
              <a:gd name="connsiteX1" fmla="*/ 1317137 w 1755639"/>
              <a:gd name="connsiteY1" fmla="*/ 112472 h 2990181"/>
              <a:gd name="connsiteX2" fmla="*/ 1503572 w 1755639"/>
              <a:gd name="connsiteY2" fmla="*/ 1515045 h 2990181"/>
              <a:gd name="connsiteX3" fmla="*/ 96410 w 1755639"/>
              <a:gd name="connsiteY3" fmla="*/ 2960939 h 2990181"/>
              <a:gd name="connsiteX4" fmla="*/ 1424 w 1755639"/>
              <a:gd name="connsiteY4" fmla="*/ 2938996 h 2990181"/>
              <a:gd name="connsiteX5" fmla="*/ 13 w 1755639"/>
              <a:gd name="connsiteY5" fmla="*/ 858319 h 2990181"/>
              <a:gd name="connsiteX0" fmla="*/ 13 w 1748972"/>
              <a:gd name="connsiteY0" fmla="*/ 858319 h 2990181"/>
              <a:gd name="connsiteX1" fmla="*/ 1317137 w 1748972"/>
              <a:gd name="connsiteY1" fmla="*/ 112472 h 2990181"/>
              <a:gd name="connsiteX2" fmla="*/ 1503572 w 1748972"/>
              <a:gd name="connsiteY2" fmla="*/ 1515045 h 2990181"/>
              <a:gd name="connsiteX3" fmla="*/ 96410 w 1748972"/>
              <a:gd name="connsiteY3" fmla="*/ 2960939 h 2990181"/>
              <a:gd name="connsiteX4" fmla="*/ 1424 w 1748972"/>
              <a:gd name="connsiteY4" fmla="*/ 2938996 h 2990181"/>
              <a:gd name="connsiteX5" fmla="*/ 13 w 1748972"/>
              <a:gd name="connsiteY5" fmla="*/ 858319 h 2990181"/>
              <a:gd name="connsiteX0" fmla="*/ 13 w 1754684"/>
              <a:gd name="connsiteY0" fmla="*/ 858319 h 2990181"/>
              <a:gd name="connsiteX1" fmla="*/ 1317137 w 1754684"/>
              <a:gd name="connsiteY1" fmla="*/ 112472 h 2990181"/>
              <a:gd name="connsiteX2" fmla="*/ 1503572 w 1754684"/>
              <a:gd name="connsiteY2" fmla="*/ 1515045 h 2990181"/>
              <a:gd name="connsiteX3" fmla="*/ 96410 w 1754684"/>
              <a:gd name="connsiteY3" fmla="*/ 2960939 h 2990181"/>
              <a:gd name="connsiteX4" fmla="*/ 1424 w 1754684"/>
              <a:gd name="connsiteY4" fmla="*/ 2938996 h 2990181"/>
              <a:gd name="connsiteX5" fmla="*/ 13 w 1754684"/>
              <a:gd name="connsiteY5" fmla="*/ 858319 h 2990181"/>
              <a:gd name="connsiteX0" fmla="*/ 13 w 1753730"/>
              <a:gd name="connsiteY0" fmla="*/ 858319 h 2990181"/>
              <a:gd name="connsiteX1" fmla="*/ 1317137 w 1753730"/>
              <a:gd name="connsiteY1" fmla="*/ 112472 h 2990181"/>
              <a:gd name="connsiteX2" fmla="*/ 1503572 w 1753730"/>
              <a:gd name="connsiteY2" fmla="*/ 1515045 h 2990181"/>
              <a:gd name="connsiteX3" fmla="*/ 96410 w 1753730"/>
              <a:gd name="connsiteY3" fmla="*/ 2960939 h 2990181"/>
              <a:gd name="connsiteX4" fmla="*/ 1424 w 1753730"/>
              <a:gd name="connsiteY4" fmla="*/ 2938996 h 2990181"/>
              <a:gd name="connsiteX5" fmla="*/ 13 w 1753730"/>
              <a:gd name="connsiteY5" fmla="*/ 858319 h 2990181"/>
              <a:gd name="connsiteX0" fmla="*/ 13 w 1700318"/>
              <a:gd name="connsiteY0" fmla="*/ 858319 h 2991855"/>
              <a:gd name="connsiteX1" fmla="*/ 1317137 w 1700318"/>
              <a:gd name="connsiteY1" fmla="*/ 112472 h 2991855"/>
              <a:gd name="connsiteX2" fmla="*/ 1503572 w 1700318"/>
              <a:gd name="connsiteY2" fmla="*/ 1515045 h 2991855"/>
              <a:gd name="connsiteX3" fmla="*/ 86941 w 1700318"/>
              <a:gd name="connsiteY3" fmla="*/ 2965672 h 2991855"/>
              <a:gd name="connsiteX4" fmla="*/ 1424 w 1700318"/>
              <a:gd name="connsiteY4" fmla="*/ 2938996 h 2991855"/>
              <a:gd name="connsiteX5" fmla="*/ 13 w 1700318"/>
              <a:gd name="connsiteY5" fmla="*/ 858319 h 2991855"/>
              <a:gd name="connsiteX0" fmla="*/ 13 w 1763120"/>
              <a:gd name="connsiteY0" fmla="*/ 858319 h 2991855"/>
              <a:gd name="connsiteX1" fmla="*/ 1317137 w 1763120"/>
              <a:gd name="connsiteY1" fmla="*/ 112472 h 2991855"/>
              <a:gd name="connsiteX2" fmla="*/ 1503572 w 1763120"/>
              <a:gd name="connsiteY2" fmla="*/ 1515045 h 2991855"/>
              <a:gd name="connsiteX3" fmla="*/ 86941 w 1763120"/>
              <a:gd name="connsiteY3" fmla="*/ 2965672 h 2991855"/>
              <a:gd name="connsiteX4" fmla="*/ 1424 w 1763120"/>
              <a:gd name="connsiteY4" fmla="*/ 2938996 h 2991855"/>
              <a:gd name="connsiteX5" fmla="*/ 13 w 1763120"/>
              <a:gd name="connsiteY5" fmla="*/ 858319 h 2991855"/>
              <a:gd name="connsiteX0" fmla="*/ 13 w 1745944"/>
              <a:gd name="connsiteY0" fmla="*/ 858319 h 2991855"/>
              <a:gd name="connsiteX1" fmla="*/ 1317137 w 1745944"/>
              <a:gd name="connsiteY1" fmla="*/ 112472 h 2991855"/>
              <a:gd name="connsiteX2" fmla="*/ 1503572 w 1745944"/>
              <a:gd name="connsiteY2" fmla="*/ 1515045 h 2991855"/>
              <a:gd name="connsiteX3" fmla="*/ 86941 w 1745944"/>
              <a:gd name="connsiteY3" fmla="*/ 2965672 h 2991855"/>
              <a:gd name="connsiteX4" fmla="*/ 1424 w 1745944"/>
              <a:gd name="connsiteY4" fmla="*/ 2938996 h 2991855"/>
              <a:gd name="connsiteX5" fmla="*/ 13 w 1745944"/>
              <a:gd name="connsiteY5" fmla="*/ 858319 h 2991855"/>
              <a:gd name="connsiteX0" fmla="*/ 13 w 1752593"/>
              <a:gd name="connsiteY0" fmla="*/ 858319 h 2991855"/>
              <a:gd name="connsiteX1" fmla="*/ 1317137 w 1752593"/>
              <a:gd name="connsiteY1" fmla="*/ 112472 h 2991855"/>
              <a:gd name="connsiteX2" fmla="*/ 1503572 w 1752593"/>
              <a:gd name="connsiteY2" fmla="*/ 1515045 h 2991855"/>
              <a:gd name="connsiteX3" fmla="*/ 86941 w 1752593"/>
              <a:gd name="connsiteY3" fmla="*/ 2965672 h 2991855"/>
              <a:gd name="connsiteX4" fmla="*/ 1424 w 1752593"/>
              <a:gd name="connsiteY4" fmla="*/ 2938996 h 2991855"/>
              <a:gd name="connsiteX5" fmla="*/ 13 w 1752593"/>
              <a:gd name="connsiteY5" fmla="*/ 858319 h 2991855"/>
              <a:gd name="connsiteX0" fmla="*/ 13 w 1752593"/>
              <a:gd name="connsiteY0" fmla="*/ 858319 h 2984818"/>
              <a:gd name="connsiteX1" fmla="*/ 1317137 w 1752593"/>
              <a:gd name="connsiteY1" fmla="*/ 112472 h 2984818"/>
              <a:gd name="connsiteX2" fmla="*/ 1503572 w 1752593"/>
              <a:gd name="connsiteY2" fmla="*/ 1515045 h 2984818"/>
              <a:gd name="connsiteX3" fmla="*/ 86941 w 1752593"/>
              <a:gd name="connsiteY3" fmla="*/ 2965672 h 2984818"/>
              <a:gd name="connsiteX4" fmla="*/ 1424 w 1752593"/>
              <a:gd name="connsiteY4" fmla="*/ 2938996 h 2984818"/>
              <a:gd name="connsiteX5" fmla="*/ 13 w 1752593"/>
              <a:gd name="connsiteY5" fmla="*/ 858319 h 2984818"/>
              <a:gd name="connsiteX0" fmla="*/ 13 w 1701062"/>
              <a:gd name="connsiteY0" fmla="*/ 858319 h 2994906"/>
              <a:gd name="connsiteX1" fmla="*/ 1317137 w 1701062"/>
              <a:gd name="connsiteY1" fmla="*/ 112472 h 2994906"/>
              <a:gd name="connsiteX2" fmla="*/ 1503572 w 1701062"/>
              <a:gd name="connsiteY2" fmla="*/ 1515045 h 2994906"/>
              <a:gd name="connsiteX3" fmla="*/ 75105 w 1701062"/>
              <a:gd name="connsiteY3" fmla="*/ 2986970 h 2994906"/>
              <a:gd name="connsiteX4" fmla="*/ 1424 w 1701062"/>
              <a:gd name="connsiteY4" fmla="*/ 2938996 h 2994906"/>
              <a:gd name="connsiteX5" fmla="*/ 13 w 1701062"/>
              <a:gd name="connsiteY5" fmla="*/ 858319 h 2994906"/>
              <a:gd name="connsiteX0" fmla="*/ 13 w 1700318"/>
              <a:gd name="connsiteY0" fmla="*/ 858319 h 2984818"/>
              <a:gd name="connsiteX1" fmla="*/ 1317137 w 1700318"/>
              <a:gd name="connsiteY1" fmla="*/ 112472 h 2984818"/>
              <a:gd name="connsiteX2" fmla="*/ 1503572 w 1700318"/>
              <a:gd name="connsiteY2" fmla="*/ 1515045 h 2984818"/>
              <a:gd name="connsiteX3" fmla="*/ 86941 w 1700318"/>
              <a:gd name="connsiteY3" fmla="*/ 2965672 h 2984818"/>
              <a:gd name="connsiteX4" fmla="*/ 1424 w 1700318"/>
              <a:gd name="connsiteY4" fmla="*/ 2938996 h 2984818"/>
              <a:gd name="connsiteX5" fmla="*/ 13 w 1700318"/>
              <a:gd name="connsiteY5" fmla="*/ 858319 h 2984818"/>
              <a:gd name="connsiteX0" fmla="*/ 13 w 1700318"/>
              <a:gd name="connsiteY0" fmla="*/ 858319 h 2984818"/>
              <a:gd name="connsiteX1" fmla="*/ 1317137 w 1700318"/>
              <a:gd name="connsiteY1" fmla="*/ 112472 h 2984818"/>
              <a:gd name="connsiteX2" fmla="*/ 1503572 w 1700318"/>
              <a:gd name="connsiteY2" fmla="*/ 1515045 h 2984818"/>
              <a:gd name="connsiteX3" fmla="*/ 86941 w 1700318"/>
              <a:gd name="connsiteY3" fmla="*/ 2965672 h 2984818"/>
              <a:gd name="connsiteX4" fmla="*/ 1424 w 1700318"/>
              <a:gd name="connsiteY4" fmla="*/ 2938996 h 2984818"/>
              <a:gd name="connsiteX5" fmla="*/ 13 w 1700318"/>
              <a:gd name="connsiteY5" fmla="*/ 858319 h 2984818"/>
              <a:gd name="connsiteX0" fmla="*/ 13 w 1699425"/>
              <a:gd name="connsiteY0" fmla="*/ 858319 h 3009727"/>
              <a:gd name="connsiteX1" fmla="*/ 1317137 w 1699425"/>
              <a:gd name="connsiteY1" fmla="*/ 112472 h 3009727"/>
              <a:gd name="connsiteX2" fmla="*/ 1503572 w 1699425"/>
              <a:gd name="connsiteY2" fmla="*/ 1515045 h 3009727"/>
              <a:gd name="connsiteX3" fmla="*/ 101144 w 1699425"/>
              <a:gd name="connsiteY3" fmla="*/ 3008269 h 3009727"/>
              <a:gd name="connsiteX4" fmla="*/ 1424 w 1699425"/>
              <a:gd name="connsiteY4" fmla="*/ 2938996 h 3009727"/>
              <a:gd name="connsiteX5" fmla="*/ 13 w 1699425"/>
              <a:gd name="connsiteY5" fmla="*/ 858319 h 3009727"/>
              <a:gd name="connsiteX0" fmla="*/ 13 w 1699425"/>
              <a:gd name="connsiteY0" fmla="*/ 858319 h 3045227"/>
              <a:gd name="connsiteX1" fmla="*/ 1317137 w 1699425"/>
              <a:gd name="connsiteY1" fmla="*/ 112472 h 3045227"/>
              <a:gd name="connsiteX2" fmla="*/ 1503572 w 1699425"/>
              <a:gd name="connsiteY2" fmla="*/ 1515045 h 3045227"/>
              <a:gd name="connsiteX3" fmla="*/ 101144 w 1699425"/>
              <a:gd name="connsiteY3" fmla="*/ 3008269 h 3045227"/>
              <a:gd name="connsiteX4" fmla="*/ 1424 w 1699425"/>
              <a:gd name="connsiteY4" fmla="*/ 2938996 h 3045227"/>
              <a:gd name="connsiteX5" fmla="*/ 13 w 1699425"/>
              <a:gd name="connsiteY5" fmla="*/ 858319 h 3045227"/>
              <a:gd name="connsiteX0" fmla="*/ 13 w 1698831"/>
              <a:gd name="connsiteY0" fmla="*/ 858319 h 3004841"/>
              <a:gd name="connsiteX1" fmla="*/ 1317137 w 1698831"/>
              <a:gd name="connsiteY1" fmla="*/ 112472 h 3004841"/>
              <a:gd name="connsiteX2" fmla="*/ 1503572 w 1698831"/>
              <a:gd name="connsiteY2" fmla="*/ 1515045 h 3004841"/>
              <a:gd name="connsiteX3" fmla="*/ 110613 w 1698831"/>
              <a:gd name="connsiteY3" fmla="*/ 2946741 h 3004841"/>
              <a:gd name="connsiteX4" fmla="*/ 1424 w 1698831"/>
              <a:gd name="connsiteY4" fmla="*/ 2938996 h 3004841"/>
              <a:gd name="connsiteX5" fmla="*/ 13 w 1698831"/>
              <a:gd name="connsiteY5" fmla="*/ 858319 h 3004841"/>
              <a:gd name="connsiteX0" fmla="*/ 13 w 1698831"/>
              <a:gd name="connsiteY0" fmla="*/ 858319 h 3007635"/>
              <a:gd name="connsiteX1" fmla="*/ 1317137 w 1698831"/>
              <a:gd name="connsiteY1" fmla="*/ 112472 h 3007635"/>
              <a:gd name="connsiteX2" fmla="*/ 1503572 w 1698831"/>
              <a:gd name="connsiteY2" fmla="*/ 1515045 h 3007635"/>
              <a:gd name="connsiteX3" fmla="*/ 110613 w 1698831"/>
              <a:gd name="connsiteY3" fmla="*/ 2946741 h 3007635"/>
              <a:gd name="connsiteX4" fmla="*/ 1424 w 1698831"/>
              <a:gd name="connsiteY4" fmla="*/ 2938996 h 3007635"/>
              <a:gd name="connsiteX5" fmla="*/ 13 w 1698831"/>
              <a:gd name="connsiteY5" fmla="*/ 858319 h 3007635"/>
              <a:gd name="connsiteX0" fmla="*/ 13 w 1698979"/>
              <a:gd name="connsiteY0" fmla="*/ 858319 h 3005098"/>
              <a:gd name="connsiteX1" fmla="*/ 1317137 w 1698979"/>
              <a:gd name="connsiteY1" fmla="*/ 112472 h 3005098"/>
              <a:gd name="connsiteX2" fmla="*/ 1503572 w 1698979"/>
              <a:gd name="connsiteY2" fmla="*/ 1515045 h 3005098"/>
              <a:gd name="connsiteX3" fmla="*/ 108246 w 1698979"/>
              <a:gd name="connsiteY3" fmla="*/ 2942008 h 3005098"/>
              <a:gd name="connsiteX4" fmla="*/ 1424 w 1698979"/>
              <a:gd name="connsiteY4" fmla="*/ 2938996 h 3005098"/>
              <a:gd name="connsiteX5" fmla="*/ 13 w 1698979"/>
              <a:gd name="connsiteY5" fmla="*/ 858319 h 3005098"/>
              <a:gd name="connsiteX0" fmla="*/ 13 w 1701077"/>
              <a:gd name="connsiteY0" fmla="*/ 858319 h 3022766"/>
              <a:gd name="connsiteX1" fmla="*/ 1317137 w 1701077"/>
              <a:gd name="connsiteY1" fmla="*/ 112472 h 3022766"/>
              <a:gd name="connsiteX2" fmla="*/ 1503572 w 1701077"/>
              <a:gd name="connsiteY2" fmla="*/ 1515045 h 3022766"/>
              <a:gd name="connsiteX3" fmla="*/ 74876 w 1701077"/>
              <a:gd name="connsiteY3" fmla="*/ 2972033 h 3022766"/>
              <a:gd name="connsiteX4" fmla="*/ 1424 w 1701077"/>
              <a:gd name="connsiteY4" fmla="*/ 2938996 h 3022766"/>
              <a:gd name="connsiteX5" fmla="*/ 13 w 1701077"/>
              <a:gd name="connsiteY5" fmla="*/ 858319 h 3022766"/>
              <a:gd name="connsiteX0" fmla="*/ 13 w 1701077"/>
              <a:gd name="connsiteY0" fmla="*/ 858319 h 2995037"/>
              <a:gd name="connsiteX1" fmla="*/ 1317137 w 1701077"/>
              <a:gd name="connsiteY1" fmla="*/ 112472 h 2995037"/>
              <a:gd name="connsiteX2" fmla="*/ 1503572 w 1701077"/>
              <a:gd name="connsiteY2" fmla="*/ 1515045 h 2995037"/>
              <a:gd name="connsiteX3" fmla="*/ 74876 w 1701077"/>
              <a:gd name="connsiteY3" fmla="*/ 2972033 h 2995037"/>
              <a:gd name="connsiteX4" fmla="*/ 1424 w 1701077"/>
              <a:gd name="connsiteY4" fmla="*/ 2938996 h 2995037"/>
              <a:gd name="connsiteX5" fmla="*/ 13 w 1701077"/>
              <a:gd name="connsiteY5" fmla="*/ 858319 h 2995037"/>
              <a:gd name="connsiteX0" fmla="*/ 13 w 1760182"/>
              <a:gd name="connsiteY0" fmla="*/ 858319 h 2995037"/>
              <a:gd name="connsiteX1" fmla="*/ 1317137 w 1760182"/>
              <a:gd name="connsiteY1" fmla="*/ 112472 h 2995037"/>
              <a:gd name="connsiteX2" fmla="*/ 1503572 w 1760182"/>
              <a:gd name="connsiteY2" fmla="*/ 1515045 h 2995037"/>
              <a:gd name="connsiteX3" fmla="*/ 74876 w 1760182"/>
              <a:gd name="connsiteY3" fmla="*/ 2972033 h 2995037"/>
              <a:gd name="connsiteX4" fmla="*/ 1424 w 1760182"/>
              <a:gd name="connsiteY4" fmla="*/ 2938996 h 2995037"/>
              <a:gd name="connsiteX5" fmla="*/ 13 w 1760182"/>
              <a:gd name="connsiteY5" fmla="*/ 858319 h 2995037"/>
              <a:gd name="connsiteX0" fmla="*/ 13 w 1760182"/>
              <a:gd name="connsiteY0" fmla="*/ 858319 h 3003213"/>
              <a:gd name="connsiteX1" fmla="*/ 1317137 w 1760182"/>
              <a:gd name="connsiteY1" fmla="*/ 112472 h 3003213"/>
              <a:gd name="connsiteX2" fmla="*/ 1503572 w 1760182"/>
              <a:gd name="connsiteY2" fmla="*/ 1515045 h 3003213"/>
              <a:gd name="connsiteX3" fmla="*/ 74876 w 1760182"/>
              <a:gd name="connsiteY3" fmla="*/ 2972033 h 3003213"/>
              <a:gd name="connsiteX4" fmla="*/ 1424 w 1760182"/>
              <a:gd name="connsiteY4" fmla="*/ 2938996 h 3003213"/>
              <a:gd name="connsiteX5" fmla="*/ 13 w 1760182"/>
              <a:gd name="connsiteY5" fmla="*/ 858319 h 3003213"/>
              <a:gd name="connsiteX0" fmla="*/ 13 w 1699398"/>
              <a:gd name="connsiteY0" fmla="*/ 858319 h 2990793"/>
              <a:gd name="connsiteX1" fmla="*/ 1317137 w 1699398"/>
              <a:gd name="connsiteY1" fmla="*/ 112472 h 2990793"/>
              <a:gd name="connsiteX2" fmla="*/ 1503572 w 1699398"/>
              <a:gd name="connsiteY2" fmla="*/ 1515045 h 2990793"/>
              <a:gd name="connsiteX3" fmla="*/ 101572 w 1699398"/>
              <a:gd name="connsiteY3" fmla="*/ 2947397 h 2990793"/>
              <a:gd name="connsiteX4" fmla="*/ 1424 w 1699398"/>
              <a:gd name="connsiteY4" fmla="*/ 2938996 h 2990793"/>
              <a:gd name="connsiteX5" fmla="*/ 13 w 1699398"/>
              <a:gd name="connsiteY5" fmla="*/ 858319 h 2990793"/>
              <a:gd name="connsiteX0" fmla="*/ 13 w 1699398"/>
              <a:gd name="connsiteY0" fmla="*/ 858319 h 2992199"/>
              <a:gd name="connsiteX1" fmla="*/ 1317137 w 1699398"/>
              <a:gd name="connsiteY1" fmla="*/ 112472 h 2992199"/>
              <a:gd name="connsiteX2" fmla="*/ 1503572 w 1699398"/>
              <a:gd name="connsiteY2" fmla="*/ 1515045 h 2992199"/>
              <a:gd name="connsiteX3" fmla="*/ 101572 w 1699398"/>
              <a:gd name="connsiteY3" fmla="*/ 2947397 h 2992199"/>
              <a:gd name="connsiteX4" fmla="*/ 1424 w 1699398"/>
              <a:gd name="connsiteY4" fmla="*/ 2938996 h 2992199"/>
              <a:gd name="connsiteX5" fmla="*/ 13 w 1699398"/>
              <a:gd name="connsiteY5" fmla="*/ 858319 h 2992199"/>
              <a:gd name="connsiteX0" fmla="*/ 13 w 1701077"/>
              <a:gd name="connsiteY0" fmla="*/ 858319 h 3006121"/>
              <a:gd name="connsiteX1" fmla="*/ 1317137 w 1701077"/>
              <a:gd name="connsiteY1" fmla="*/ 112472 h 3006121"/>
              <a:gd name="connsiteX2" fmla="*/ 1503572 w 1701077"/>
              <a:gd name="connsiteY2" fmla="*/ 1515045 h 3006121"/>
              <a:gd name="connsiteX3" fmla="*/ 74876 w 1701077"/>
              <a:gd name="connsiteY3" fmla="*/ 2974086 h 3006121"/>
              <a:gd name="connsiteX4" fmla="*/ 1424 w 1701077"/>
              <a:gd name="connsiteY4" fmla="*/ 2938996 h 3006121"/>
              <a:gd name="connsiteX5" fmla="*/ 13 w 1701077"/>
              <a:gd name="connsiteY5" fmla="*/ 858319 h 3006121"/>
              <a:gd name="connsiteX0" fmla="*/ 13 w 1701077"/>
              <a:gd name="connsiteY0" fmla="*/ 858319 h 2994525"/>
              <a:gd name="connsiteX1" fmla="*/ 1317137 w 1701077"/>
              <a:gd name="connsiteY1" fmla="*/ 112472 h 2994525"/>
              <a:gd name="connsiteX2" fmla="*/ 1503572 w 1701077"/>
              <a:gd name="connsiteY2" fmla="*/ 1515045 h 2994525"/>
              <a:gd name="connsiteX3" fmla="*/ 74876 w 1701077"/>
              <a:gd name="connsiteY3" fmla="*/ 2974086 h 2994525"/>
              <a:gd name="connsiteX4" fmla="*/ 1424 w 1701077"/>
              <a:gd name="connsiteY4" fmla="*/ 2938996 h 2994525"/>
              <a:gd name="connsiteX5" fmla="*/ 13 w 1701077"/>
              <a:gd name="connsiteY5" fmla="*/ 858319 h 2994525"/>
              <a:gd name="connsiteX0" fmla="*/ 13 w 1761447"/>
              <a:gd name="connsiteY0" fmla="*/ 858319 h 2994525"/>
              <a:gd name="connsiteX1" fmla="*/ 1317137 w 1761447"/>
              <a:gd name="connsiteY1" fmla="*/ 112472 h 2994525"/>
              <a:gd name="connsiteX2" fmla="*/ 1503572 w 1761447"/>
              <a:gd name="connsiteY2" fmla="*/ 1515045 h 2994525"/>
              <a:gd name="connsiteX3" fmla="*/ 74876 w 1761447"/>
              <a:gd name="connsiteY3" fmla="*/ 2974086 h 2994525"/>
              <a:gd name="connsiteX4" fmla="*/ 1424 w 1761447"/>
              <a:gd name="connsiteY4" fmla="*/ 2938996 h 2994525"/>
              <a:gd name="connsiteX5" fmla="*/ 13 w 1761447"/>
              <a:gd name="connsiteY5" fmla="*/ 858319 h 2994525"/>
              <a:gd name="connsiteX0" fmla="*/ 13 w 1753976"/>
              <a:gd name="connsiteY0" fmla="*/ 858319 h 2994525"/>
              <a:gd name="connsiteX1" fmla="*/ 1317137 w 1753976"/>
              <a:gd name="connsiteY1" fmla="*/ 112472 h 2994525"/>
              <a:gd name="connsiteX2" fmla="*/ 1503572 w 1753976"/>
              <a:gd name="connsiteY2" fmla="*/ 1515045 h 2994525"/>
              <a:gd name="connsiteX3" fmla="*/ 74876 w 1753976"/>
              <a:gd name="connsiteY3" fmla="*/ 2974086 h 2994525"/>
              <a:gd name="connsiteX4" fmla="*/ 1424 w 1753976"/>
              <a:gd name="connsiteY4" fmla="*/ 2938996 h 2994525"/>
              <a:gd name="connsiteX5" fmla="*/ 13 w 1753976"/>
              <a:gd name="connsiteY5" fmla="*/ 858319 h 2994525"/>
              <a:gd name="connsiteX0" fmla="*/ 13 w 1753976"/>
              <a:gd name="connsiteY0" fmla="*/ 858319 h 2994525"/>
              <a:gd name="connsiteX1" fmla="*/ 1317137 w 1753976"/>
              <a:gd name="connsiteY1" fmla="*/ 112472 h 2994525"/>
              <a:gd name="connsiteX2" fmla="*/ 1503572 w 1753976"/>
              <a:gd name="connsiteY2" fmla="*/ 1515045 h 2994525"/>
              <a:gd name="connsiteX3" fmla="*/ 74876 w 1753976"/>
              <a:gd name="connsiteY3" fmla="*/ 2974086 h 2994525"/>
              <a:gd name="connsiteX4" fmla="*/ 1424 w 1753976"/>
              <a:gd name="connsiteY4" fmla="*/ 2938996 h 2994525"/>
              <a:gd name="connsiteX5" fmla="*/ 13 w 1753976"/>
              <a:gd name="connsiteY5" fmla="*/ 858319 h 2994525"/>
              <a:gd name="connsiteX0" fmla="*/ 13 w 1753976"/>
              <a:gd name="connsiteY0" fmla="*/ 858319 h 2995168"/>
              <a:gd name="connsiteX1" fmla="*/ 1317137 w 1753976"/>
              <a:gd name="connsiteY1" fmla="*/ 112472 h 2995168"/>
              <a:gd name="connsiteX2" fmla="*/ 1503572 w 1753976"/>
              <a:gd name="connsiteY2" fmla="*/ 1515045 h 2995168"/>
              <a:gd name="connsiteX3" fmla="*/ 74876 w 1753976"/>
              <a:gd name="connsiteY3" fmla="*/ 2974086 h 2995168"/>
              <a:gd name="connsiteX4" fmla="*/ 1424 w 1753976"/>
              <a:gd name="connsiteY4" fmla="*/ 2938996 h 2995168"/>
              <a:gd name="connsiteX5" fmla="*/ 13 w 1753976"/>
              <a:gd name="connsiteY5" fmla="*/ 858319 h 2995168"/>
              <a:gd name="connsiteX0" fmla="*/ 13 w 1753976"/>
              <a:gd name="connsiteY0" fmla="*/ 858319 h 2992234"/>
              <a:gd name="connsiteX1" fmla="*/ 1317137 w 1753976"/>
              <a:gd name="connsiteY1" fmla="*/ 112472 h 2992234"/>
              <a:gd name="connsiteX2" fmla="*/ 1503572 w 1753976"/>
              <a:gd name="connsiteY2" fmla="*/ 1515045 h 2992234"/>
              <a:gd name="connsiteX3" fmla="*/ 74876 w 1753976"/>
              <a:gd name="connsiteY3" fmla="*/ 2974086 h 2992234"/>
              <a:gd name="connsiteX4" fmla="*/ 1424 w 1753976"/>
              <a:gd name="connsiteY4" fmla="*/ 2938996 h 2992234"/>
              <a:gd name="connsiteX5" fmla="*/ 13 w 1753976"/>
              <a:gd name="connsiteY5" fmla="*/ 858319 h 29922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53976" h="2992234">
                <a:moveTo>
                  <a:pt x="13" y="858319"/>
                </a:moveTo>
                <a:cubicBezTo>
                  <a:pt x="-3215" y="318604"/>
                  <a:pt x="626118" y="-245536"/>
                  <a:pt x="1317137" y="112472"/>
                </a:cubicBezTo>
                <a:cubicBezTo>
                  <a:pt x="1885310" y="453554"/>
                  <a:pt x="1845745" y="1161058"/>
                  <a:pt x="1503572" y="1515045"/>
                </a:cubicBezTo>
                <a:cubicBezTo>
                  <a:pt x="1211764" y="1816929"/>
                  <a:pt x="93646" y="2954272"/>
                  <a:pt x="74876" y="2974086"/>
                </a:cubicBezTo>
                <a:cubicBezTo>
                  <a:pt x="56106" y="2993900"/>
                  <a:pt x="3595" y="3013732"/>
                  <a:pt x="1424" y="2938996"/>
                </a:cubicBezTo>
                <a:cubicBezTo>
                  <a:pt x="895" y="2572359"/>
                  <a:pt x="3241" y="1398034"/>
                  <a:pt x="13" y="85831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6010271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medio corazón izquierda fondo verde">
    <p:bg>
      <p:bgPr>
        <a:solidFill>
          <a:srgbClr val="00793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85404" y="1420586"/>
            <a:ext cx="7969288" cy="14712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de-DE" dirty="0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0D456462-B682-AF4E-B6E9-FB1DB12437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85404" y="2892425"/>
            <a:ext cx="7969288" cy="1206046"/>
          </a:xfrm>
          <a:prstGeom prst="rect">
            <a:avLst/>
          </a:prstGeom>
        </p:spPr>
        <p:txBody>
          <a:bodyPr/>
          <a:lstStyle>
            <a:lvl1pPr marL="15875" indent="0">
              <a:buNone/>
              <a:tabLst/>
              <a:defRPr lang="es-ES" sz="3200" b="0" i="0" kern="1200" dirty="0" smtClean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1pPr>
            <a:lvl2pPr>
              <a:buNone/>
              <a:defRPr lang="es-ES" sz="3600" b="1" i="0" kern="1200" dirty="0" smtClean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2pPr>
            <a:lvl3pPr>
              <a:buNone/>
              <a:defRPr lang="es-ES" sz="3600" b="1" i="0" kern="1200" dirty="0" smtClean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3pPr>
            <a:lvl4pPr>
              <a:buNone/>
              <a:defRPr lang="es-ES" sz="3600" b="1" i="0" kern="1200" dirty="0" smtClean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4pPr>
            <a:lvl5pPr>
              <a:buNone/>
              <a:defRPr lang="es-ES_tradnl" sz="3600" b="1" i="0" kern="1200" dirty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</p:txBody>
      </p:sp>
      <p:sp>
        <p:nvSpPr>
          <p:cNvPr id="6" name="Marcador de posición de imagen 3">
            <a:extLst>
              <a:ext uri="{FF2B5EF4-FFF2-40B4-BE49-F238E27FC236}">
                <a16:creationId xmlns:a16="http://schemas.microsoft.com/office/drawing/2014/main" id="{E9833115-4395-B645-92A0-1EF5E1508A6E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-16329" y="391019"/>
            <a:ext cx="3657600" cy="6241555"/>
          </a:xfrm>
          <a:custGeom>
            <a:avLst/>
            <a:gdLst>
              <a:gd name="connsiteX0" fmla="*/ 1726784 w 3453568"/>
              <a:gd name="connsiteY0" fmla="*/ 761850 h 3047398"/>
              <a:gd name="connsiteX1" fmla="*/ 1726784 w 3453568"/>
              <a:gd name="connsiteY1" fmla="*/ 3047398 h 3047398"/>
              <a:gd name="connsiteX2" fmla="*/ 1726784 w 3453568"/>
              <a:gd name="connsiteY2" fmla="*/ 761850 h 3047398"/>
              <a:gd name="connsiteX0" fmla="*/ 323012 w 2062385"/>
              <a:gd name="connsiteY0" fmla="*/ 724098 h 3009646"/>
              <a:gd name="connsiteX1" fmla="*/ 323012 w 2062385"/>
              <a:gd name="connsiteY1" fmla="*/ 3009646 h 3009646"/>
              <a:gd name="connsiteX2" fmla="*/ 323012 w 2062385"/>
              <a:gd name="connsiteY2" fmla="*/ 724098 h 3009646"/>
              <a:gd name="connsiteX0" fmla="*/ 5073 w 1744446"/>
              <a:gd name="connsiteY0" fmla="*/ 724098 h 3009646"/>
              <a:gd name="connsiteX1" fmla="*/ 5073 w 1744446"/>
              <a:gd name="connsiteY1" fmla="*/ 3009646 h 3009646"/>
              <a:gd name="connsiteX2" fmla="*/ 5073 w 1744446"/>
              <a:gd name="connsiteY2" fmla="*/ 724098 h 3009646"/>
              <a:gd name="connsiteX0" fmla="*/ 0 w 1739373"/>
              <a:gd name="connsiteY0" fmla="*/ 724098 h 3009646"/>
              <a:gd name="connsiteX1" fmla="*/ 0 w 1739373"/>
              <a:gd name="connsiteY1" fmla="*/ 3009646 h 3009646"/>
              <a:gd name="connsiteX2" fmla="*/ 0 w 1739373"/>
              <a:gd name="connsiteY2" fmla="*/ 724098 h 3009646"/>
              <a:gd name="connsiteX0" fmla="*/ 0 w 1741571"/>
              <a:gd name="connsiteY0" fmla="*/ 741338 h 2941161"/>
              <a:gd name="connsiteX1" fmla="*/ 3175 w 1741571"/>
              <a:gd name="connsiteY1" fmla="*/ 2941161 h 2941161"/>
              <a:gd name="connsiteX2" fmla="*/ 0 w 1741571"/>
              <a:gd name="connsiteY2" fmla="*/ 741338 h 2941161"/>
              <a:gd name="connsiteX0" fmla="*/ 0 w 1662955"/>
              <a:gd name="connsiteY0" fmla="*/ 770826 h 2970649"/>
              <a:gd name="connsiteX1" fmla="*/ 3175 w 1662955"/>
              <a:gd name="connsiteY1" fmla="*/ 2970649 h 2970649"/>
              <a:gd name="connsiteX2" fmla="*/ 0 w 1662955"/>
              <a:gd name="connsiteY2" fmla="*/ 770826 h 2970649"/>
              <a:gd name="connsiteX0" fmla="*/ 0 w 1754580"/>
              <a:gd name="connsiteY0" fmla="*/ 790877 h 2990700"/>
              <a:gd name="connsiteX1" fmla="*/ 3175 w 1754580"/>
              <a:gd name="connsiteY1" fmla="*/ 2990700 h 2990700"/>
              <a:gd name="connsiteX2" fmla="*/ 0 w 1754580"/>
              <a:gd name="connsiteY2" fmla="*/ 790877 h 2990700"/>
              <a:gd name="connsiteX0" fmla="*/ 46 w 1754626"/>
              <a:gd name="connsiteY0" fmla="*/ 790877 h 3268319"/>
              <a:gd name="connsiteX1" fmla="*/ 3221 w 1754626"/>
              <a:gd name="connsiteY1" fmla="*/ 2990700 h 3268319"/>
              <a:gd name="connsiteX2" fmla="*/ 1457 w 1754626"/>
              <a:gd name="connsiteY2" fmla="*/ 2995379 h 3268319"/>
              <a:gd name="connsiteX3" fmla="*/ 46 w 1754626"/>
              <a:gd name="connsiteY3" fmla="*/ 790877 h 3268319"/>
              <a:gd name="connsiteX0" fmla="*/ 46 w 2123706"/>
              <a:gd name="connsiteY0" fmla="*/ 879416 h 3232836"/>
              <a:gd name="connsiteX1" fmla="*/ 504333 w 2123706"/>
              <a:gd name="connsiteY1" fmla="*/ 2702113 h 3232836"/>
              <a:gd name="connsiteX2" fmla="*/ 1457 w 2123706"/>
              <a:gd name="connsiteY2" fmla="*/ 3083918 h 3232836"/>
              <a:gd name="connsiteX3" fmla="*/ 46 w 2123706"/>
              <a:gd name="connsiteY3" fmla="*/ 879416 h 3232836"/>
              <a:gd name="connsiteX0" fmla="*/ 46 w 1814106"/>
              <a:gd name="connsiteY0" fmla="*/ 793104 h 3265479"/>
              <a:gd name="connsiteX1" fmla="*/ 85878 w 1814106"/>
              <a:gd name="connsiteY1" fmla="*/ 2982594 h 3265479"/>
              <a:gd name="connsiteX2" fmla="*/ 1457 w 1814106"/>
              <a:gd name="connsiteY2" fmla="*/ 2997606 h 3265479"/>
              <a:gd name="connsiteX3" fmla="*/ 46 w 1814106"/>
              <a:gd name="connsiteY3" fmla="*/ 793104 h 3265479"/>
              <a:gd name="connsiteX0" fmla="*/ 46 w 1814106"/>
              <a:gd name="connsiteY0" fmla="*/ 793104 h 3237717"/>
              <a:gd name="connsiteX1" fmla="*/ 85878 w 1814106"/>
              <a:gd name="connsiteY1" fmla="*/ 2982594 h 3237717"/>
              <a:gd name="connsiteX2" fmla="*/ 1457 w 1814106"/>
              <a:gd name="connsiteY2" fmla="*/ 2940456 h 3237717"/>
              <a:gd name="connsiteX3" fmla="*/ 46 w 1814106"/>
              <a:gd name="connsiteY3" fmla="*/ 793104 h 3237717"/>
              <a:gd name="connsiteX0" fmla="*/ 46 w 1766081"/>
              <a:gd name="connsiteY0" fmla="*/ 801401 h 3226052"/>
              <a:gd name="connsiteX1" fmla="*/ 19203 w 1766081"/>
              <a:gd name="connsiteY1" fmla="*/ 2952791 h 3226052"/>
              <a:gd name="connsiteX2" fmla="*/ 1457 w 1766081"/>
              <a:gd name="connsiteY2" fmla="*/ 2948753 h 3226052"/>
              <a:gd name="connsiteX3" fmla="*/ 46 w 1766081"/>
              <a:gd name="connsiteY3" fmla="*/ 801401 h 3226052"/>
              <a:gd name="connsiteX0" fmla="*/ 46 w 1825596"/>
              <a:gd name="connsiteY0" fmla="*/ 800705 h 3226963"/>
              <a:gd name="connsiteX1" fmla="*/ 101753 w 1825596"/>
              <a:gd name="connsiteY1" fmla="*/ 2955270 h 3226963"/>
              <a:gd name="connsiteX2" fmla="*/ 1457 w 1825596"/>
              <a:gd name="connsiteY2" fmla="*/ 2948057 h 3226963"/>
              <a:gd name="connsiteX3" fmla="*/ 46 w 1825596"/>
              <a:gd name="connsiteY3" fmla="*/ 800705 h 3226963"/>
              <a:gd name="connsiteX0" fmla="*/ 46 w 1825596"/>
              <a:gd name="connsiteY0" fmla="*/ 800705 h 3113418"/>
              <a:gd name="connsiteX1" fmla="*/ 101753 w 1825596"/>
              <a:gd name="connsiteY1" fmla="*/ 2955270 h 3113418"/>
              <a:gd name="connsiteX2" fmla="*/ 1457 w 1825596"/>
              <a:gd name="connsiteY2" fmla="*/ 2948057 h 3113418"/>
              <a:gd name="connsiteX3" fmla="*/ 46 w 1825596"/>
              <a:gd name="connsiteY3" fmla="*/ 800705 h 3113418"/>
              <a:gd name="connsiteX0" fmla="*/ 46 w 1825596"/>
              <a:gd name="connsiteY0" fmla="*/ 801401 h 3113272"/>
              <a:gd name="connsiteX1" fmla="*/ 101753 w 1825596"/>
              <a:gd name="connsiteY1" fmla="*/ 2952791 h 3113272"/>
              <a:gd name="connsiteX2" fmla="*/ 1457 w 1825596"/>
              <a:gd name="connsiteY2" fmla="*/ 2948753 h 3113272"/>
              <a:gd name="connsiteX3" fmla="*/ 46 w 1825596"/>
              <a:gd name="connsiteY3" fmla="*/ 801401 h 3113272"/>
              <a:gd name="connsiteX0" fmla="*/ 46 w 1825596"/>
              <a:gd name="connsiteY0" fmla="*/ 801401 h 2999004"/>
              <a:gd name="connsiteX1" fmla="*/ 101753 w 1825596"/>
              <a:gd name="connsiteY1" fmla="*/ 2952791 h 2999004"/>
              <a:gd name="connsiteX2" fmla="*/ 1457 w 1825596"/>
              <a:gd name="connsiteY2" fmla="*/ 2948753 h 2999004"/>
              <a:gd name="connsiteX3" fmla="*/ 46 w 1825596"/>
              <a:gd name="connsiteY3" fmla="*/ 801401 h 2999004"/>
              <a:gd name="connsiteX0" fmla="*/ 46 w 1825596"/>
              <a:gd name="connsiteY0" fmla="*/ 801401 h 3003762"/>
              <a:gd name="connsiteX1" fmla="*/ 101753 w 1825596"/>
              <a:gd name="connsiteY1" fmla="*/ 2952791 h 3003762"/>
              <a:gd name="connsiteX2" fmla="*/ 1457 w 1825596"/>
              <a:gd name="connsiteY2" fmla="*/ 2948753 h 3003762"/>
              <a:gd name="connsiteX3" fmla="*/ 46 w 1825596"/>
              <a:gd name="connsiteY3" fmla="*/ 801401 h 3003762"/>
              <a:gd name="connsiteX0" fmla="*/ 46 w 1751080"/>
              <a:gd name="connsiteY0" fmla="*/ 791490 h 2993851"/>
              <a:gd name="connsiteX1" fmla="*/ 101753 w 1751080"/>
              <a:gd name="connsiteY1" fmla="*/ 2942880 h 2993851"/>
              <a:gd name="connsiteX2" fmla="*/ 1457 w 1751080"/>
              <a:gd name="connsiteY2" fmla="*/ 2938842 h 2993851"/>
              <a:gd name="connsiteX3" fmla="*/ 46 w 1751080"/>
              <a:gd name="connsiteY3" fmla="*/ 791490 h 2993851"/>
              <a:gd name="connsiteX0" fmla="*/ 46 w 1754103"/>
              <a:gd name="connsiteY0" fmla="*/ 794198 h 2992817"/>
              <a:gd name="connsiteX1" fmla="*/ 105929 w 1754103"/>
              <a:gd name="connsiteY1" fmla="*/ 2933062 h 2992817"/>
              <a:gd name="connsiteX2" fmla="*/ 1457 w 1754103"/>
              <a:gd name="connsiteY2" fmla="*/ 2941550 h 2992817"/>
              <a:gd name="connsiteX3" fmla="*/ 46 w 1754103"/>
              <a:gd name="connsiteY3" fmla="*/ 794198 h 2992817"/>
              <a:gd name="connsiteX0" fmla="*/ 46 w 1754103"/>
              <a:gd name="connsiteY0" fmla="*/ 794198 h 3092665"/>
              <a:gd name="connsiteX1" fmla="*/ 105929 w 1754103"/>
              <a:gd name="connsiteY1" fmla="*/ 2933062 h 3092665"/>
              <a:gd name="connsiteX2" fmla="*/ 112493 w 1754103"/>
              <a:gd name="connsiteY2" fmla="*/ 2916042 h 3092665"/>
              <a:gd name="connsiteX3" fmla="*/ 1457 w 1754103"/>
              <a:gd name="connsiteY3" fmla="*/ 2941550 h 3092665"/>
              <a:gd name="connsiteX4" fmla="*/ 46 w 1754103"/>
              <a:gd name="connsiteY4" fmla="*/ 794198 h 3092665"/>
              <a:gd name="connsiteX0" fmla="*/ 46 w 1754103"/>
              <a:gd name="connsiteY0" fmla="*/ 794198 h 3137950"/>
              <a:gd name="connsiteX1" fmla="*/ 105929 w 1754103"/>
              <a:gd name="connsiteY1" fmla="*/ 2933062 h 3137950"/>
              <a:gd name="connsiteX2" fmla="*/ 49862 w 1754103"/>
              <a:gd name="connsiteY2" fmla="*/ 3062179 h 3137950"/>
              <a:gd name="connsiteX3" fmla="*/ 1457 w 1754103"/>
              <a:gd name="connsiteY3" fmla="*/ 2941550 h 3137950"/>
              <a:gd name="connsiteX4" fmla="*/ 46 w 1754103"/>
              <a:gd name="connsiteY4" fmla="*/ 794198 h 3137950"/>
              <a:gd name="connsiteX0" fmla="*/ 46 w 1947503"/>
              <a:gd name="connsiteY0" fmla="*/ 855901 h 3199653"/>
              <a:gd name="connsiteX1" fmla="*/ 368976 w 1947503"/>
              <a:gd name="connsiteY1" fmla="*/ 2727543 h 3199653"/>
              <a:gd name="connsiteX2" fmla="*/ 49862 w 1947503"/>
              <a:gd name="connsiteY2" fmla="*/ 3123882 h 3199653"/>
              <a:gd name="connsiteX3" fmla="*/ 1457 w 1947503"/>
              <a:gd name="connsiteY3" fmla="*/ 3003253 h 3199653"/>
              <a:gd name="connsiteX4" fmla="*/ 46 w 1947503"/>
              <a:gd name="connsiteY4" fmla="*/ 855901 h 3199653"/>
              <a:gd name="connsiteX0" fmla="*/ 46 w 1947503"/>
              <a:gd name="connsiteY0" fmla="*/ 855901 h 3157433"/>
              <a:gd name="connsiteX1" fmla="*/ 368976 w 1947503"/>
              <a:gd name="connsiteY1" fmla="*/ 2727543 h 3157433"/>
              <a:gd name="connsiteX2" fmla="*/ 125018 w 1947503"/>
              <a:gd name="connsiteY2" fmla="*/ 2990271 h 3157433"/>
              <a:gd name="connsiteX3" fmla="*/ 1457 w 1947503"/>
              <a:gd name="connsiteY3" fmla="*/ 3003253 h 3157433"/>
              <a:gd name="connsiteX4" fmla="*/ 46 w 1947503"/>
              <a:gd name="connsiteY4" fmla="*/ 855901 h 3157433"/>
              <a:gd name="connsiteX0" fmla="*/ 46 w 1947503"/>
              <a:gd name="connsiteY0" fmla="*/ 855901 h 3166659"/>
              <a:gd name="connsiteX1" fmla="*/ 368976 w 1947503"/>
              <a:gd name="connsiteY1" fmla="*/ 2727543 h 3166659"/>
              <a:gd name="connsiteX2" fmla="*/ 96443 w 1947503"/>
              <a:gd name="connsiteY2" fmla="*/ 3025196 h 3166659"/>
              <a:gd name="connsiteX3" fmla="*/ 1457 w 1947503"/>
              <a:gd name="connsiteY3" fmla="*/ 3003253 h 3166659"/>
              <a:gd name="connsiteX4" fmla="*/ 46 w 1947503"/>
              <a:gd name="connsiteY4" fmla="*/ 855901 h 3166659"/>
              <a:gd name="connsiteX0" fmla="*/ 46 w 1947503"/>
              <a:gd name="connsiteY0" fmla="*/ 855901 h 3154564"/>
              <a:gd name="connsiteX1" fmla="*/ 368976 w 1947503"/>
              <a:gd name="connsiteY1" fmla="*/ 2727543 h 3154564"/>
              <a:gd name="connsiteX2" fmla="*/ 96443 w 1947503"/>
              <a:gd name="connsiteY2" fmla="*/ 3025196 h 3154564"/>
              <a:gd name="connsiteX3" fmla="*/ 1457 w 1947503"/>
              <a:gd name="connsiteY3" fmla="*/ 3003253 h 3154564"/>
              <a:gd name="connsiteX4" fmla="*/ 46 w 1947503"/>
              <a:gd name="connsiteY4" fmla="*/ 855901 h 3154564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63511"/>
              <a:gd name="connsiteX1" fmla="*/ 368976 w 1947503"/>
              <a:gd name="connsiteY1" fmla="*/ 2727543 h 3063511"/>
              <a:gd name="connsiteX2" fmla="*/ 96443 w 1947503"/>
              <a:gd name="connsiteY2" fmla="*/ 3025196 h 3063511"/>
              <a:gd name="connsiteX3" fmla="*/ 1457 w 1947503"/>
              <a:gd name="connsiteY3" fmla="*/ 3003253 h 3063511"/>
              <a:gd name="connsiteX4" fmla="*/ 46 w 1947503"/>
              <a:gd name="connsiteY4" fmla="*/ 855901 h 3063511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947503"/>
              <a:gd name="connsiteY0" fmla="*/ 855901 h 3056008"/>
              <a:gd name="connsiteX1" fmla="*/ 368976 w 1947503"/>
              <a:gd name="connsiteY1" fmla="*/ 2727543 h 3056008"/>
              <a:gd name="connsiteX2" fmla="*/ 96443 w 1947503"/>
              <a:gd name="connsiteY2" fmla="*/ 3025196 h 3056008"/>
              <a:gd name="connsiteX3" fmla="*/ 1457 w 1947503"/>
              <a:gd name="connsiteY3" fmla="*/ 3003253 h 3056008"/>
              <a:gd name="connsiteX4" fmla="*/ 46 w 1947503"/>
              <a:gd name="connsiteY4" fmla="*/ 855901 h 3056008"/>
              <a:gd name="connsiteX0" fmla="*/ 46 w 1748161"/>
              <a:gd name="connsiteY0" fmla="*/ 802155 h 3002262"/>
              <a:gd name="connsiteX1" fmla="*/ 368976 w 1748161"/>
              <a:gd name="connsiteY1" fmla="*/ 2673797 h 3002262"/>
              <a:gd name="connsiteX2" fmla="*/ 96443 w 1748161"/>
              <a:gd name="connsiteY2" fmla="*/ 2971450 h 3002262"/>
              <a:gd name="connsiteX3" fmla="*/ 1457 w 1748161"/>
              <a:gd name="connsiteY3" fmla="*/ 2949507 h 3002262"/>
              <a:gd name="connsiteX4" fmla="*/ 46 w 1748161"/>
              <a:gd name="connsiteY4" fmla="*/ 802155 h 3002262"/>
              <a:gd name="connsiteX0" fmla="*/ 46 w 1748161"/>
              <a:gd name="connsiteY0" fmla="*/ 802155 h 3002262"/>
              <a:gd name="connsiteX1" fmla="*/ 368976 w 1748161"/>
              <a:gd name="connsiteY1" fmla="*/ 2673797 h 3002262"/>
              <a:gd name="connsiteX2" fmla="*/ 96443 w 1748161"/>
              <a:gd name="connsiteY2" fmla="*/ 2971450 h 3002262"/>
              <a:gd name="connsiteX3" fmla="*/ 1457 w 1748161"/>
              <a:gd name="connsiteY3" fmla="*/ 2949507 h 3002262"/>
              <a:gd name="connsiteX4" fmla="*/ 46 w 1748161"/>
              <a:gd name="connsiteY4" fmla="*/ 802155 h 3002262"/>
              <a:gd name="connsiteX0" fmla="*/ 46 w 1752318"/>
              <a:gd name="connsiteY0" fmla="*/ 788682 h 2988789"/>
              <a:gd name="connsiteX1" fmla="*/ 368976 w 1752318"/>
              <a:gd name="connsiteY1" fmla="*/ 2660324 h 2988789"/>
              <a:gd name="connsiteX2" fmla="*/ 96443 w 1752318"/>
              <a:gd name="connsiteY2" fmla="*/ 2957977 h 2988789"/>
              <a:gd name="connsiteX3" fmla="*/ 1457 w 1752318"/>
              <a:gd name="connsiteY3" fmla="*/ 2936034 h 2988789"/>
              <a:gd name="connsiteX4" fmla="*/ 46 w 1752318"/>
              <a:gd name="connsiteY4" fmla="*/ 788682 h 2988789"/>
              <a:gd name="connsiteX0" fmla="*/ 46 w 1749822"/>
              <a:gd name="connsiteY0" fmla="*/ 793733 h 2993840"/>
              <a:gd name="connsiteX1" fmla="*/ 368976 w 1749822"/>
              <a:gd name="connsiteY1" fmla="*/ 2665375 h 2993840"/>
              <a:gd name="connsiteX2" fmla="*/ 96443 w 1749822"/>
              <a:gd name="connsiteY2" fmla="*/ 2963028 h 2993840"/>
              <a:gd name="connsiteX3" fmla="*/ 1457 w 1749822"/>
              <a:gd name="connsiteY3" fmla="*/ 2941085 h 2993840"/>
              <a:gd name="connsiteX4" fmla="*/ 46 w 1749822"/>
              <a:gd name="connsiteY4" fmla="*/ 793733 h 2993840"/>
              <a:gd name="connsiteX0" fmla="*/ 46 w 1749822"/>
              <a:gd name="connsiteY0" fmla="*/ 793733 h 2993840"/>
              <a:gd name="connsiteX1" fmla="*/ 368976 w 1749822"/>
              <a:gd name="connsiteY1" fmla="*/ 2665375 h 2993840"/>
              <a:gd name="connsiteX2" fmla="*/ 96443 w 1749822"/>
              <a:gd name="connsiteY2" fmla="*/ 2963028 h 2993840"/>
              <a:gd name="connsiteX3" fmla="*/ 1457 w 1749822"/>
              <a:gd name="connsiteY3" fmla="*/ 2941085 h 2993840"/>
              <a:gd name="connsiteX4" fmla="*/ 46 w 1749822"/>
              <a:gd name="connsiteY4" fmla="*/ 793733 h 2993840"/>
              <a:gd name="connsiteX0" fmla="*/ 46 w 404090"/>
              <a:gd name="connsiteY0" fmla="*/ 516228 h 2716335"/>
              <a:gd name="connsiteX1" fmla="*/ 368976 w 404090"/>
              <a:gd name="connsiteY1" fmla="*/ 2387870 h 2716335"/>
              <a:gd name="connsiteX2" fmla="*/ 96443 w 404090"/>
              <a:gd name="connsiteY2" fmla="*/ 2685523 h 2716335"/>
              <a:gd name="connsiteX3" fmla="*/ 1457 w 404090"/>
              <a:gd name="connsiteY3" fmla="*/ 2663580 h 2716335"/>
              <a:gd name="connsiteX4" fmla="*/ 46 w 404090"/>
              <a:gd name="connsiteY4" fmla="*/ 516228 h 2716335"/>
              <a:gd name="connsiteX0" fmla="*/ 777284 w 2211803"/>
              <a:gd name="connsiteY0" fmla="*/ 744448 h 3507127"/>
              <a:gd name="connsiteX1" fmla="*/ 1146214 w 2211803"/>
              <a:gd name="connsiteY1" fmla="*/ 2616090 h 3507127"/>
              <a:gd name="connsiteX2" fmla="*/ 873681 w 2211803"/>
              <a:gd name="connsiteY2" fmla="*/ 2913743 h 3507127"/>
              <a:gd name="connsiteX3" fmla="*/ 778695 w 2211803"/>
              <a:gd name="connsiteY3" fmla="*/ 2891800 h 3507127"/>
              <a:gd name="connsiteX4" fmla="*/ 777284 w 2211803"/>
              <a:gd name="connsiteY4" fmla="*/ 744448 h 3507127"/>
              <a:gd name="connsiteX0" fmla="*/ 1076399 w 2811144"/>
              <a:gd name="connsiteY0" fmla="*/ 804551 h 3708291"/>
              <a:gd name="connsiteX1" fmla="*/ 1445329 w 2811144"/>
              <a:gd name="connsiteY1" fmla="*/ 2676193 h 3708291"/>
              <a:gd name="connsiteX2" fmla="*/ 1172796 w 2811144"/>
              <a:gd name="connsiteY2" fmla="*/ 2973846 h 3708291"/>
              <a:gd name="connsiteX3" fmla="*/ 1077810 w 2811144"/>
              <a:gd name="connsiteY3" fmla="*/ 2951903 h 3708291"/>
              <a:gd name="connsiteX4" fmla="*/ 1076399 w 2811144"/>
              <a:gd name="connsiteY4" fmla="*/ 804551 h 3708291"/>
              <a:gd name="connsiteX0" fmla="*/ 47 w 399202"/>
              <a:gd name="connsiteY0" fmla="*/ 512681 h 2712788"/>
              <a:gd name="connsiteX1" fmla="*/ 368977 w 399202"/>
              <a:gd name="connsiteY1" fmla="*/ 2384323 h 2712788"/>
              <a:gd name="connsiteX2" fmla="*/ 96444 w 399202"/>
              <a:gd name="connsiteY2" fmla="*/ 2681976 h 2712788"/>
              <a:gd name="connsiteX3" fmla="*/ 1458 w 399202"/>
              <a:gd name="connsiteY3" fmla="*/ 2660033 h 2712788"/>
              <a:gd name="connsiteX4" fmla="*/ 47 w 399202"/>
              <a:gd name="connsiteY4" fmla="*/ 512681 h 2712788"/>
              <a:gd name="connsiteX0" fmla="*/ 47 w 544902"/>
              <a:gd name="connsiteY0" fmla="*/ 553542 h 2753649"/>
              <a:gd name="connsiteX1" fmla="*/ 368977 w 544902"/>
              <a:gd name="connsiteY1" fmla="*/ 2425184 h 2753649"/>
              <a:gd name="connsiteX2" fmla="*/ 96444 w 544902"/>
              <a:gd name="connsiteY2" fmla="*/ 2722837 h 2753649"/>
              <a:gd name="connsiteX3" fmla="*/ 1458 w 544902"/>
              <a:gd name="connsiteY3" fmla="*/ 2700894 h 2753649"/>
              <a:gd name="connsiteX4" fmla="*/ 47 w 544902"/>
              <a:gd name="connsiteY4" fmla="*/ 553542 h 2753649"/>
              <a:gd name="connsiteX0" fmla="*/ 736083 w 2129194"/>
              <a:gd name="connsiteY0" fmla="*/ 737259 h 3482022"/>
              <a:gd name="connsiteX1" fmla="*/ 1105013 w 2129194"/>
              <a:gd name="connsiteY1" fmla="*/ 2608901 h 3482022"/>
              <a:gd name="connsiteX2" fmla="*/ 832480 w 2129194"/>
              <a:gd name="connsiteY2" fmla="*/ 2906554 h 3482022"/>
              <a:gd name="connsiteX3" fmla="*/ 737494 w 2129194"/>
              <a:gd name="connsiteY3" fmla="*/ 2884611 h 3482022"/>
              <a:gd name="connsiteX4" fmla="*/ 736083 w 2129194"/>
              <a:gd name="connsiteY4" fmla="*/ 737259 h 3482022"/>
              <a:gd name="connsiteX0" fmla="*/ 47 w 511420"/>
              <a:gd name="connsiteY0" fmla="*/ 531224 h 2731331"/>
              <a:gd name="connsiteX1" fmla="*/ 368977 w 511420"/>
              <a:gd name="connsiteY1" fmla="*/ 2402866 h 2731331"/>
              <a:gd name="connsiteX2" fmla="*/ 96444 w 511420"/>
              <a:gd name="connsiteY2" fmla="*/ 2700519 h 2731331"/>
              <a:gd name="connsiteX3" fmla="*/ 1458 w 511420"/>
              <a:gd name="connsiteY3" fmla="*/ 2678576 h 2731331"/>
              <a:gd name="connsiteX4" fmla="*/ 47 w 511420"/>
              <a:gd name="connsiteY4" fmla="*/ 531224 h 2731331"/>
              <a:gd name="connsiteX0" fmla="*/ 47 w 730958"/>
              <a:gd name="connsiteY0" fmla="*/ 555697 h 2755804"/>
              <a:gd name="connsiteX1" fmla="*/ 631066 w 730958"/>
              <a:gd name="connsiteY1" fmla="*/ 2217668 h 2755804"/>
              <a:gd name="connsiteX2" fmla="*/ 96444 w 730958"/>
              <a:gd name="connsiteY2" fmla="*/ 2724992 h 2755804"/>
              <a:gd name="connsiteX3" fmla="*/ 1458 w 730958"/>
              <a:gd name="connsiteY3" fmla="*/ 2703049 h 2755804"/>
              <a:gd name="connsiteX4" fmla="*/ 47 w 730958"/>
              <a:gd name="connsiteY4" fmla="*/ 555697 h 2755804"/>
              <a:gd name="connsiteX0" fmla="*/ 47 w 928515"/>
              <a:gd name="connsiteY0" fmla="*/ 653539 h 2950202"/>
              <a:gd name="connsiteX1" fmla="*/ 631066 w 928515"/>
              <a:gd name="connsiteY1" fmla="*/ 2315510 h 2950202"/>
              <a:gd name="connsiteX2" fmla="*/ 96444 w 928515"/>
              <a:gd name="connsiteY2" fmla="*/ 2822834 h 2950202"/>
              <a:gd name="connsiteX3" fmla="*/ 1458 w 928515"/>
              <a:gd name="connsiteY3" fmla="*/ 2800891 h 2950202"/>
              <a:gd name="connsiteX4" fmla="*/ 47 w 928515"/>
              <a:gd name="connsiteY4" fmla="*/ 653539 h 2950202"/>
              <a:gd name="connsiteX0" fmla="*/ 705076 w 2447495"/>
              <a:gd name="connsiteY0" fmla="*/ 796906 h 3438718"/>
              <a:gd name="connsiteX1" fmla="*/ 1336095 w 2447495"/>
              <a:gd name="connsiteY1" fmla="*/ 2458877 h 3438718"/>
              <a:gd name="connsiteX2" fmla="*/ 801473 w 2447495"/>
              <a:gd name="connsiteY2" fmla="*/ 2966201 h 3438718"/>
              <a:gd name="connsiteX3" fmla="*/ 706487 w 2447495"/>
              <a:gd name="connsiteY3" fmla="*/ 2944258 h 3438718"/>
              <a:gd name="connsiteX4" fmla="*/ 705076 w 2447495"/>
              <a:gd name="connsiteY4" fmla="*/ 796906 h 3438718"/>
              <a:gd name="connsiteX0" fmla="*/ 750894 w 2539724"/>
              <a:gd name="connsiteY0" fmla="*/ 791191 h 3420519"/>
              <a:gd name="connsiteX1" fmla="*/ 1381913 w 2539724"/>
              <a:gd name="connsiteY1" fmla="*/ 2453162 h 3420519"/>
              <a:gd name="connsiteX2" fmla="*/ 847291 w 2539724"/>
              <a:gd name="connsiteY2" fmla="*/ 2960486 h 3420519"/>
              <a:gd name="connsiteX3" fmla="*/ 752305 w 2539724"/>
              <a:gd name="connsiteY3" fmla="*/ 2938543 h 3420519"/>
              <a:gd name="connsiteX4" fmla="*/ 750894 w 2539724"/>
              <a:gd name="connsiteY4" fmla="*/ 791191 h 3420519"/>
              <a:gd name="connsiteX0" fmla="*/ 738161 w 2514098"/>
              <a:gd name="connsiteY0" fmla="*/ 798057 h 3442368"/>
              <a:gd name="connsiteX1" fmla="*/ 1369180 w 2514098"/>
              <a:gd name="connsiteY1" fmla="*/ 2460028 h 3442368"/>
              <a:gd name="connsiteX2" fmla="*/ 834558 w 2514098"/>
              <a:gd name="connsiteY2" fmla="*/ 2967352 h 3442368"/>
              <a:gd name="connsiteX3" fmla="*/ 739572 w 2514098"/>
              <a:gd name="connsiteY3" fmla="*/ 2945409 h 3442368"/>
              <a:gd name="connsiteX4" fmla="*/ 738161 w 2514098"/>
              <a:gd name="connsiteY4" fmla="*/ 798057 h 3442368"/>
              <a:gd name="connsiteX0" fmla="*/ 722887 w 2483353"/>
              <a:gd name="connsiteY0" fmla="*/ 798057 h 3442368"/>
              <a:gd name="connsiteX1" fmla="*/ 1353906 w 2483353"/>
              <a:gd name="connsiteY1" fmla="*/ 2460028 h 3442368"/>
              <a:gd name="connsiteX2" fmla="*/ 819284 w 2483353"/>
              <a:gd name="connsiteY2" fmla="*/ 2967352 h 3442368"/>
              <a:gd name="connsiteX3" fmla="*/ 724298 w 2483353"/>
              <a:gd name="connsiteY3" fmla="*/ 2945409 h 3442368"/>
              <a:gd name="connsiteX4" fmla="*/ 722887 w 2483353"/>
              <a:gd name="connsiteY4" fmla="*/ 798057 h 3442368"/>
              <a:gd name="connsiteX0" fmla="*/ 395918 w 2572118"/>
              <a:gd name="connsiteY0" fmla="*/ 953184 h 3278390"/>
              <a:gd name="connsiteX1" fmla="*/ 1551115 w 2572118"/>
              <a:gd name="connsiteY1" fmla="*/ 2026911 h 3278390"/>
              <a:gd name="connsiteX2" fmla="*/ 492315 w 2572118"/>
              <a:gd name="connsiteY2" fmla="*/ 3122479 h 3278390"/>
              <a:gd name="connsiteX3" fmla="*/ 397329 w 2572118"/>
              <a:gd name="connsiteY3" fmla="*/ 3100536 h 3278390"/>
              <a:gd name="connsiteX4" fmla="*/ 395918 w 2572118"/>
              <a:gd name="connsiteY4" fmla="*/ 953184 h 3278390"/>
              <a:gd name="connsiteX0" fmla="*/ 30230 w 1788185"/>
              <a:gd name="connsiteY0" fmla="*/ 831274 h 3031381"/>
              <a:gd name="connsiteX1" fmla="*/ 1185427 w 1788185"/>
              <a:gd name="connsiteY1" fmla="*/ 1905001 h 3031381"/>
              <a:gd name="connsiteX2" fmla="*/ 126627 w 1788185"/>
              <a:gd name="connsiteY2" fmla="*/ 3000569 h 3031381"/>
              <a:gd name="connsiteX3" fmla="*/ 31641 w 1788185"/>
              <a:gd name="connsiteY3" fmla="*/ 2978626 h 3031381"/>
              <a:gd name="connsiteX4" fmla="*/ 30230 w 1788185"/>
              <a:gd name="connsiteY4" fmla="*/ 831274 h 3031381"/>
              <a:gd name="connsiteX0" fmla="*/ 47 w 1256820"/>
              <a:gd name="connsiteY0" fmla="*/ 681223 h 2881330"/>
              <a:gd name="connsiteX1" fmla="*/ 1155244 w 1256820"/>
              <a:gd name="connsiteY1" fmla="*/ 1754950 h 2881330"/>
              <a:gd name="connsiteX2" fmla="*/ 96444 w 1256820"/>
              <a:gd name="connsiteY2" fmla="*/ 2850518 h 2881330"/>
              <a:gd name="connsiteX3" fmla="*/ 1458 w 1256820"/>
              <a:gd name="connsiteY3" fmla="*/ 2828575 h 2881330"/>
              <a:gd name="connsiteX4" fmla="*/ 47 w 1256820"/>
              <a:gd name="connsiteY4" fmla="*/ 681223 h 2881330"/>
              <a:gd name="connsiteX0" fmla="*/ 47 w 1256820"/>
              <a:gd name="connsiteY0" fmla="*/ 681223 h 2881330"/>
              <a:gd name="connsiteX1" fmla="*/ 1155244 w 1256820"/>
              <a:gd name="connsiteY1" fmla="*/ 1754950 h 2881330"/>
              <a:gd name="connsiteX2" fmla="*/ 96444 w 1256820"/>
              <a:gd name="connsiteY2" fmla="*/ 2850518 h 2881330"/>
              <a:gd name="connsiteX3" fmla="*/ 1458 w 1256820"/>
              <a:gd name="connsiteY3" fmla="*/ 2828575 h 2881330"/>
              <a:gd name="connsiteX4" fmla="*/ 47 w 1256820"/>
              <a:gd name="connsiteY4" fmla="*/ 681223 h 2881330"/>
              <a:gd name="connsiteX0" fmla="*/ 47 w 1760471"/>
              <a:gd name="connsiteY0" fmla="*/ 813967 h 3014074"/>
              <a:gd name="connsiteX1" fmla="*/ 1155244 w 1760471"/>
              <a:gd name="connsiteY1" fmla="*/ 1887694 h 3014074"/>
              <a:gd name="connsiteX2" fmla="*/ 96444 w 1760471"/>
              <a:gd name="connsiteY2" fmla="*/ 2983262 h 3014074"/>
              <a:gd name="connsiteX3" fmla="*/ 1458 w 1760471"/>
              <a:gd name="connsiteY3" fmla="*/ 2961319 h 3014074"/>
              <a:gd name="connsiteX4" fmla="*/ 47 w 1760471"/>
              <a:gd name="connsiteY4" fmla="*/ 813967 h 3014074"/>
              <a:gd name="connsiteX0" fmla="*/ 47 w 1675680"/>
              <a:gd name="connsiteY0" fmla="*/ 865670 h 3065777"/>
              <a:gd name="connsiteX1" fmla="*/ 1155244 w 1675680"/>
              <a:gd name="connsiteY1" fmla="*/ 1939397 h 3065777"/>
              <a:gd name="connsiteX2" fmla="*/ 96444 w 1675680"/>
              <a:gd name="connsiteY2" fmla="*/ 3034965 h 3065777"/>
              <a:gd name="connsiteX3" fmla="*/ 1458 w 1675680"/>
              <a:gd name="connsiteY3" fmla="*/ 3013022 h 3065777"/>
              <a:gd name="connsiteX4" fmla="*/ 47 w 1675680"/>
              <a:gd name="connsiteY4" fmla="*/ 865670 h 3065777"/>
              <a:gd name="connsiteX0" fmla="*/ 47 w 1754273"/>
              <a:gd name="connsiteY0" fmla="*/ 834667 h 3034774"/>
              <a:gd name="connsiteX1" fmla="*/ 1155244 w 1754273"/>
              <a:gd name="connsiteY1" fmla="*/ 1908394 h 3034774"/>
              <a:gd name="connsiteX2" fmla="*/ 96444 w 1754273"/>
              <a:gd name="connsiteY2" fmla="*/ 3003962 h 3034774"/>
              <a:gd name="connsiteX3" fmla="*/ 1458 w 1754273"/>
              <a:gd name="connsiteY3" fmla="*/ 2982019 h 3034774"/>
              <a:gd name="connsiteX4" fmla="*/ 47 w 1754273"/>
              <a:gd name="connsiteY4" fmla="*/ 834667 h 3034774"/>
              <a:gd name="connsiteX0" fmla="*/ 47 w 1712428"/>
              <a:gd name="connsiteY0" fmla="*/ 860399 h 3060506"/>
              <a:gd name="connsiteX1" fmla="*/ 1155244 w 1712428"/>
              <a:gd name="connsiteY1" fmla="*/ 1934126 h 3060506"/>
              <a:gd name="connsiteX2" fmla="*/ 96444 w 1712428"/>
              <a:gd name="connsiteY2" fmla="*/ 3029694 h 3060506"/>
              <a:gd name="connsiteX3" fmla="*/ 1458 w 1712428"/>
              <a:gd name="connsiteY3" fmla="*/ 3007751 h 3060506"/>
              <a:gd name="connsiteX4" fmla="*/ 47 w 1712428"/>
              <a:gd name="connsiteY4" fmla="*/ 860399 h 3060506"/>
              <a:gd name="connsiteX0" fmla="*/ 47 w 1749340"/>
              <a:gd name="connsiteY0" fmla="*/ 813600 h 3013707"/>
              <a:gd name="connsiteX1" fmla="*/ 1155244 w 1749340"/>
              <a:gd name="connsiteY1" fmla="*/ 1887327 h 3013707"/>
              <a:gd name="connsiteX2" fmla="*/ 96444 w 1749340"/>
              <a:gd name="connsiteY2" fmla="*/ 2982895 h 3013707"/>
              <a:gd name="connsiteX3" fmla="*/ 1458 w 1749340"/>
              <a:gd name="connsiteY3" fmla="*/ 2960952 h 3013707"/>
              <a:gd name="connsiteX4" fmla="*/ 47 w 1749340"/>
              <a:gd name="connsiteY4" fmla="*/ 813600 h 3013707"/>
              <a:gd name="connsiteX0" fmla="*/ 47 w 2123694"/>
              <a:gd name="connsiteY0" fmla="*/ 939789 h 3139896"/>
              <a:gd name="connsiteX1" fmla="*/ 1592060 w 2123694"/>
              <a:gd name="connsiteY1" fmla="*/ 1553404 h 3139896"/>
              <a:gd name="connsiteX2" fmla="*/ 96444 w 2123694"/>
              <a:gd name="connsiteY2" fmla="*/ 3109084 h 3139896"/>
              <a:gd name="connsiteX3" fmla="*/ 1458 w 2123694"/>
              <a:gd name="connsiteY3" fmla="*/ 3087141 h 3139896"/>
              <a:gd name="connsiteX4" fmla="*/ 47 w 2123694"/>
              <a:gd name="connsiteY4" fmla="*/ 939789 h 3139896"/>
              <a:gd name="connsiteX0" fmla="*/ 47 w 1761213"/>
              <a:gd name="connsiteY0" fmla="*/ 891556 h 3091663"/>
              <a:gd name="connsiteX1" fmla="*/ 1592060 w 1761213"/>
              <a:gd name="connsiteY1" fmla="*/ 1505171 h 3091663"/>
              <a:gd name="connsiteX2" fmla="*/ 96444 w 1761213"/>
              <a:gd name="connsiteY2" fmla="*/ 3060851 h 3091663"/>
              <a:gd name="connsiteX3" fmla="*/ 1458 w 1761213"/>
              <a:gd name="connsiteY3" fmla="*/ 3038908 h 3091663"/>
              <a:gd name="connsiteX4" fmla="*/ 47 w 1761213"/>
              <a:gd name="connsiteY4" fmla="*/ 891556 h 3091663"/>
              <a:gd name="connsiteX0" fmla="*/ 47 w 1765403"/>
              <a:gd name="connsiteY0" fmla="*/ 808980 h 3009087"/>
              <a:gd name="connsiteX1" fmla="*/ 1592060 w 1765403"/>
              <a:gd name="connsiteY1" fmla="*/ 1422595 h 3009087"/>
              <a:gd name="connsiteX2" fmla="*/ 96444 w 1765403"/>
              <a:gd name="connsiteY2" fmla="*/ 2978275 h 3009087"/>
              <a:gd name="connsiteX3" fmla="*/ 1458 w 1765403"/>
              <a:gd name="connsiteY3" fmla="*/ 2956332 h 3009087"/>
              <a:gd name="connsiteX4" fmla="*/ 47 w 1765403"/>
              <a:gd name="connsiteY4" fmla="*/ 808980 h 3009087"/>
              <a:gd name="connsiteX0" fmla="*/ 47 w 1814671"/>
              <a:gd name="connsiteY0" fmla="*/ 781904 h 2982011"/>
              <a:gd name="connsiteX1" fmla="*/ 1592060 w 1814671"/>
              <a:gd name="connsiteY1" fmla="*/ 1395519 h 2982011"/>
              <a:gd name="connsiteX2" fmla="*/ 96444 w 1814671"/>
              <a:gd name="connsiteY2" fmla="*/ 2951199 h 2982011"/>
              <a:gd name="connsiteX3" fmla="*/ 1458 w 1814671"/>
              <a:gd name="connsiteY3" fmla="*/ 2929256 h 2982011"/>
              <a:gd name="connsiteX4" fmla="*/ 47 w 1814671"/>
              <a:gd name="connsiteY4" fmla="*/ 781904 h 2982011"/>
              <a:gd name="connsiteX0" fmla="*/ 47 w 1669744"/>
              <a:gd name="connsiteY0" fmla="*/ 678598 h 2878705"/>
              <a:gd name="connsiteX1" fmla="*/ 1304433 w 1669744"/>
              <a:gd name="connsiteY1" fmla="*/ 20356 h 2878705"/>
              <a:gd name="connsiteX2" fmla="*/ 1592060 w 1669744"/>
              <a:gd name="connsiteY2" fmla="*/ 1292213 h 2878705"/>
              <a:gd name="connsiteX3" fmla="*/ 96444 w 1669744"/>
              <a:gd name="connsiteY3" fmla="*/ 2847893 h 2878705"/>
              <a:gd name="connsiteX4" fmla="*/ 1458 w 1669744"/>
              <a:gd name="connsiteY4" fmla="*/ 2825950 h 2878705"/>
              <a:gd name="connsiteX5" fmla="*/ 47 w 1669744"/>
              <a:gd name="connsiteY5" fmla="*/ 678598 h 2878705"/>
              <a:gd name="connsiteX0" fmla="*/ 47 w 1669744"/>
              <a:gd name="connsiteY0" fmla="*/ 797492 h 2997599"/>
              <a:gd name="connsiteX1" fmla="*/ 1304433 w 1669744"/>
              <a:gd name="connsiteY1" fmla="*/ 139250 h 2997599"/>
              <a:gd name="connsiteX2" fmla="*/ 1592060 w 1669744"/>
              <a:gd name="connsiteY2" fmla="*/ 1411107 h 2997599"/>
              <a:gd name="connsiteX3" fmla="*/ 96444 w 1669744"/>
              <a:gd name="connsiteY3" fmla="*/ 2966787 h 2997599"/>
              <a:gd name="connsiteX4" fmla="*/ 1458 w 1669744"/>
              <a:gd name="connsiteY4" fmla="*/ 2944844 h 2997599"/>
              <a:gd name="connsiteX5" fmla="*/ 47 w 1669744"/>
              <a:gd name="connsiteY5" fmla="*/ 797492 h 2997599"/>
              <a:gd name="connsiteX0" fmla="*/ 47 w 1669744"/>
              <a:gd name="connsiteY0" fmla="*/ 796759 h 2996866"/>
              <a:gd name="connsiteX1" fmla="*/ 1304433 w 1669744"/>
              <a:gd name="connsiteY1" fmla="*/ 138517 h 2996866"/>
              <a:gd name="connsiteX2" fmla="*/ 1592060 w 1669744"/>
              <a:gd name="connsiteY2" fmla="*/ 1410374 h 2996866"/>
              <a:gd name="connsiteX3" fmla="*/ 96444 w 1669744"/>
              <a:gd name="connsiteY3" fmla="*/ 2966054 h 2996866"/>
              <a:gd name="connsiteX4" fmla="*/ 1458 w 1669744"/>
              <a:gd name="connsiteY4" fmla="*/ 2944111 h 2996866"/>
              <a:gd name="connsiteX5" fmla="*/ 47 w 1669744"/>
              <a:gd name="connsiteY5" fmla="*/ 796759 h 2996866"/>
              <a:gd name="connsiteX0" fmla="*/ 47 w 1674254"/>
              <a:gd name="connsiteY0" fmla="*/ 816902 h 3017009"/>
              <a:gd name="connsiteX1" fmla="*/ 1321905 w 1674254"/>
              <a:gd name="connsiteY1" fmla="*/ 135363 h 3017009"/>
              <a:gd name="connsiteX2" fmla="*/ 1592060 w 1674254"/>
              <a:gd name="connsiteY2" fmla="*/ 1430517 h 3017009"/>
              <a:gd name="connsiteX3" fmla="*/ 96444 w 1674254"/>
              <a:gd name="connsiteY3" fmla="*/ 2986197 h 3017009"/>
              <a:gd name="connsiteX4" fmla="*/ 1458 w 1674254"/>
              <a:gd name="connsiteY4" fmla="*/ 2964254 h 3017009"/>
              <a:gd name="connsiteX5" fmla="*/ 47 w 1674254"/>
              <a:gd name="connsiteY5" fmla="*/ 816902 h 3017009"/>
              <a:gd name="connsiteX0" fmla="*/ 47 w 1674254"/>
              <a:gd name="connsiteY0" fmla="*/ 795700 h 2995807"/>
              <a:gd name="connsiteX1" fmla="*/ 1321905 w 1674254"/>
              <a:gd name="connsiteY1" fmla="*/ 114161 h 2995807"/>
              <a:gd name="connsiteX2" fmla="*/ 1592060 w 1674254"/>
              <a:gd name="connsiteY2" fmla="*/ 1409315 h 2995807"/>
              <a:gd name="connsiteX3" fmla="*/ 96444 w 1674254"/>
              <a:gd name="connsiteY3" fmla="*/ 2964995 h 2995807"/>
              <a:gd name="connsiteX4" fmla="*/ 1458 w 1674254"/>
              <a:gd name="connsiteY4" fmla="*/ 2943052 h 2995807"/>
              <a:gd name="connsiteX5" fmla="*/ 47 w 1674254"/>
              <a:gd name="connsiteY5" fmla="*/ 795700 h 2995807"/>
              <a:gd name="connsiteX0" fmla="*/ 47 w 1689928"/>
              <a:gd name="connsiteY0" fmla="*/ 795700 h 2995807"/>
              <a:gd name="connsiteX1" fmla="*/ 1321905 w 1689928"/>
              <a:gd name="connsiteY1" fmla="*/ 114161 h 2995807"/>
              <a:gd name="connsiteX2" fmla="*/ 1592060 w 1689928"/>
              <a:gd name="connsiteY2" fmla="*/ 1409315 h 2995807"/>
              <a:gd name="connsiteX3" fmla="*/ 96444 w 1689928"/>
              <a:gd name="connsiteY3" fmla="*/ 2964995 h 2995807"/>
              <a:gd name="connsiteX4" fmla="*/ 1458 w 1689928"/>
              <a:gd name="connsiteY4" fmla="*/ 2943052 h 2995807"/>
              <a:gd name="connsiteX5" fmla="*/ 47 w 1689928"/>
              <a:gd name="connsiteY5" fmla="*/ 795700 h 2995807"/>
              <a:gd name="connsiteX0" fmla="*/ 47 w 1746860"/>
              <a:gd name="connsiteY0" fmla="*/ 795700 h 2995807"/>
              <a:gd name="connsiteX1" fmla="*/ 1321905 w 1746860"/>
              <a:gd name="connsiteY1" fmla="*/ 114161 h 2995807"/>
              <a:gd name="connsiteX2" fmla="*/ 1592060 w 1746860"/>
              <a:gd name="connsiteY2" fmla="*/ 1409315 h 2995807"/>
              <a:gd name="connsiteX3" fmla="*/ 96444 w 1746860"/>
              <a:gd name="connsiteY3" fmla="*/ 2964995 h 2995807"/>
              <a:gd name="connsiteX4" fmla="*/ 1458 w 1746860"/>
              <a:gd name="connsiteY4" fmla="*/ 2943052 h 2995807"/>
              <a:gd name="connsiteX5" fmla="*/ 47 w 1746860"/>
              <a:gd name="connsiteY5" fmla="*/ 795700 h 2995807"/>
              <a:gd name="connsiteX0" fmla="*/ 47 w 1817082"/>
              <a:gd name="connsiteY0" fmla="*/ 795700 h 2995807"/>
              <a:gd name="connsiteX1" fmla="*/ 1321905 w 1817082"/>
              <a:gd name="connsiteY1" fmla="*/ 114161 h 2995807"/>
              <a:gd name="connsiteX2" fmla="*/ 1592060 w 1817082"/>
              <a:gd name="connsiteY2" fmla="*/ 1409315 h 2995807"/>
              <a:gd name="connsiteX3" fmla="*/ 96444 w 1817082"/>
              <a:gd name="connsiteY3" fmla="*/ 2964995 h 2995807"/>
              <a:gd name="connsiteX4" fmla="*/ 1458 w 1817082"/>
              <a:gd name="connsiteY4" fmla="*/ 2943052 h 2995807"/>
              <a:gd name="connsiteX5" fmla="*/ 47 w 1817082"/>
              <a:gd name="connsiteY5" fmla="*/ 795700 h 2995807"/>
              <a:gd name="connsiteX0" fmla="*/ 47 w 1765318"/>
              <a:gd name="connsiteY0" fmla="*/ 795700 h 2995807"/>
              <a:gd name="connsiteX1" fmla="*/ 1321905 w 1765318"/>
              <a:gd name="connsiteY1" fmla="*/ 114161 h 2995807"/>
              <a:gd name="connsiteX2" fmla="*/ 1592060 w 1765318"/>
              <a:gd name="connsiteY2" fmla="*/ 1409315 h 2995807"/>
              <a:gd name="connsiteX3" fmla="*/ 96444 w 1765318"/>
              <a:gd name="connsiteY3" fmla="*/ 2964995 h 2995807"/>
              <a:gd name="connsiteX4" fmla="*/ 1458 w 1765318"/>
              <a:gd name="connsiteY4" fmla="*/ 2943052 h 2995807"/>
              <a:gd name="connsiteX5" fmla="*/ 47 w 1765318"/>
              <a:gd name="connsiteY5" fmla="*/ 795700 h 2995807"/>
              <a:gd name="connsiteX0" fmla="*/ 47 w 1773136"/>
              <a:gd name="connsiteY0" fmla="*/ 795700 h 2995807"/>
              <a:gd name="connsiteX1" fmla="*/ 1321905 w 1773136"/>
              <a:gd name="connsiteY1" fmla="*/ 114161 h 2995807"/>
              <a:gd name="connsiteX2" fmla="*/ 1592060 w 1773136"/>
              <a:gd name="connsiteY2" fmla="*/ 1409315 h 2995807"/>
              <a:gd name="connsiteX3" fmla="*/ 96444 w 1773136"/>
              <a:gd name="connsiteY3" fmla="*/ 2964995 h 2995807"/>
              <a:gd name="connsiteX4" fmla="*/ 1458 w 1773136"/>
              <a:gd name="connsiteY4" fmla="*/ 2943052 h 2995807"/>
              <a:gd name="connsiteX5" fmla="*/ 47 w 1773136"/>
              <a:gd name="connsiteY5" fmla="*/ 795700 h 2995807"/>
              <a:gd name="connsiteX0" fmla="*/ 47 w 1812096"/>
              <a:gd name="connsiteY0" fmla="*/ 795700 h 2995807"/>
              <a:gd name="connsiteX1" fmla="*/ 1321905 w 1812096"/>
              <a:gd name="connsiteY1" fmla="*/ 114161 h 2995807"/>
              <a:gd name="connsiteX2" fmla="*/ 1592060 w 1812096"/>
              <a:gd name="connsiteY2" fmla="*/ 1409315 h 2995807"/>
              <a:gd name="connsiteX3" fmla="*/ 96444 w 1812096"/>
              <a:gd name="connsiteY3" fmla="*/ 2964995 h 2995807"/>
              <a:gd name="connsiteX4" fmla="*/ 1458 w 1812096"/>
              <a:gd name="connsiteY4" fmla="*/ 2943052 h 2995807"/>
              <a:gd name="connsiteX5" fmla="*/ 47 w 1812096"/>
              <a:gd name="connsiteY5" fmla="*/ 795700 h 2995807"/>
              <a:gd name="connsiteX0" fmla="*/ 47 w 1759473"/>
              <a:gd name="connsiteY0" fmla="*/ 795700 h 2995807"/>
              <a:gd name="connsiteX1" fmla="*/ 1321905 w 1759473"/>
              <a:gd name="connsiteY1" fmla="*/ 114161 h 2995807"/>
              <a:gd name="connsiteX2" fmla="*/ 1592060 w 1759473"/>
              <a:gd name="connsiteY2" fmla="*/ 1409315 h 2995807"/>
              <a:gd name="connsiteX3" fmla="*/ 96444 w 1759473"/>
              <a:gd name="connsiteY3" fmla="*/ 2964995 h 2995807"/>
              <a:gd name="connsiteX4" fmla="*/ 1458 w 1759473"/>
              <a:gd name="connsiteY4" fmla="*/ 2943052 h 2995807"/>
              <a:gd name="connsiteX5" fmla="*/ 47 w 1759473"/>
              <a:gd name="connsiteY5" fmla="*/ 795700 h 2995807"/>
              <a:gd name="connsiteX0" fmla="*/ 47 w 1747100"/>
              <a:gd name="connsiteY0" fmla="*/ 795700 h 2995807"/>
              <a:gd name="connsiteX1" fmla="*/ 1321905 w 1747100"/>
              <a:gd name="connsiteY1" fmla="*/ 114161 h 2995807"/>
              <a:gd name="connsiteX2" fmla="*/ 1592060 w 1747100"/>
              <a:gd name="connsiteY2" fmla="*/ 1409315 h 2995807"/>
              <a:gd name="connsiteX3" fmla="*/ 96444 w 1747100"/>
              <a:gd name="connsiteY3" fmla="*/ 2964995 h 2995807"/>
              <a:gd name="connsiteX4" fmla="*/ 1458 w 1747100"/>
              <a:gd name="connsiteY4" fmla="*/ 2943052 h 2995807"/>
              <a:gd name="connsiteX5" fmla="*/ 47 w 1747100"/>
              <a:gd name="connsiteY5" fmla="*/ 795700 h 2995807"/>
              <a:gd name="connsiteX0" fmla="*/ 47 w 1747100"/>
              <a:gd name="connsiteY0" fmla="*/ 801068 h 3001175"/>
              <a:gd name="connsiteX1" fmla="*/ 1321905 w 1747100"/>
              <a:gd name="connsiteY1" fmla="*/ 119529 h 3001175"/>
              <a:gd name="connsiteX2" fmla="*/ 1592060 w 1747100"/>
              <a:gd name="connsiteY2" fmla="*/ 1414683 h 3001175"/>
              <a:gd name="connsiteX3" fmla="*/ 96444 w 1747100"/>
              <a:gd name="connsiteY3" fmla="*/ 2970363 h 3001175"/>
              <a:gd name="connsiteX4" fmla="*/ 1458 w 1747100"/>
              <a:gd name="connsiteY4" fmla="*/ 2948420 h 3001175"/>
              <a:gd name="connsiteX5" fmla="*/ 47 w 1747100"/>
              <a:gd name="connsiteY5" fmla="*/ 801068 h 3001175"/>
              <a:gd name="connsiteX0" fmla="*/ 47 w 1747100"/>
              <a:gd name="connsiteY0" fmla="*/ 859428 h 2992860"/>
              <a:gd name="connsiteX1" fmla="*/ 1321905 w 1747100"/>
              <a:gd name="connsiteY1" fmla="*/ 111214 h 2992860"/>
              <a:gd name="connsiteX2" fmla="*/ 1592060 w 1747100"/>
              <a:gd name="connsiteY2" fmla="*/ 1406368 h 2992860"/>
              <a:gd name="connsiteX3" fmla="*/ 96444 w 1747100"/>
              <a:gd name="connsiteY3" fmla="*/ 2962048 h 2992860"/>
              <a:gd name="connsiteX4" fmla="*/ 1458 w 1747100"/>
              <a:gd name="connsiteY4" fmla="*/ 2940105 h 2992860"/>
              <a:gd name="connsiteX5" fmla="*/ 47 w 1747100"/>
              <a:gd name="connsiteY5" fmla="*/ 859428 h 2992860"/>
              <a:gd name="connsiteX0" fmla="*/ 317 w 1747370"/>
              <a:gd name="connsiteY0" fmla="*/ 863993 h 2997425"/>
              <a:gd name="connsiteX1" fmla="*/ 1322175 w 1747370"/>
              <a:gd name="connsiteY1" fmla="*/ 115779 h 2997425"/>
              <a:gd name="connsiteX2" fmla="*/ 1592330 w 1747370"/>
              <a:gd name="connsiteY2" fmla="*/ 1410933 h 2997425"/>
              <a:gd name="connsiteX3" fmla="*/ 96714 w 1747370"/>
              <a:gd name="connsiteY3" fmla="*/ 2966613 h 2997425"/>
              <a:gd name="connsiteX4" fmla="*/ 1728 w 1747370"/>
              <a:gd name="connsiteY4" fmla="*/ 2944670 h 2997425"/>
              <a:gd name="connsiteX5" fmla="*/ 317 w 1747370"/>
              <a:gd name="connsiteY5" fmla="*/ 863993 h 2997425"/>
              <a:gd name="connsiteX0" fmla="*/ 317 w 1758362"/>
              <a:gd name="connsiteY0" fmla="*/ 863993 h 2997425"/>
              <a:gd name="connsiteX1" fmla="*/ 1322175 w 1758362"/>
              <a:gd name="connsiteY1" fmla="*/ 115779 h 2997425"/>
              <a:gd name="connsiteX2" fmla="*/ 1592330 w 1758362"/>
              <a:gd name="connsiteY2" fmla="*/ 1410933 h 2997425"/>
              <a:gd name="connsiteX3" fmla="*/ 96714 w 1758362"/>
              <a:gd name="connsiteY3" fmla="*/ 2966613 h 2997425"/>
              <a:gd name="connsiteX4" fmla="*/ 1728 w 1758362"/>
              <a:gd name="connsiteY4" fmla="*/ 2944670 h 2997425"/>
              <a:gd name="connsiteX5" fmla="*/ 317 w 1758362"/>
              <a:gd name="connsiteY5" fmla="*/ 863993 h 2997425"/>
              <a:gd name="connsiteX0" fmla="*/ 317 w 1753088"/>
              <a:gd name="connsiteY0" fmla="*/ 863993 h 2997425"/>
              <a:gd name="connsiteX1" fmla="*/ 1322175 w 1753088"/>
              <a:gd name="connsiteY1" fmla="*/ 115779 h 2997425"/>
              <a:gd name="connsiteX2" fmla="*/ 1592330 w 1753088"/>
              <a:gd name="connsiteY2" fmla="*/ 1410933 h 2997425"/>
              <a:gd name="connsiteX3" fmla="*/ 96714 w 1753088"/>
              <a:gd name="connsiteY3" fmla="*/ 2966613 h 2997425"/>
              <a:gd name="connsiteX4" fmla="*/ 1728 w 1753088"/>
              <a:gd name="connsiteY4" fmla="*/ 2944670 h 2997425"/>
              <a:gd name="connsiteX5" fmla="*/ 317 w 1753088"/>
              <a:gd name="connsiteY5" fmla="*/ 863993 h 2997425"/>
              <a:gd name="connsiteX0" fmla="*/ 317 w 1756975"/>
              <a:gd name="connsiteY0" fmla="*/ 863993 h 2997425"/>
              <a:gd name="connsiteX1" fmla="*/ 1322175 w 1756975"/>
              <a:gd name="connsiteY1" fmla="*/ 115779 h 2997425"/>
              <a:gd name="connsiteX2" fmla="*/ 1592330 w 1756975"/>
              <a:gd name="connsiteY2" fmla="*/ 1410933 h 2997425"/>
              <a:gd name="connsiteX3" fmla="*/ 96714 w 1756975"/>
              <a:gd name="connsiteY3" fmla="*/ 2966613 h 2997425"/>
              <a:gd name="connsiteX4" fmla="*/ 1728 w 1756975"/>
              <a:gd name="connsiteY4" fmla="*/ 2944670 h 2997425"/>
              <a:gd name="connsiteX5" fmla="*/ 317 w 1756975"/>
              <a:gd name="connsiteY5" fmla="*/ 863993 h 2997425"/>
              <a:gd name="connsiteX0" fmla="*/ 317 w 1756975"/>
              <a:gd name="connsiteY0" fmla="*/ 863993 h 3004928"/>
              <a:gd name="connsiteX1" fmla="*/ 1322175 w 1756975"/>
              <a:gd name="connsiteY1" fmla="*/ 115779 h 3004928"/>
              <a:gd name="connsiteX2" fmla="*/ 1592330 w 1756975"/>
              <a:gd name="connsiteY2" fmla="*/ 1410933 h 3004928"/>
              <a:gd name="connsiteX3" fmla="*/ 96714 w 1756975"/>
              <a:gd name="connsiteY3" fmla="*/ 2966613 h 3004928"/>
              <a:gd name="connsiteX4" fmla="*/ 1728 w 1756975"/>
              <a:gd name="connsiteY4" fmla="*/ 2944670 h 3004928"/>
              <a:gd name="connsiteX5" fmla="*/ 317 w 1756975"/>
              <a:gd name="connsiteY5" fmla="*/ 863993 h 3004928"/>
              <a:gd name="connsiteX0" fmla="*/ 317 w 1756975"/>
              <a:gd name="connsiteY0" fmla="*/ 863993 h 3009727"/>
              <a:gd name="connsiteX1" fmla="*/ 1322175 w 1756975"/>
              <a:gd name="connsiteY1" fmla="*/ 115779 h 3009727"/>
              <a:gd name="connsiteX2" fmla="*/ 1592330 w 1756975"/>
              <a:gd name="connsiteY2" fmla="*/ 1410933 h 3009727"/>
              <a:gd name="connsiteX3" fmla="*/ 96714 w 1756975"/>
              <a:gd name="connsiteY3" fmla="*/ 2966613 h 3009727"/>
              <a:gd name="connsiteX4" fmla="*/ 1728 w 1756975"/>
              <a:gd name="connsiteY4" fmla="*/ 2944670 h 3009727"/>
              <a:gd name="connsiteX5" fmla="*/ 317 w 1756975"/>
              <a:gd name="connsiteY5" fmla="*/ 863993 h 3009727"/>
              <a:gd name="connsiteX0" fmla="*/ 317 w 1756975"/>
              <a:gd name="connsiteY0" fmla="*/ 863993 h 2995855"/>
              <a:gd name="connsiteX1" fmla="*/ 1322175 w 1756975"/>
              <a:gd name="connsiteY1" fmla="*/ 115779 h 2995855"/>
              <a:gd name="connsiteX2" fmla="*/ 1592330 w 1756975"/>
              <a:gd name="connsiteY2" fmla="*/ 1410933 h 2995855"/>
              <a:gd name="connsiteX3" fmla="*/ 96714 w 1756975"/>
              <a:gd name="connsiteY3" fmla="*/ 2966613 h 2995855"/>
              <a:gd name="connsiteX4" fmla="*/ 1728 w 1756975"/>
              <a:gd name="connsiteY4" fmla="*/ 2944670 h 2995855"/>
              <a:gd name="connsiteX5" fmla="*/ 317 w 1756975"/>
              <a:gd name="connsiteY5" fmla="*/ 863993 h 2995855"/>
              <a:gd name="connsiteX0" fmla="*/ 317 w 1756975"/>
              <a:gd name="connsiteY0" fmla="*/ 863993 h 2995855"/>
              <a:gd name="connsiteX1" fmla="*/ 1322175 w 1756975"/>
              <a:gd name="connsiteY1" fmla="*/ 115779 h 2995855"/>
              <a:gd name="connsiteX2" fmla="*/ 1592330 w 1756975"/>
              <a:gd name="connsiteY2" fmla="*/ 1410933 h 2995855"/>
              <a:gd name="connsiteX3" fmla="*/ 96714 w 1756975"/>
              <a:gd name="connsiteY3" fmla="*/ 2966613 h 2995855"/>
              <a:gd name="connsiteX4" fmla="*/ 1728 w 1756975"/>
              <a:gd name="connsiteY4" fmla="*/ 2944670 h 2995855"/>
              <a:gd name="connsiteX5" fmla="*/ 317 w 1756975"/>
              <a:gd name="connsiteY5" fmla="*/ 863993 h 2995855"/>
              <a:gd name="connsiteX0" fmla="*/ 317 w 1756975"/>
              <a:gd name="connsiteY0" fmla="*/ 861441 h 2993303"/>
              <a:gd name="connsiteX1" fmla="*/ 1322175 w 1756975"/>
              <a:gd name="connsiteY1" fmla="*/ 113227 h 2993303"/>
              <a:gd name="connsiteX2" fmla="*/ 1592330 w 1756975"/>
              <a:gd name="connsiteY2" fmla="*/ 1408381 h 2993303"/>
              <a:gd name="connsiteX3" fmla="*/ 96714 w 1756975"/>
              <a:gd name="connsiteY3" fmla="*/ 2964061 h 2993303"/>
              <a:gd name="connsiteX4" fmla="*/ 1728 w 1756975"/>
              <a:gd name="connsiteY4" fmla="*/ 2942118 h 2993303"/>
              <a:gd name="connsiteX5" fmla="*/ 317 w 1756975"/>
              <a:gd name="connsiteY5" fmla="*/ 861441 h 2993303"/>
              <a:gd name="connsiteX0" fmla="*/ 317 w 1749504"/>
              <a:gd name="connsiteY0" fmla="*/ 861441 h 2993303"/>
              <a:gd name="connsiteX1" fmla="*/ 1322175 w 1749504"/>
              <a:gd name="connsiteY1" fmla="*/ 113227 h 2993303"/>
              <a:gd name="connsiteX2" fmla="*/ 1579626 w 1749504"/>
              <a:gd name="connsiteY2" fmla="*/ 1430606 h 2993303"/>
              <a:gd name="connsiteX3" fmla="*/ 96714 w 1749504"/>
              <a:gd name="connsiteY3" fmla="*/ 2964061 h 2993303"/>
              <a:gd name="connsiteX4" fmla="*/ 1728 w 1749504"/>
              <a:gd name="connsiteY4" fmla="*/ 2942118 h 2993303"/>
              <a:gd name="connsiteX5" fmla="*/ 317 w 1749504"/>
              <a:gd name="connsiteY5" fmla="*/ 861441 h 2993303"/>
              <a:gd name="connsiteX0" fmla="*/ 317 w 1751386"/>
              <a:gd name="connsiteY0" fmla="*/ 861441 h 2993303"/>
              <a:gd name="connsiteX1" fmla="*/ 1322175 w 1751386"/>
              <a:gd name="connsiteY1" fmla="*/ 113227 h 2993303"/>
              <a:gd name="connsiteX2" fmla="*/ 1579626 w 1751386"/>
              <a:gd name="connsiteY2" fmla="*/ 1430606 h 2993303"/>
              <a:gd name="connsiteX3" fmla="*/ 96714 w 1751386"/>
              <a:gd name="connsiteY3" fmla="*/ 2964061 h 2993303"/>
              <a:gd name="connsiteX4" fmla="*/ 1728 w 1751386"/>
              <a:gd name="connsiteY4" fmla="*/ 2942118 h 2993303"/>
              <a:gd name="connsiteX5" fmla="*/ 317 w 1751386"/>
              <a:gd name="connsiteY5" fmla="*/ 861441 h 2993303"/>
              <a:gd name="connsiteX0" fmla="*/ 317 w 1754160"/>
              <a:gd name="connsiteY0" fmla="*/ 861441 h 2993303"/>
              <a:gd name="connsiteX1" fmla="*/ 1322175 w 1754160"/>
              <a:gd name="connsiteY1" fmla="*/ 113227 h 2993303"/>
              <a:gd name="connsiteX2" fmla="*/ 1584360 w 1754160"/>
              <a:gd name="connsiteY2" fmla="*/ 1416408 h 2993303"/>
              <a:gd name="connsiteX3" fmla="*/ 96714 w 1754160"/>
              <a:gd name="connsiteY3" fmla="*/ 2964061 h 2993303"/>
              <a:gd name="connsiteX4" fmla="*/ 1728 w 1754160"/>
              <a:gd name="connsiteY4" fmla="*/ 2942118 h 2993303"/>
              <a:gd name="connsiteX5" fmla="*/ 317 w 1754160"/>
              <a:gd name="connsiteY5" fmla="*/ 861441 h 2993303"/>
              <a:gd name="connsiteX0" fmla="*/ 97212 w 1840728"/>
              <a:gd name="connsiteY0" fmla="*/ 851039 h 2982901"/>
              <a:gd name="connsiteX1" fmla="*/ 1414336 w 1840728"/>
              <a:gd name="connsiteY1" fmla="*/ 105192 h 2982901"/>
              <a:gd name="connsiteX2" fmla="*/ 1681255 w 1840728"/>
              <a:gd name="connsiteY2" fmla="*/ 1406006 h 2982901"/>
              <a:gd name="connsiteX3" fmla="*/ 193609 w 1840728"/>
              <a:gd name="connsiteY3" fmla="*/ 2953659 h 2982901"/>
              <a:gd name="connsiteX4" fmla="*/ 98623 w 1840728"/>
              <a:gd name="connsiteY4" fmla="*/ 2931716 h 2982901"/>
              <a:gd name="connsiteX5" fmla="*/ 97212 w 1840728"/>
              <a:gd name="connsiteY5" fmla="*/ 851039 h 2982901"/>
              <a:gd name="connsiteX0" fmla="*/ 97212 w 1850529"/>
              <a:gd name="connsiteY0" fmla="*/ 851039 h 2982901"/>
              <a:gd name="connsiteX1" fmla="*/ 1414336 w 1850529"/>
              <a:gd name="connsiteY1" fmla="*/ 105192 h 2982901"/>
              <a:gd name="connsiteX2" fmla="*/ 1681255 w 1850529"/>
              <a:gd name="connsiteY2" fmla="*/ 1406006 h 2982901"/>
              <a:gd name="connsiteX3" fmla="*/ 193609 w 1850529"/>
              <a:gd name="connsiteY3" fmla="*/ 2953659 h 2982901"/>
              <a:gd name="connsiteX4" fmla="*/ 98623 w 1850529"/>
              <a:gd name="connsiteY4" fmla="*/ 2931716 h 2982901"/>
              <a:gd name="connsiteX5" fmla="*/ 97212 w 1850529"/>
              <a:gd name="connsiteY5" fmla="*/ 851039 h 2982901"/>
              <a:gd name="connsiteX0" fmla="*/ 13 w 1753330"/>
              <a:gd name="connsiteY0" fmla="*/ 858319 h 2990181"/>
              <a:gd name="connsiteX1" fmla="*/ 1317137 w 1753330"/>
              <a:gd name="connsiteY1" fmla="*/ 112472 h 2990181"/>
              <a:gd name="connsiteX2" fmla="*/ 1584056 w 1753330"/>
              <a:gd name="connsiteY2" fmla="*/ 1413286 h 2990181"/>
              <a:gd name="connsiteX3" fmla="*/ 96410 w 1753330"/>
              <a:gd name="connsiteY3" fmla="*/ 2960939 h 2990181"/>
              <a:gd name="connsiteX4" fmla="*/ 1424 w 1753330"/>
              <a:gd name="connsiteY4" fmla="*/ 2938996 h 2990181"/>
              <a:gd name="connsiteX5" fmla="*/ 13 w 1753330"/>
              <a:gd name="connsiteY5" fmla="*/ 858319 h 2990181"/>
              <a:gd name="connsiteX0" fmla="*/ 13 w 1760528"/>
              <a:gd name="connsiteY0" fmla="*/ 858319 h 2990181"/>
              <a:gd name="connsiteX1" fmla="*/ 1317137 w 1760528"/>
              <a:gd name="connsiteY1" fmla="*/ 112472 h 2990181"/>
              <a:gd name="connsiteX2" fmla="*/ 1584056 w 1760528"/>
              <a:gd name="connsiteY2" fmla="*/ 1413286 h 2990181"/>
              <a:gd name="connsiteX3" fmla="*/ 96410 w 1760528"/>
              <a:gd name="connsiteY3" fmla="*/ 2960939 h 2990181"/>
              <a:gd name="connsiteX4" fmla="*/ 1424 w 1760528"/>
              <a:gd name="connsiteY4" fmla="*/ 2938996 h 2990181"/>
              <a:gd name="connsiteX5" fmla="*/ 13 w 1760528"/>
              <a:gd name="connsiteY5" fmla="*/ 858319 h 2990181"/>
              <a:gd name="connsiteX0" fmla="*/ 13 w 1751658"/>
              <a:gd name="connsiteY0" fmla="*/ 858319 h 2990181"/>
              <a:gd name="connsiteX1" fmla="*/ 1317137 w 1751658"/>
              <a:gd name="connsiteY1" fmla="*/ 112472 h 2990181"/>
              <a:gd name="connsiteX2" fmla="*/ 1584056 w 1751658"/>
              <a:gd name="connsiteY2" fmla="*/ 1413286 h 2990181"/>
              <a:gd name="connsiteX3" fmla="*/ 96410 w 1751658"/>
              <a:gd name="connsiteY3" fmla="*/ 2960939 h 2990181"/>
              <a:gd name="connsiteX4" fmla="*/ 1424 w 1751658"/>
              <a:gd name="connsiteY4" fmla="*/ 2938996 h 2990181"/>
              <a:gd name="connsiteX5" fmla="*/ 13 w 1751658"/>
              <a:gd name="connsiteY5" fmla="*/ 858319 h 2990181"/>
              <a:gd name="connsiteX0" fmla="*/ 13 w 1759584"/>
              <a:gd name="connsiteY0" fmla="*/ 858319 h 2990181"/>
              <a:gd name="connsiteX1" fmla="*/ 1317137 w 1759584"/>
              <a:gd name="connsiteY1" fmla="*/ 112472 h 2990181"/>
              <a:gd name="connsiteX2" fmla="*/ 1584056 w 1759584"/>
              <a:gd name="connsiteY2" fmla="*/ 1413286 h 2990181"/>
              <a:gd name="connsiteX3" fmla="*/ 96410 w 1759584"/>
              <a:gd name="connsiteY3" fmla="*/ 2960939 h 2990181"/>
              <a:gd name="connsiteX4" fmla="*/ 1424 w 1759584"/>
              <a:gd name="connsiteY4" fmla="*/ 2938996 h 2990181"/>
              <a:gd name="connsiteX5" fmla="*/ 13 w 1759584"/>
              <a:gd name="connsiteY5" fmla="*/ 858319 h 2990181"/>
              <a:gd name="connsiteX0" fmla="*/ 13 w 1714478"/>
              <a:gd name="connsiteY0" fmla="*/ 858319 h 2990181"/>
              <a:gd name="connsiteX1" fmla="*/ 1317137 w 1714478"/>
              <a:gd name="connsiteY1" fmla="*/ 112472 h 2990181"/>
              <a:gd name="connsiteX2" fmla="*/ 1503572 w 1714478"/>
              <a:gd name="connsiteY2" fmla="*/ 1515045 h 2990181"/>
              <a:gd name="connsiteX3" fmla="*/ 96410 w 1714478"/>
              <a:gd name="connsiteY3" fmla="*/ 2960939 h 2990181"/>
              <a:gd name="connsiteX4" fmla="*/ 1424 w 1714478"/>
              <a:gd name="connsiteY4" fmla="*/ 2938996 h 2990181"/>
              <a:gd name="connsiteX5" fmla="*/ 13 w 1714478"/>
              <a:gd name="connsiteY5" fmla="*/ 858319 h 2990181"/>
              <a:gd name="connsiteX0" fmla="*/ 13 w 1755639"/>
              <a:gd name="connsiteY0" fmla="*/ 858319 h 2990181"/>
              <a:gd name="connsiteX1" fmla="*/ 1317137 w 1755639"/>
              <a:gd name="connsiteY1" fmla="*/ 112472 h 2990181"/>
              <a:gd name="connsiteX2" fmla="*/ 1503572 w 1755639"/>
              <a:gd name="connsiteY2" fmla="*/ 1515045 h 2990181"/>
              <a:gd name="connsiteX3" fmla="*/ 96410 w 1755639"/>
              <a:gd name="connsiteY3" fmla="*/ 2960939 h 2990181"/>
              <a:gd name="connsiteX4" fmla="*/ 1424 w 1755639"/>
              <a:gd name="connsiteY4" fmla="*/ 2938996 h 2990181"/>
              <a:gd name="connsiteX5" fmla="*/ 13 w 1755639"/>
              <a:gd name="connsiteY5" fmla="*/ 858319 h 2990181"/>
              <a:gd name="connsiteX0" fmla="*/ 13 w 1748972"/>
              <a:gd name="connsiteY0" fmla="*/ 858319 h 2990181"/>
              <a:gd name="connsiteX1" fmla="*/ 1317137 w 1748972"/>
              <a:gd name="connsiteY1" fmla="*/ 112472 h 2990181"/>
              <a:gd name="connsiteX2" fmla="*/ 1503572 w 1748972"/>
              <a:gd name="connsiteY2" fmla="*/ 1515045 h 2990181"/>
              <a:gd name="connsiteX3" fmla="*/ 96410 w 1748972"/>
              <a:gd name="connsiteY3" fmla="*/ 2960939 h 2990181"/>
              <a:gd name="connsiteX4" fmla="*/ 1424 w 1748972"/>
              <a:gd name="connsiteY4" fmla="*/ 2938996 h 2990181"/>
              <a:gd name="connsiteX5" fmla="*/ 13 w 1748972"/>
              <a:gd name="connsiteY5" fmla="*/ 858319 h 2990181"/>
              <a:gd name="connsiteX0" fmla="*/ 13 w 1754684"/>
              <a:gd name="connsiteY0" fmla="*/ 858319 h 2990181"/>
              <a:gd name="connsiteX1" fmla="*/ 1317137 w 1754684"/>
              <a:gd name="connsiteY1" fmla="*/ 112472 h 2990181"/>
              <a:gd name="connsiteX2" fmla="*/ 1503572 w 1754684"/>
              <a:gd name="connsiteY2" fmla="*/ 1515045 h 2990181"/>
              <a:gd name="connsiteX3" fmla="*/ 96410 w 1754684"/>
              <a:gd name="connsiteY3" fmla="*/ 2960939 h 2990181"/>
              <a:gd name="connsiteX4" fmla="*/ 1424 w 1754684"/>
              <a:gd name="connsiteY4" fmla="*/ 2938996 h 2990181"/>
              <a:gd name="connsiteX5" fmla="*/ 13 w 1754684"/>
              <a:gd name="connsiteY5" fmla="*/ 858319 h 2990181"/>
              <a:gd name="connsiteX0" fmla="*/ 13 w 1753730"/>
              <a:gd name="connsiteY0" fmla="*/ 858319 h 2990181"/>
              <a:gd name="connsiteX1" fmla="*/ 1317137 w 1753730"/>
              <a:gd name="connsiteY1" fmla="*/ 112472 h 2990181"/>
              <a:gd name="connsiteX2" fmla="*/ 1503572 w 1753730"/>
              <a:gd name="connsiteY2" fmla="*/ 1515045 h 2990181"/>
              <a:gd name="connsiteX3" fmla="*/ 96410 w 1753730"/>
              <a:gd name="connsiteY3" fmla="*/ 2960939 h 2990181"/>
              <a:gd name="connsiteX4" fmla="*/ 1424 w 1753730"/>
              <a:gd name="connsiteY4" fmla="*/ 2938996 h 2990181"/>
              <a:gd name="connsiteX5" fmla="*/ 13 w 1753730"/>
              <a:gd name="connsiteY5" fmla="*/ 858319 h 2990181"/>
              <a:gd name="connsiteX0" fmla="*/ 13 w 1700318"/>
              <a:gd name="connsiteY0" fmla="*/ 858319 h 2991855"/>
              <a:gd name="connsiteX1" fmla="*/ 1317137 w 1700318"/>
              <a:gd name="connsiteY1" fmla="*/ 112472 h 2991855"/>
              <a:gd name="connsiteX2" fmla="*/ 1503572 w 1700318"/>
              <a:gd name="connsiteY2" fmla="*/ 1515045 h 2991855"/>
              <a:gd name="connsiteX3" fmla="*/ 86941 w 1700318"/>
              <a:gd name="connsiteY3" fmla="*/ 2965672 h 2991855"/>
              <a:gd name="connsiteX4" fmla="*/ 1424 w 1700318"/>
              <a:gd name="connsiteY4" fmla="*/ 2938996 h 2991855"/>
              <a:gd name="connsiteX5" fmla="*/ 13 w 1700318"/>
              <a:gd name="connsiteY5" fmla="*/ 858319 h 2991855"/>
              <a:gd name="connsiteX0" fmla="*/ 13 w 1763120"/>
              <a:gd name="connsiteY0" fmla="*/ 858319 h 2991855"/>
              <a:gd name="connsiteX1" fmla="*/ 1317137 w 1763120"/>
              <a:gd name="connsiteY1" fmla="*/ 112472 h 2991855"/>
              <a:gd name="connsiteX2" fmla="*/ 1503572 w 1763120"/>
              <a:gd name="connsiteY2" fmla="*/ 1515045 h 2991855"/>
              <a:gd name="connsiteX3" fmla="*/ 86941 w 1763120"/>
              <a:gd name="connsiteY3" fmla="*/ 2965672 h 2991855"/>
              <a:gd name="connsiteX4" fmla="*/ 1424 w 1763120"/>
              <a:gd name="connsiteY4" fmla="*/ 2938996 h 2991855"/>
              <a:gd name="connsiteX5" fmla="*/ 13 w 1763120"/>
              <a:gd name="connsiteY5" fmla="*/ 858319 h 2991855"/>
              <a:gd name="connsiteX0" fmla="*/ 13 w 1745944"/>
              <a:gd name="connsiteY0" fmla="*/ 858319 h 2991855"/>
              <a:gd name="connsiteX1" fmla="*/ 1317137 w 1745944"/>
              <a:gd name="connsiteY1" fmla="*/ 112472 h 2991855"/>
              <a:gd name="connsiteX2" fmla="*/ 1503572 w 1745944"/>
              <a:gd name="connsiteY2" fmla="*/ 1515045 h 2991855"/>
              <a:gd name="connsiteX3" fmla="*/ 86941 w 1745944"/>
              <a:gd name="connsiteY3" fmla="*/ 2965672 h 2991855"/>
              <a:gd name="connsiteX4" fmla="*/ 1424 w 1745944"/>
              <a:gd name="connsiteY4" fmla="*/ 2938996 h 2991855"/>
              <a:gd name="connsiteX5" fmla="*/ 13 w 1745944"/>
              <a:gd name="connsiteY5" fmla="*/ 858319 h 2991855"/>
              <a:gd name="connsiteX0" fmla="*/ 13 w 1752593"/>
              <a:gd name="connsiteY0" fmla="*/ 858319 h 2991855"/>
              <a:gd name="connsiteX1" fmla="*/ 1317137 w 1752593"/>
              <a:gd name="connsiteY1" fmla="*/ 112472 h 2991855"/>
              <a:gd name="connsiteX2" fmla="*/ 1503572 w 1752593"/>
              <a:gd name="connsiteY2" fmla="*/ 1515045 h 2991855"/>
              <a:gd name="connsiteX3" fmla="*/ 86941 w 1752593"/>
              <a:gd name="connsiteY3" fmla="*/ 2965672 h 2991855"/>
              <a:gd name="connsiteX4" fmla="*/ 1424 w 1752593"/>
              <a:gd name="connsiteY4" fmla="*/ 2938996 h 2991855"/>
              <a:gd name="connsiteX5" fmla="*/ 13 w 1752593"/>
              <a:gd name="connsiteY5" fmla="*/ 858319 h 2991855"/>
              <a:gd name="connsiteX0" fmla="*/ 13 w 1752593"/>
              <a:gd name="connsiteY0" fmla="*/ 858319 h 2984818"/>
              <a:gd name="connsiteX1" fmla="*/ 1317137 w 1752593"/>
              <a:gd name="connsiteY1" fmla="*/ 112472 h 2984818"/>
              <a:gd name="connsiteX2" fmla="*/ 1503572 w 1752593"/>
              <a:gd name="connsiteY2" fmla="*/ 1515045 h 2984818"/>
              <a:gd name="connsiteX3" fmla="*/ 86941 w 1752593"/>
              <a:gd name="connsiteY3" fmla="*/ 2965672 h 2984818"/>
              <a:gd name="connsiteX4" fmla="*/ 1424 w 1752593"/>
              <a:gd name="connsiteY4" fmla="*/ 2938996 h 2984818"/>
              <a:gd name="connsiteX5" fmla="*/ 13 w 1752593"/>
              <a:gd name="connsiteY5" fmla="*/ 858319 h 2984818"/>
              <a:gd name="connsiteX0" fmla="*/ 13 w 1701062"/>
              <a:gd name="connsiteY0" fmla="*/ 858319 h 2994906"/>
              <a:gd name="connsiteX1" fmla="*/ 1317137 w 1701062"/>
              <a:gd name="connsiteY1" fmla="*/ 112472 h 2994906"/>
              <a:gd name="connsiteX2" fmla="*/ 1503572 w 1701062"/>
              <a:gd name="connsiteY2" fmla="*/ 1515045 h 2994906"/>
              <a:gd name="connsiteX3" fmla="*/ 75105 w 1701062"/>
              <a:gd name="connsiteY3" fmla="*/ 2986970 h 2994906"/>
              <a:gd name="connsiteX4" fmla="*/ 1424 w 1701062"/>
              <a:gd name="connsiteY4" fmla="*/ 2938996 h 2994906"/>
              <a:gd name="connsiteX5" fmla="*/ 13 w 1701062"/>
              <a:gd name="connsiteY5" fmla="*/ 858319 h 2994906"/>
              <a:gd name="connsiteX0" fmla="*/ 13 w 1700318"/>
              <a:gd name="connsiteY0" fmla="*/ 858319 h 2984818"/>
              <a:gd name="connsiteX1" fmla="*/ 1317137 w 1700318"/>
              <a:gd name="connsiteY1" fmla="*/ 112472 h 2984818"/>
              <a:gd name="connsiteX2" fmla="*/ 1503572 w 1700318"/>
              <a:gd name="connsiteY2" fmla="*/ 1515045 h 2984818"/>
              <a:gd name="connsiteX3" fmla="*/ 86941 w 1700318"/>
              <a:gd name="connsiteY3" fmla="*/ 2965672 h 2984818"/>
              <a:gd name="connsiteX4" fmla="*/ 1424 w 1700318"/>
              <a:gd name="connsiteY4" fmla="*/ 2938996 h 2984818"/>
              <a:gd name="connsiteX5" fmla="*/ 13 w 1700318"/>
              <a:gd name="connsiteY5" fmla="*/ 858319 h 2984818"/>
              <a:gd name="connsiteX0" fmla="*/ 13 w 1700318"/>
              <a:gd name="connsiteY0" fmla="*/ 858319 h 2984818"/>
              <a:gd name="connsiteX1" fmla="*/ 1317137 w 1700318"/>
              <a:gd name="connsiteY1" fmla="*/ 112472 h 2984818"/>
              <a:gd name="connsiteX2" fmla="*/ 1503572 w 1700318"/>
              <a:gd name="connsiteY2" fmla="*/ 1515045 h 2984818"/>
              <a:gd name="connsiteX3" fmla="*/ 86941 w 1700318"/>
              <a:gd name="connsiteY3" fmla="*/ 2965672 h 2984818"/>
              <a:gd name="connsiteX4" fmla="*/ 1424 w 1700318"/>
              <a:gd name="connsiteY4" fmla="*/ 2938996 h 2984818"/>
              <a:gd name="connsiteX5" fmla="*/ 13 w 1700318"/>
              <a:gd name="connsiteY5" fmla="*/ 858319 h 2984818"/>
              <a:gd name="connsiteX0" fmla="*/ 13 w 1699425"/>
              <a:gd name="connsiteY0" fmla="*/ 858319 h 3009727"/>
              <a:gd name="connsiteX1" fmla="*/ 1317137 w 1699425"/>
              <a:gd name="connsiteY1" fmla="*/ 112472 h 3009727"/>
              <a:gd name="connsiteX2" fmla="*/ 1503572 w 1699425"/>
              <a:gd name="connsiteY2" fmla="*/ 1515045 h 3009727"/>
              <a:gd name="connsiteX3" fmla="*/ 101144 w 1699425"/>
              <a:gd name="connsiteY3" fmla="*/ 3008269 h 3009727"/>
              <a:gd name="connsiteX4" fmla="*/ 1424 w 1699425"/>
              <a:gd name="connsiteY4" fmla="*/ 2938996 h 3009727"/>
              <a:gd name="connsiteX5" fmla="*/ 13 w 1699425"/>
              <a:gd name="connsiteY5" fmla="*/ 858319 h 3009727"/>
              <a:gd name="connsiteX0" fmla="*/ 13 w 1699425"/>
              <a:gd name="connsiteY0" fmla="*/ 858319 h 3045227"/>
              <a:gd name="connsiteX1" fmla="*/ 1317137 w 1699425"/>
              <a:gd name="connsiteY1" fmla="*/ 112472 h 3045227"/>
              <a:gd name="connsiteX2" fmla="*/ 1503572 w 1699425"/>
              <a:gd name="connsiteY2" fmla="*/ 1515045 h 3045227"/>
              <a:gd name="connsiteX3" fmla="*/ 101144 w 1699425"/>
              <a:gd name="connsiteY3" fmla="*/ 3008269 h 3045227"/>
              <a:gd name="connsiteX4" fmla="*/ 1424 w 1699425"/>
              <a:gd name="connsiteY4" fmla="*/ 2938996 h 3045227"/>
              <a:gd name="connsiteX5" fmla="*/ 13 w 1699425"/>
              <a:gd name="connsiteY5" fmla="*/ 858319 h 3045227"/>
              <a:gd name="connsiteX0" fmla="*/ 13 w 1698831"/>
              <a:gd name="connsiteY0" fmla="*/ 858319 h 3004841"/>
              <a:gd name="connsiteX1" fmla="*/ 1317137 w 1698831"/>
              <a:gd name="connsiteY1" fmla="*/ 112472 h 3004841"/>
              <a:gd name="connsiteX2" fmla="*/ 1503572 w 1698831"/>
              <a:gd name="connsiteY2" fmla="*/ 1515045 h 3004841"/>
              <a:gd name="connsiteX3" fmla="*/ 110613 w 1698831"/>
              <a:gd name="connsiteY3" fmla="*/ 2946741 h 3004841"/>
              <a:gd name="connsiteX4" fmla="*/ 1424 w 1698831"/>
              <a:gd name="connsiteY4" fmla="*/ 2938996 h 3004841"/>
              <a:gd name="connsiteX5" fmla="*/ 13 w 1698831"/>
              <a:gd name="connsiteY5" fmla="*/ 858319 h 3004841"/>
              <a:gd name="connsiteX0" fmla="*/ 13 w 1698831"/>
              <a:gd name="connsiteY0" fmla="*/ 858319 h 3007635"/>
              <a:gd name="connsiteX1" fmla="*/ 1317137 w 1698831"/>
              <a:gd name="connsiteY1" fmla="*/ 112472 h 3007635"/>
              <a:gd name="connsiteX2" fmla="*/ 1503572 w 1698831"/>
              <a:gd name="connsiteY2" fmla="*/ 1515045 h 3007635"/>
              <a:gd name="connsiteX3" fmla="*/ 110613 w 1698831"/>
              <a:gd name="connsiteY3" fmla="*/ 2946741 h 3007635"/>
              <a:gd name="connsiteX4" fmla="*/ 1424 w 1698831"/>
              <a:gd name="connsiteY4" fmla="*/ 2938996 h 3007635"/>
              <a:gd name="connsiteX5" fmla="*/ 13 w 1698831"/>
              <a:gd name="connsiteY5" fmla="*/ 858319 h 3007635"/>
              <a:gd name="connsiteX0" fmla="*/ 13 w 1698979"/>
              <a:gd name="connsiteY0" fmla="*/ 858319 h 3005098"/>
              <a:gd name="connsiteX1" fmla="*/ 1317137 w 1698979"/>
              <a:gd name="connsiteY1" fmla="*/ 112472 h 3005098"/>
              <a:gd name="connsiteX2" fmla="*/ 1503572 w 1698979"/>
              <a:gd name="connsiteY2" fmla="*/ 1515045 h 3005098"/>
              <a:gd name="connsiteX3" fmla="*/ 108246 w 1698979"/>
              <a:gd name="connsiteY3" fmla="*/ 2942008 h 3005098"/>
              <a:gd name="connsiteX4" fmla="*/ 1424 w 1698979"/>
              <a:gd name="connsiteY4" fmla="*/ 2938996 h 3005098"/>
              <a:gd name="connsiteX5" fmla="*/ 13 w 1698979"/>
              <a:gd name="connsiteY5" fmla="*/ 858319 h 3005098"/>
              <a:gd name="connsiteX0" fmla="*/ 13 w 1701077"/>
              <a:gd name="connsiteY0" fmla="*/ 858319 h 3022766"/>
              <a:gd name="connsiteX1" fmla="*/ 1317137 w 1701077"/>
              <a:gd name="connsiteY1" fmla="*/ 112472 h 3022766"/>
              <a:gd name="connsiteX2" fmla="*/ 1503572 w 1701077"/>
              <a:gd name="connsiteY2" fmla="*/ 1515045 h 3022766"/>
              <a:gd name="connsiteX3" fmla="*/ 74876 w 1701077"/>
              <a:gd name="connsiteY3" fmla="*/ 2972033 h 3022766"/>
              <a:gd name="connsiteX4" fmla="*/ 1424 w 1701077"/>
              <a:gd name="connsiteY4" fmla="*/ 2938996 h 3022766"/>
              <a:gd name="connsiteX5" fmla="*/ 13 w 1701077"/>
              <a:gd name="connsiteY5" fmla="*/ 858319 h 3022766"/>
              <a:gd name="connsiteX0" fmla="*/ 13 w 1701077"/>
              <a:gd name="connsiteY0" fmla="*/ 858319 h 2995037"/>
              <a:gd name="connsiteX1" fmla="*/ 1317137 w 1701077"/>
              <a:gd name="connsiteY1" fmla="*/ 112472 h 2995037"/>
              <a:gd name="connsiteX2" fmla="*/ 1503572 w 1701077"/>
              <a:gd name="connsiteY2" fmla="*/ 1515045 h 2995037"/>
              <a:gd name="connsiteX3" fmla="*/ 74876 w 1701077"/>
              <a:gd name="connsiteY3" fmla="*/ 2972033 h 2995037"/>
              <a:gd name="connsiteX4" fmla="*/ 1424 w 1701077"/>
              <a:gd name="connsiteY4" fmla="*/ 2938996 h 2995037"/>
              <a:gd name="connsiteX5" fmla="*/ 13 w 1701077"/>
              <a:gd name="connsiteY5" fmla="*/ 858319 h 2995037"/>
              <a:gd name="connsiteX0" fmla="*/ 13 w 1760182"/>
              <a:gd name="connsiteY0" fmla="*/ 858319 h 2995037"/>
              <a:gd name="connsiteX1" fmla="*/ 1317137 w 1760182"/>
              <a:gd name="connsiteY1" fmla="*/ 112472 h 2995037"/>
              <a:gd name="connsiteX2" fmla="*/ 1503572 w 1760182"/>
              <a:gd name="connsiteY2" fmla="*/ 1515045 h 2995037"/>
              <a:gd name="connsiteX3" fmla="*/ 74876 w 1760182"/>
              <a:gd name="connsiteY3" fmla="*/ 2972033 h 2995037"/>
              <a:gd name="connsiteX4" fmla="*/ 1424 w 1760182"/>
              <a:gd name="connsiteY4" fmla="*/ 2938996 h 2995037"/>
              <a:gd name="connsiteX5" fmla="*/ 13 w 1760182"/>
              <a:gd name="connsiteY5" fmla="*/ 858319 h 2995037"/>
              <a:gd name="connsiteX0" fmla="*/ 13 w 1760182"/>
              <a:gd name="connsiteY0" fmla="*/ 858319 h 3003213"/>
              <a:gd name="connsiteX1" fmla="*/ 1317137 w 1760182"/>
              <a:gd name="connsiteY1" fmla="*/ 112472 h 3003213"/>
              <a:gd name="connsiteX2" fmla="*/ 1503572 w 1760182"/>
              <a:gd name="connsiteY2" fmla="*/ 1515045 h 3003213"/>
              <a:gd name="connsiteX3" fmla="*/ 74876 w 1760182"/>
              <a:gd name="connsiteY3" fmla="*/ 2972033 h 3003213"/>
              <a:gd name="connsiteX4" fmla="*/ 1424 w 1760182"/>
              <a:gd name="connsiteY4" fmla="*/ 2938996 h 3003213"/>
              <a:gd name="connsiteX5" fmla="*/ 13 w 1760182"/>
              <a:gd name="connsiteY5" fmla="*/ 858319 h 3003213"/>
              <a:gd name="connsiteX0" fmla="*/ 13 w 1699398"/>
              <a:gd name="connsiteY0" fmla="*/ 858319 h 2990793"/>
              <a:gd name="connsiteX1" fmla="*/ 1317137 w 1699398"/>
              <a:gd name="connsiteY1" fmla="*/ 112472 h 2990793"/>
              <a:gd name="connsiteX2" fmla="*/ 1503572 w 1699398"/>
              <a:gd name="connsiteY2" fmla="*/ 1515045 h 2990793"/>
              <a:gd name="connsiteX3" fmla="*/ 101572 w 1699398"/>
              <a:gd name="connsiteY3" fmla="*/ 2947397 h 2990793"/>
              <a:gd name="connsiteX4" fmla="*/ 1424 w 1699398"/>
              <a:gd name="connsiteY4" fmla="*/ 2938996 h 2990793"/>
              <a:gd name="connsiteX5" fmla="*/ 13 w 1699398"/>
              <a:gd name="connsiteY5" fmla="*/ 858319 h 2990793"/>
              <a:gd name="connsiteX0" fmla="*/ 13 w 1699398"/>
              <a:gd name="connsiteY0" fmla="*/ 858319 h 2992199"/>
              <a:gd name="connsiteX1" fmla="*/ 1317137 w 1699398"/>
              <a:gd name="connsiteY1" fmla="*/ 112472 h 2992199"/>
              <a:gd name="connsiteX2" fmla="*/ 1503572 w 1699398"/>
              <a:gd name="connsiteY2" fmla="*/ 1515045 h 2992199"/>
              <a:gd name="connsiteX3" fmla="*/ 101572 w 1699398"/>
              <a:gd name="connsiteY3" fmla="*/ 2947397 h 2992199"/>
              <a:gd name="connsiteX4" fmla="*/ 1424 w 1699398"/>
              <a:gd name="connsiteY4" fmla="*/ 2938996 h 2992199"/>
              <a:gd name="connsiteX5" fmla="*/ 13 w 1699398"/>
              <a:gd name="connsiteY5" fmla="*/ 858319 h 2992199"/>
              <a:gd name="connsiteX0" fmla="*/ 13 w 1701077"/>
              <a:gd name="connsiteY0" fmla="*/ 858319 h 3006121"/>
              <a:gd name="connsiteX1" fmla="*/ 1317137 w 1701077"/>
              <a:gd name="connsiteY1" fmla="*/ 112472 h 3006121"/>
              <a:gd name="connsiteX2" fmla="*/ 1503572 w 1701077"/>
              <a:gd name="connsiteY2" fmla="*/ 1515045 h 3006121"/>
              <a:gd name="connsiteX3" fmla="*/ 74876 w 1701077"/>
              <a:gd name="connsiteY3" fmla="*/ 2974086 h 3006121"/>
              <a:gd name="connsiteX4" fmla="*/ 1424 w 1701077"/>
              <a:gd name="connsiteY4" fmla="*/ 2938996 h 3006121"/>
              <a:gd name="connsiteX5" fmla="*/ 13 w 1701077"/>
              <a:gd name="connsiteY5" fmla="*/ 858319 h 3006121"/>
              <a:gd name="connsiteX0" fmla="*/ 13 w 1701077"/>
              <a:gd name="connsiteY0" fmla="*/ 858319 h 2994525"/>
              <a:gd name="connsiteX1" fmla="*/ 1317137 w 1701077"/>
              <a:gd name="connsiteY1" fmla="*/ 112472 h 2994525"/>
              <a:gd name="connsiteX2" fmla="*/ 1503572 w 1701077"/>
              <a:gd name="connsiteY2" fmla="*/ 1515045 h 2994525"/>
              <a:gd name="connsiteX3" fmla="*/ 74876 w 1701077"/>
              <a:gd name="connsiteY3" fmla="*/ 2974086 h 2994525"/>
              <a:gd name="connsiteX4" fmla="*/ 1424 w 1701077"/>
              <a:gd name="connsiteY4" fmla="*/ 2938996 h 2994525"/>
              <a:gd name="connsiteX5" fmla="*/ 13 w 1701077"/>
              <a:gd name="connsiteY5" fmla="*/ 858319 h 2994525"/>
              <a:gd name="connsiteX0" fmla="*/ 13 w 1761447"/>
              <a:gd name="connsiteY0" fmla="*/ 858319 h 2994525"/>
              <a:gd name="connsiteX1" fmla="*/ 1317137 w 1761447"/>
              <a:gd name="connsiteY1" fmla="*/ 112472 h 2994525"/>
              <a:gd name="connsiteX2" fmla="*/ 1503572 w 1761447"/>
              <a:gd name="connsiteY2" fmla="*/ 1515045 h 2994525"/>
              <a:gd name="connsiteX3" fmla="*/ 74876 w 1761447"/>
              <a:gd name="connsiteY3" fmla="*/ 2974086 h 2994525"/>
              <a:gd name="connsiteX4" fmla="*/ 1424 w 1761447"/>
              <a:gd name="connsiteY4" fmla="*/ 2938996 h 2994525"/>
              <a:gd name="connsiteX5" fmla="*/ 13 w 1761447"/>
              <a:gd name="connsiteY5" fmla="*/ 858319 h 2994525"/>
              <a:gd name="connsiteX0" fmla="*/ 13 w 1753976"/>
              <a:gd name="connsiteY0" fmla="*/ 858319 h 2994525"/>
              <a:gd name="connsiteX1" fmla="*/ 1317137 w 1753976"/>
              <a:gd name="connsiteY1" fmla="*/ 112472 h 2994525"/>
              <a:gd name="connsiteX2" fmla="*/ 1503572 w 1753976"/>
              <a:gd name="connsiteY2" fmla="*/ 1515045 h 2994525"/>
              <a:gd name="connsiteX3" fmla="*/ 74876 w 1753976"/>
              <a:gd name="connsiteY3" fmla="*/ 2974086 h 2994525"/>
              <a:gd name="connsiteX4" fmla="*/ 1424 w 1753976"/>
              <a:gd name="connsiteY4" fmla="*/ 2938996 h 2994525"/>
              <a:gd name="connsiteX5" fmla="*/ 13 w 1753976"/>
              <a:gd name="connsiteY5" fmla="*/ 858319 h 2994525"/>
              <a:gd name="connsiteX0" fmla="*/ 13 w 1753976"/>
              <a:gd name="connsiteY0" fmla="*/ 858319 h 2994525"/>
              <a:gd name="connsiteX1" fmla="*/ 1317137 w 1753976"/>
              <a:gd name="connsiteY1" fmla="*/ 112472 h 2994525"/>
              <a:gd name="connsiteX2" fmla="*/ 1503572 w 1753976"/>
              <a:gd name="connsiteY2" fmla="*/ 1515045 h 2994525"/>
              <a:gd name="connsiteX3" fmla="*/ 74876 w 1753976"/>
              <a:gd name="connsiteY3" fmla="*/ 2974086 h 2994525"/>
              <a:gd name="connsiteX4" fmla="*/ 1424 w 1753976"/>
              <a:gd name="connsiteY4" fmla="*/ 2938996 h 2994525"/>
              <a:gd name="connsiteX5" fmla="*/ 13 w 1753976"/>
              <a:gd name="connsiteY5" fmla="*/ 858319 h 2994525"/>
              <a:gd name="connsiteX0" fmla="*/ 13 w 1753976"/>
              <a:gd name="connsiteY0" fmla="*/ 858319 h 2995168"/>
              <a:gd name="connsiteX1" fmla="*/ 1317137 w 1753976"/>
              <a:gd name="connsiteY1" fmla="*/ 112472 h 2995168"/>
              <a:gd name="connsiteX2" fmla="*/ 1503572 w 1753976"/>
              <a:gd name="connsiteY2" fmla="*/ 1515045 h 2995168"/>
              <a:gd name="connsiteX3" fmla="*/ 74876 w 1753976"/>
              <a:gd name="connsiteY3" fmla="*/ 2974086 h 2995168"/>
              <a:gd name="connsiteX4" fmla="*/ 1424 w 1753976"/>
              <a:gd name="connsiteY4" fmla="*/ 2938996 h 2995168"/>
              <a:gd name="connsiteX5" fmla="*/ 13 w 1753976"/>
              <a:gd name="connsiteY5" fmla="*/ 858319 h 2995168"/>
              <a:gd name="connsiteX0" fmla="*/ 13 w 1753976"/>
              <a:gd name="connsiteY0" fmla="*/ 858319 h 2992234"/>
              <a:gd name="connsiteX1" fmla="*/ 1317137 w 1753976"/>
              <a:gd name="connsiteY1" fmla="*/ 112472 h 2992234"/>
              <a:gd name="connsiteX2" fmla="*/ 1503572 w 1753976"/>
              <a:gd name="connsiteY2" fmla="*/ 1515045 h 2992234"/>
              <a:gd name="connsiteX3" fmla="*/ 74876 w 1753976"/>
              <a:gd name="connsiteY3" fmla="*/ 2974086 h 2992234"/>
              <a:gd name="connsiteX4" fmla="*/ 1424 w 1753976"/>
              <a:gd name="connsiteY4" fmla="*/ 2938996 h 2992234"/>
              <a:gd name="connsiteX5" fmla="*/ 13 w 1753976"/>
              <a:gd name="connsiteY5" fmla="*/ 858319 h 29922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53976" h="2992234">
                <a:moveTo>
                  <a:pt x="13" y="858319"/>
                </a:moveTo>
                <a:cubicBezTo>
                  <a:pt x="-3215" y="318604"/>
                  <a:pt x="626118" y="-245536"/>
                  <a:pt x="1317137" y="112472"/>
                </a:cubicBezTo>
                <a:cubicBezTo>
                  <a:pt x="1885310" y="453554"/>
                  <a:pt x="1845745" y="1161058"/>
                  <a:pt x="1503572" y="1515045"/>
                </a:cubicBezTo>
                <a:cubicBezTo>
                  <a:pt x="1211764" y="1816929"/>
                  <a:pt x="93646" y="2954272"/>
                  <a:pt x="74876" y="2974086"/>
                </a:cubicBezTo>
                <a:cubicBezTo>
                  <a:pt x="56106" y="2993900"/>
                  <a:pt x="3595" y="3013732"/>
                  <a:pt x="1424" y="2938996"/>
                </a:cubicBezTo>
                <a:cubicBezTo>
                  <a:pt x="895" y="2572359"/>
                  <a:pt x="3241" y="1398034"/>
                  <a:pt x="13" y="85831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8264766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plen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FE2576E1-31BD-C845-ADD4-726465B812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01" y="0"/>
            <a:ext cx="12190413" cy="6858000"/>
          </a:xfrm>
          <a:prstGeom prst="rect">
            <a:avLst/>
          </a:prstGeom>
        </p:spPr>
      </p:pic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013" y="1420586"/>
            <a:ext cx="7969288" cy="14712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de-DE" dirty="0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0D456462-B682-AF4E-B6E9-FB1DB12437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013" y="2892425"/>
            <a:ext cx="7969288" cy="1206046"/>
          </a:xfrm>
          <a:prstGeom prst="rect">
            <a:avLst/>
          </a:prstGeom>
        </p:spPr>
        <p:txBody>
          <a:bodyPr/>
          <a:lstStyle>
            <a:lvl1pPr marL="15875" indent="0">
              <a:buNone/>
              <a:tabLst/>
              <a:defRPr lang="es-ES" sz="3200" b="0" i="0" kern="1200" dirty="0" smtClean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1pPr>
            <a:lvl2pPr>
              <a:buNone/>
              <a:defRPr lang="es-ES" sz="3600" b="1" i="0" kern="1200" dirty="0" smtClean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2pPr>
            <a:lvl3pPr>
              <a:buNone/>
              <a:defRPr lang="es-ES" sz="3600" b="1" i="0" kern="1200" dirty="0" smtClean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3pPr>
            <a:lvl4pPr>
              <a:buNone/>
              <a:defRPr lang="es-ES" sz="3600" b="1" i="0" kern="1200" dirty="0" smtClean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4pPr>
            <a:lvl5pPr>
              <a:buNone/>
              <a:defRPr lang="es-ES_tradnl" sz="3600" b="1" i="0" kern="1200" dirty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E4551566-AE41-1E47-866D-A220A8951356}"/>
              </a:ext>
            </a:extLst>
          </p:cNvPr>
          <p:cNvGrpSpPr/>
          <p:nvPr userDrawn="1"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10" name="Rechteck 11">
              <a:extLst>
                <a:ext uri="{FF2B5EF4-FFF2-40B4-BE49-F238E27FC236}">
                  <a16:creationId xmlns:a16="http://schemas.microsoft.com/office/drawing/2014/main" id="{4F3F8545-EF72-5441-8D15-8E188E79AFAC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2" name="Grafik 6">
              <a:extLst>
                <a:ext uri="{FF2B5EF4-FFF2-40B4-BE49-F238E27FC236}">
                  <a16:creationId xmlns:a16="http://schemas.microsoft.com/office/drawing/2014/main" id="{F44B10D2-3ABA-904B-95B7-1458E79C300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0153323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plen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n 11">
            <a:extLst>
              <a:ext uri="{FF2B5EF4-FFF2-40B4-BE49-F238E27FC236}">
                <a16:creationId xmlns:a16="http://schemas.microsoft.com/office/drawing/2014/main" id="{3DD4DB97-934A-7046-B981-7359E5B395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0412" cy="6858000"/>
          </a:xfrm>
          <a:prstGeom prst="rect">
            <a:avLst/>
          </a:prstGeom>
        </p:spPr>
      </p:pic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013" y="1420586"/>
            <a:ext cx="7969288" cy="14712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de-DE" dirty="0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0D456462-B682-AF4E-B6E9-FB1DB12437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013" y="2892425"/>
            <a:ext cx="7969288" cy="1206046"/>
          </a:xfrm>
          <a:prstGeom prst="rect">
            <a:avLst/>
          </a:prstGeom>
        </p:spPr>
        <p:txBody>
          <a:bodyPr/>
          <a:lstStyle>
            <a:lvl1pPr marL="15875" indent="0">
              <a:buNone/>
              <a:tabLst/>
              <a:defRPr lang="es-ES" sz="3200" b="0" i="0" kern="1200" dirty="0" smtClean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1pPr>
            <a:lvl2pPr>
              <a:buNone/>
              <a:defRPr lang="es-ES" sz="3600" b="1" i="0" kern="1200" dirty="0" smtClean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2pPr>
            <a:lvl3pPr>
              <a:buNone/>
              <a:defRPr lang="es-ES" sz="3600" b="1" i="0" kern="1200" dirty="0" smtClean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3pPr>
            <a:lvl4pPr>
              <a:buNone/>
              <a:defRPr lang="es-ES" sz="3600" b="1" i="0" kern="1200" dirty="0" smtClean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4pPr>
            <a:lvl5pPr>
              <a:buNone/>
              <a:defRPr lang="es-ES_tradnl" sz="3600" b="1" i="0" kern="1200" dirty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</p:txBody>
      </p:sp>
      <p:grpSp>
        <p:nvGrpSpPr>
          <p:cNvPr id="7" name="Gruppieren 7">
            <a:extLst>
              <a:ext uri="{FF2B5EF4-FFF2-40B4-BE49-F238E27FC236}">
                <a16:creationId xmlns:a16="http://schemas.microsoft.com/office/drawing/2014/main" id="{D3E0FB0F-9BF5-FF4A-AB0E-0915B00E2910}"/>
              </a:ext>
            </a:extLst>
          </p:cNvPr>
          <p:cNvGrpSpPr/>
          <p:nvPr userDrawn="1"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8" name="Rechteck 11">
              <a:extLst>
                <a:ext uri="{FF2B5EF4-FFF2-40B4-BE49-F238E27FC236}">
                  <a16:creationId xmlns:a16="http://schemas.microsoft.com/office/drawing/2014/main" id="{19F6E539-07F9-F643-AA53-E75BFC2E6DE3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9" name="Grafik 6">
              <a:extLst>
                <a:ext uri="{FF2B5EF4-FFF2-40B4-BE49-F238E27FC236}">
                  <a16:creationId xmlns:a16="http://schemas.microsoft.com/office/drawing/2014/main" id="{49AD3568-CD31-A446-B4AB-4531B106981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  <p:pic>
        <p:nvPicPr>
          <p:cNvPr id="13" name="Imagen 12">
            <a:extLst>
              <a:ext uri="{FF2B5EF4-FFF2-40B4-BE49-F238E27FC236}">
                <a16:creationId xmlns:a16="http://schemas.microsoft.com/office/drawing/2014/main" id="{D950C122-5A73-5E48-960E-DE22C68410A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53" y="5985284"/>
            <a:ext cx="3512082" cy="709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661482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83EAE33D-49A6-3C44-ABC9-603B89412C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46"/>
            <a:ext cx="12190413" cy="6857107"/>
          </a:xfrm>
          <a:prstGeom prst="rect">
            <a:avLst/>
          </a:prstGeom>
        </p:spPr>
      </p:pic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grpSp>
        <p:nvGrpSpPr>
          <p:cNvPr id="4" name="Gruppieren 7">
            <a:extLst>
              <a:ext uri="{FF2B5EF4-FFF2-40B4-BE49-F238E27FC236}">
                <a16:creationId xmlns:a16="http://schemas.microsoft.com/office/drawing/2014/main" id="{1290F414-4D6D-FF47-9798-261192D62DD6}"/>
              </a:ext>
            </a:extLst>
          </p:cNvPr>
          <p:cNvGrpSpPr/>
          <p:nvPr userDrawn="1"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5" name="Rechteck 11">
              <a:extLst>
                <a:ext uri="{FF2B5EF4-FFF2-40B4-BE49-F238E27FC236}">
                  <a16:creationId xmlns:a16="http://schemas.microsoft.com/office/drawing/2014/main" id="{AA1B08E5-64F7-BA42-BD8A-D40F8CED525B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6" name="Grafik 6">
              <a:extLst>
                <a:ext uri="{FF2B5EF4-FFF2-40B4-BE49-F238E27FC236}">
                  <a16:creationId xmlns:a16="http://schemas.microsoft.com/office/drawing/2014/main" id="{6319294D-6023-764F-8199-8B1B1518744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1935429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ch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7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E34E41C1-D162-4523-81CC-C7A39574D45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37439" y="2317598"/>
            <a:ext cx="6183516" cy="223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0482876"/>
      </p:ext>
    </p:extLst>
  </p:cSld>
  <p:clrMapOvr>
    <a:masterClrMapping/>
  </p:clrMapOvr>
  <p:transition spd="med"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144D1AEB-C62E-1B4F-8478-7E3627906A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7200"/>
                    </a14:imgEffect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094"/>
            <a:ext cx="12190413" cy="6854906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5987006" y="1952836"/>
            <a:ext cx="6203407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accent1"/>
              </a:solidFill>
            </a:endParaRPr>
          </a:p>
        </p:txBody>
      </p:sp>
      <p:sp>
        <p:nvSpPr>
          <p:cNvPr id="25" name="TitelPlaz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6311230" y="2341404"/>
            <a:ext cx="5400600" cy="2160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>
                <a:solidFill>
                  <a:schemeClr val="accent1"/>
                </a:solidFill>
              </a:defRPr>
            </a:lvl1pPr>
          </a:lstStyle>
          <a:p>
            <a:r>
              <a:rPr lang="en-US" sz="3400" noProof="1"/>
              <a:t>Título de presentación</a:t>
            </a:r>
            <a:endParaRPr lang="en-US" sz="3400" b="0" noProof="1"/>
          </a:p>
        </p:txBody>
      </p:sp>
      <p:sp>
        <p:nvSpPr>
          <p:cNvPr id="22" name="Textplatzhalter 40">
            <a:extLst>
              <a:ext uri="{FF2B5EF4-FFF2-40B4-BE49-F238E27FC236}">
                <a16:creationId xmlns:a16="http://schemas.microsoft.com/office/drawing/2014/main" id="{85296242-A40B-A341-815F-35D6E6CC51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14693" y="4517638"/>
            <a:ext cx="4097137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="1">
                <a:solidFill>
                  <a:schemeClr val="accent6">
                    <a:lumMod val="7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_tradnl" noProof="1"/>
              <a:t>Responsable</a:t>
            </a:r>
          </a:p>
        </p:txBody>
      </p:sp>
      <p:sp>
        <p:nvSpPr>
          <p:cNvPr id="23" name="Textplatzhalter 40">
            <a:extLst>
              <a:ext uri="{FF2B5EF4-FFF2-40B4-BE49-F238E27FC236}">
                <a16:creationId xmlns:a16="http://schemas.microsoft.com/office/drawing/2014/main" id="{0506C5A7-3436-3740-95E4-2E008B1D1D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14693" y="5023412"/>
            <a:ext cx="4097137" cy="43313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0">
                <a:solidFill>
                  <a:schemeClr val="accent6">
                    <a:lumMod val="7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_tradnl" noProof="1"/>
              <a:t>Cargo</a:t>
            </a:r>
          </a:p>
        </p:txBody>
      </p:sp>
      <p:sp>
        <p:nvSpPr>
          <p:cNvPr id="24" name="Marcador de posición de imagen 6">
            <a:extLst>
              <a:ext uri="{FF2B5EF4-FFF2-40B4-BE49-F238E27FC236}">
                <a16:creationId xmlns:a16="http://schemas.microsoft.com/office/drawing/2014/main" id="{80977B4C-CC33-F94E-A0D0-9F92BDC79A8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226941" y="4374275"/>
            <a:ext cx="1225640" cy="122564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/>
          <a:lstStyle>
            <a:lvl1pPr marL="6350" indent="0" algn="ctr">
              <a:buNone/>
              <a:tabLst/>
              <a:defRPr sz="120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r>
              <a:rPr lang="es-ES_tradnl" dirty="0"/>
              <a:t>FOTO ORADOR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04D31B83-2E89-446B-AD46-9CF55729D5E9}"/>
              </a:ext>
            </a:extLst>
          </p:cNvPr>
          <p:cNvGrpSpPr/>
          <p:nvPr/>
        </p:nvGrpSpPr>
        <p:grpSpPr>
          <a:xfrm>
            <a:off x="5996579" y="872716"/>
            <a:ext cx="6194418" cy="1080000"/>
            <a:chOff x="5996579" y="872716"/>
            <a:chExt cx="6194418" cy="1080000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817AAF36-E66A-4DB6-BD1B-EB1CC84B378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996579" y="872716"/>
              <a:ext cx="6194418" cy="10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FB15633F-B6BF-4487-A284-A3B5B6192C0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59808" y="1136032"/>
              <a:ext cx="1619425" cy="586722"/>
            </a:xfrm>
            <a:prstGeom prst="rect">
              <a:avLst/>
            </a:prstGeom>
          </p:spPr>
        </p:pic>
      </p:grpSp>
      <p:pic>
        <p:nvPicPr>
          <p:cNvPr id="12" name="Imagen 11">
            <a:extLst>
              <a:ext uri="{FF2B5EF4-FFF2-40B4-BE49-F238E27FC236}">
                <a16:creationId xmlns:a16="http://schemas.microsoft.com/office/drawing/2014/main" id="{DC1F5F56-DF1D-1044-91BB-E30DC6F95F1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53" y="5985284"/>
            <a:ext cx="3512082" cy="709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3731973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>
            <a:extLst>
              <a:ext uri="{FF2B5EF4-FFF2-40B4-BE49-F238E27FC236}">
                <a16:creationId xmlns:a16="http://schemas.microsoft.com/office/drawing/2014/main" id="{837CE5CA-A8D0-844A-9C7B-CC9FABBB2F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9403" cy="6858000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5995995" y="800708"/>
            <a:ext cx="6203408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1">
              <a:solidFill>
                <a:schemeClr val="accent1"/>
              </a:solidFill>
            </a:endParaRPr>
          </a:p>
        </p:txBody>
      </p:sp>
      <p:sp>
        <p:nvSpPr>
          <p:cNvPr id="25" name="TitelPlaz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6275226" y="1232756"/>
            <a:ext cx="5445350" cy="22968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400">
                <a:solidFill>
                  <a:schemeClr val="accent1"/>
                </a:solidFill>
              </a:defRPr>
            </a:lvl1pPr>
          </a:lstStyle>
          <a:p>
            <a:r>
              <a:rPr lang="en-US" noProof="1"/>
              <a:t>Título de presentación</a:t>
            </a:r>
          </a:p>
        </p:txBody>
      </p:sp>
      <p:sp>
        <p:nvSpPr>
          <p:cNvPr id="26" name="Textplatzhalter 40">
            <a:extLst>
              <a:ext uri="{FF2B5EF4-FFF2-40B4-BE49-F238E27FC236}">
                <a16:creationId xmlns:a16="http://schemas.microsoft.com/office/drawing/2014/main" id="{36E1BB36-5928-6647-BC7F-D5569C739E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67961" y="3597413"/>
            <a:ext cx="5443762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600" b="1">
                <a:solidFill>
                  <a:schemeClr val="accent6">
                    <a:lumMod val="7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" noProof="1"/>
              <a:t>Responsable</a:t>
            </a:r>
            <a:endParaRPr lang="es-AR" noProof="1"/>
          </a:p>
        </p:txBody>
      </p:sp>
      <p:sp>
        <p:nvSpPr>
          <p:cNvPr id="27" name="Textplatzhalter 40">
            <a:extLst>
              <a:ext uri="{FF2B5EF4-FFF2-40B4-BE49-F238E27FC236}">
                <a16:creationId xmlns:a16="http://schemas.microsoft.com/office/drawing/2014/main" id="{A8A2ADA2-3876-4C46-9ACF-4339FED3974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67961" y="4103187"/>
            <a:ext cx="5443762" cy="43313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400" b="0">
                <a:solidFill>
                  <a:schemeClr val="accent6">
                    <a:lumMod val="7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" noProof="1"/>
              <a:t>Cargo</a:t>
            </a:r>
            <a:endParaRPr lang="es-AR" noProof="1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4824817-2139-4738-B40B-D941412B7ECA}"/>
              </a:ext>
            </a:extLst>
          </p:cNvPr>
          <p:cNvGrpSpPr/>
          <p:nvPr/>
        </p:nvGrpSpPr>
        <p:grpSpPr>
          <a:xfrm>
            <a:off x="5995995" y="4687321"/>
            <a:ext cx="6194418" cy="1080000"/>
            <a:chOff x="5995995" y="4687321"/>
            <a:chExt cx="6194418" cy="1080000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772A11FC-14A0-4F7F-9E95-7F879018621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995995" y="4687321"/>
              <a:ext cx="6194418" cy="10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2FDE93F7-B7D1-4397-9B86-4FF056C41D6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68213" y="4950637"/>
              <a:ext cx="1619425" cy="586722"/>
            </a:xfrm>
            <a:prstGeom prst="rect">
              <a:avLst/>
            </a:prstGeom>
          </p:spPr>
        </p:pic>
      </p:grpSp>
      <p:pic>
        <p:nvPicPr>
          <p:cNvPr id="17" name="Imagen 16">
            <a:extLst>
              <a:ext uri="{FF2B5EF4-FFF2-40B4-BE49-F238E27FC236}">
                <a16:creationId xmlns:a16="http://schemas.microsoft.com/office/drawing/2014/main" id="{5AFD335A-8B20-3843-A62A-F4EB2A5EA87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53" y="91075"/>
            <a:ext cx="3512082" cy="709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430167"/>
      </p:ext>
    </p:extLst>
  </p:cSld>
  <p:clrMapOvr>
    <a:masterClrMapping/>
  </p:clrMapOvr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72974713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ier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70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10">
            <a:extLst>
              <a:ext uri="{FF2B5EF4-FFF2-40B4-BE49-F238E27FC236}">
                <a16:creationId xmlns:a16="http://schemas.microsoft.com/office/drawing/2014/main" id="{E34E41C1-D162-4523-81CC-C7A39574D45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37439" y="2317598"/>
            <a:ext cx="6183516" cy="223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452212"/>
      </p:ext>
    </p:extLst>
  </p:cSld>
  <p:clrMapOvr>
    <a:masterClrMapping/>
  </p:clrMapOvr>
  <p:transition spd="med"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47940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A2B77583-9AF8-B94D-993F-BF67206DA2B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013" y="2024063"/>
            <a:ext cx="11736387" cy="3925887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5552830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lateral + nume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7839844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 dirty="0"/>
              <a:t>Haga clic para modificar el estilo de título</a:t>
            </a:r>
            <a:br>
              <a:rPr lang="es-ES" dirty="0"/>
            </a:br>
            <a:r>
              <a:rPr lang="es-ES" dirty="0"/>
              <a:t>del patrón</a:t>
            </a:r>
            <a:endParaRPr lang="de-DE" dirty="0"/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D720F73B-9F29-9145-9628-03FF78B4B9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013" y="2024063"/>
            <a:ext cx="6859587" cy="392588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SzPct val="120000"/>
              <a:buFont typeface="+mj-lt"/>
              <a:buAutoNum type="arabicPeriod"/>
              <a:defRPr sz="1800"/>
            </a:lvl1pPr>
            <a:lvl2pPr>
              <a:buFont typeface="+mj-lt"/>
              <a:buAutoNum type="arabicPeriod"/>
              <a:defRPr/>
            </a:lvl2pPr>
            <a:lvl3pPr>
              <a:buFont typeface="+mj-lt"/>
              <a:buAutoNum type="arabicPeriod"/>
              <a:defRPr/>
            </a:lvl3pPr>
            <a:lvl4pPr>
              <a:buFont typeface="+mj-lt"/>
              <a:buAutoNum type="arabicPeriod"/>
              <a:defRPr/>
            </a:lvl4pPr>
            <a:lvl5pPr>
              <a:buFont typeface="+mj-lt"/>
              <a:buAutoNum type="arabicPeriod"/>
              <a:defRPr/>
            </a:lvl5pPr>
          </a:lstStyle>
          <a:p>
            <a:pPr lvl="0"/>
            <a:r>
              <a:rPr lang="es-ES" dirty="0"/>
              <a:t> Haga clic para modificar los estilos de texto del patrón</a:t>
            </a:r>
          </a:p>
          <a:p>
            <a:pPr lvl="0"/>
            <a:endParaRPr lang="es-ES" dirty="0"/>
          </a:p>
        </p:txBody>
      </p:sp>
      <p:sp>
        <p:nvSpPr>
          <p:cNvPr id="12" name="Marcador de posición de imagen 2">
            <a:extLst>
              <a:ext uri="{FF2B5EF4-FFF2-40B4-BE49-F238E27FC236}">
                <a16:creationId xmlns:a16="http://schemas.microsoft.com/office/drawing/2014/main" id="{8C9E2F71-2F7C-F147-B566-A04E332D47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219949" y="0"/>
            <a:ext cx="4970464" cy="6858000"/>
          </a:xfrm>
          <a:custGeom>
            <a:avLst/>
            <a:gdLst>
              <a:gd name="connsiteX0" fmla="*/ 0 w 4970464"/>
              <a:gd name="connsiteY0" fmla="*/ 0 h 6858000"/>
              <a:gd name="connsiteX1" fmla="*/ 4970464 w 4970464"/>
              <a:gd name="connsiteY1" fmla="*/ 0 h 6858000"/>
              <a:gd name="connsiteX2" fmla="*/ 4970464 w 4970464"/>
              <a:gd name="connsiteY2" fmla="*/ 6858000 h 6858000"/>
              <a:gd name="connsiteX3" fmla="*/ 0 w 4970464"/>
              <a:gd name="connsiteY3" fmla="*/ 6858000 h 6858000"/>
              <a:gd name="connsiteX4" fmla="*/ 0 w 4970464"/>
              <a:gd name="connsiteY4" fmla="*/ 0 h 6858000"/>
              <a:gd name="connsiteX0" fmla="*/ 1489075 w 4970464"/>
              <a:gd name="connsiteY0" fmla="*/ 0 h 6858000"/>
              <a:gd name="connsiteX1" fmla="*/ 4970464 w 4970464"/>
              <a:gd name="connsiteY1" fmla="*/ 0 h 6858000"/>
              <a:gd name="connsiteX2" fmla="*/ 4970464 w 4970464"/>
              <a:gd name="connsiteY2" fmla="*/ 6858000 h 6858000"/>
              <a:gd name="connsiteX3" fmla="*/ 0 w 4970464"/>
              <a:gd name="connsiteY3" fmla="*/ 6858000 h 6858000"/>
              <a:gd name="connsiteX4" fmla="*/ 1489075 w 4970464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70464" h="6858000">
                <a:moveTo>
                  <a:pt x="1489075" y="0"/>
                </a:moveTo>
                <a:lnTo>
                  <a:pt x="4970464" y="0"/>
                </a:lnTo>
                <a:lnTo>
                  <a:pt x="4970464" y="6858000"/>
                </a:lnTo>
                <a:lnTo>
                  <a:pt x="0" y="6858000"/>
                </a:lnTo>
                <a:lnTo>
                  <a:pt x="1489075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s-ES_tradnl"/>
          </a:p>
        </p:txBody>
      </p:sp>
      <p:grpSp>
        <p:nvGrpSpPr>
          <p:cNvPr id="14" name="Gruppieren 7">
            <a:extLst>
              <a:ext uri="{FF2B5EF4-FFF2-40B4-BE49-F238E27FC236}">
                <a16:creationId xmlns:a16="http://schemas.microsoft.com/office/drawing/2014/main" id="{DB263EC1-F49F-FD4F-9053-7D8D3FDAF6A5}"/>
              </a:ext>
            </a:extLst>
          </p:cNvPr>
          <p:cNvGrpSpPr/>
          <p:nvPr userDrawn="1"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16" name="Rechteck 11">
              <a:extLst>
                <a:ext uri="{FF2B5EF4-FFF2-40B4-BE49-F238E27FC236}">
                  <a16:creationId xmlns:a16="http://schemas.microsoft.com/office/drawing/2014/main" id="{F4616881-C6A5-514A-A321-B8532100700E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" name="Grafik 6">
              <a:extLst>
                <a:ext uri="{FF2B5EF4-FFF2-40B4-BE49-F238E27FC236}">
                  <a16:creationId xmlns:a16="http://schemas.microsoft.com/office/drawing/2014/main" id="{46550900-C09F-0E45-93DE-3A27EF5A5AA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719486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9.xml"/><Relationship Id="rId21" Type="http://schemas.openxmlformats.org/officeDocument/2006/relationships/slideLayout" Target="../slideLayouts/slideLayout27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image" Target="../media/image10.png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599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4" r:id="rId1"/>
    <p:sldLayoutId id="2147483825" r:id="rId2"/>
    <p:sldLayoutId id="2147483826" r:id="rId3"/>
    <p:sldLayoutId id="2147483827" r:id="rId4"/>
    <p:sldLayoutId id="2147483828" r:id="rId5"/>
    <p:sldLayoutId id="2147483855" r:id="rId6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110000"/>
        </a:spcBef>
        <a:spcAft>
          <a:spcPct val="110000"/>
        </a:spcAft>
        <a:buNone/>
        <a:defRPr sz="3000" b="1" i="0" kern="1200">
          <a:solidFill>
            <a:srgbClr val="000000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4B6A72FA-458D-4538-AEDE-4F7F38509E9E}"/>
              </a:ext>
            </a:extLst>
          </p:cNvPr>
          <p:cNvGrpSpPr/>
          <p:nvPr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E277971D-6070-4B2E-994F-CFD4ABE539B7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16603E70-F65B-482B-8F9B-7B6AEACE74E9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  <p:sp>
        <p:nvSpPr>
          <p:cNvPr id="5" name="Titelplatzhalter 4">
            <a:extLst>
              <a:ext uri="{FF2B5EF4-FFF2-40B4-BE49-F238E27FC236}">
                <a16:creationId xmlns:a16="http://schemas.microsoft.com/office/drawing/2014/main" id="{37FE3EDC-0827-4CF8-B2E7-B826A23D8F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77030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1" r:id="rId1"/>
    <p:sldLayoutId id="2147483834" r:id="rId2"/>
    <p:sldLayoutId id="2147483835" r:id="rId3"/>
    <p:sldLayoutId id="2147483837" r:id="rId4"/>
    <p:sldLayoutId id="2147483836" r:id="rId5"/>
    <p:sldLayoutId id="2147483838" r:id="rId6"/>
    <p:sldLayoutId id="2147483852" r:id="rId7"/>
    <p:sldLayoutId id="2147483853" r:id="rId8"/>
    <p:sldLayoutId id="2147483840" r:id="rId9"/>
    <p:sldLayoutId id="2147483842" r:id="rId10"/>
    <p:sldLayoutId id="2147483843" r:id="rId11"/>
    <p:sldLayoutId id="2147483848" r:id="rId12"/>
    <p:sldLayoutId id="2147483841" r:id="rId13"/>
    <p:sldLayoutId id="2147483844" r:id="rId14"/>
    <p:sldLayoutId id="2147483847" r:id="rId15"/>
    <p:sldLayoutId id="2147483839" r:id="rId16"/>
    <p:sldLayoutId id="2147483845" r:id="rId17"/>
    <p:sldLayoutId id="2147483846" r:id="rId18"/>
    <p:sldLayoutId id="2147483849" r:id="rId19"/>
    <p:sldLayoutId id="2147483850" r:id="rId20"/>
    <p:sldLayoutId id="2147483851" r:id="rId21"/>
    <p:sldLayoutId id="2147483833" r:id="rId22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800" b="1" i="0" kern="1200">
          <a:solidFill>
            <a:schemeClr val="accent1"/>
          </a:solidFill>
          <a:latin typeface="Arial"/>
          <a:ea typeface="+mj-ea"/>
          <a:cs typeface="+mj-cs"/>
        </a:defRPr>
      </a:lvl1pPr>
    </p:titleStyle>
    <p:bodyStyle>
      <a:lvl1pPr marL="342900" marR="0" indent="-342900" algn="l" defTabSz="914400" rtl="0" eaLnBrk="1" fontAlgn="base" latinLnBrk="0" hangingPunct="1">
        <a:lnSpc>
          <a:spcPct val="110000"/>
        </a:lnSpc>
        <a:spcBef>
          <a:spcPts val="0"/>
        </a:spcBef>
        <a:spcAft>
          <a:spcPct val="0"/>
        </a:spcAft>
        <a:buClr>
          <a:schemeClr val="accent1"/>
        </a:buClr>
        <a:buSzTx/>
        <a:buFont typeface="Wingdings" panose="05000000000000000000" pitchFamily="2" charset="2"/>
        <a:buChar char="n"/>
        <a:tabLst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1pPr>
      <a:lvl2pPr marL="715963" marR="0" indent="-358775" algn="l" defTabSz="914400" rtl="0" eaLnBrk="1" fontAlgn="base" latinLnBrk="0" hangingPunct="1">
        <a:lnSpc>
          <a:spcPct val="110000"/>
        </a:lnSpc>
        <a:spcBef>
          <a:spcPts val="600"/>
        </a:spcBef>
        <a:spcAft>
          <a:spcPct val="0"/>
        </a:spcAft>
        <a:buClr>
          <a:schemeClr val="accent1"/>
        </a:buClr>
        <a:buSzPct val="90000"/>
        <a:buFont typeface="Wingdings 3" panose="05040102010807070707" pitchFamily="18" charset="2"/>
        <a:buChar char=""/>
        <a:tabLst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2pPr>
      <a:lvl3pPr marL="1081088" marR="0" indent="-365125" algn="l" defTabSz="914400" rtl="0" eaLnBrk="1" fontAlgn="base" latinLnBrk="0" hangingPunct="1">
        <a:lnSpc>
          <a:spcPct val="110000"/>
        </a:lnSpc>
        <a:spcBef>
          <a:spcPts val="300"/>
        </a:spcBef>
        <a:spcAft>
          <a:spcPts val="0"/>
        </a:spcAft>
        <a:buClr>
          <a:schemeClr val="accent1"/>
        </a:buClr>
        <a:buSzPct val="95000"/>
        <a:buFont typeface="Arial" panose="020B0604020202020204" pitchFamily="34" charset="0"/>
        <a:buChar char="●"/>
        <a:tabLst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3pPr>
      <a:lvl4pPr marL="1433513" marR="0" indent="-358775" algn="l" defTabSz="914400" rtl="0" eaLnBrk="1" fontAlgn="base" latinLnBrk="0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SzTx/>
        <a:buFont typeface="Arial" panose="020B0604020202020204" pitchFamily="34" charset="0"/>
        <a:buChar char="−"/>
        <a:tabLst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5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42">
          <p15:clr>
            <a:srgbClr val="F26B43"/>
          </p15:clr>
        </p15:guide>
        <p15:guide id="4" pos="143">
          <p15:clr>
            <a:srgbClr val="F26B43"/>
          </p15:clr>
        </p15:guide>
        <p15:guide id="5" pos="7536">
          <p15:clr>
            <a:srgbClr val="F26B43"/>
          </p15:clr>
        </p15:guide>
        <p15:guide id="10" orient="horz" pos="1275">
          <p15:clr>
            <a:srgbClr val="F26B43"/>
          </p15:clr>
        </p15:guide>
        <p15:guide id="11" orient="horz" pos="4178">
          <p15:clr>
            <a:srgbClr val="F26B43"/>
          </p15:clr>
        </p15:guide>
        <p15:guide id="12" orient="horz" pos="3748" userDrawn="1">
          <p15:clr>
            <a:srgbClr val="F26B43"/>
          </p15:clr>
        </p15:guide>
        <p15:guide id="13" orient="horz" pos="10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40.svg"/><Relationship Id="rId5" Type="http://schemas.openxmlformats.org/officeDocument/2006/relationships/image" Target="../media/image39.png"/><Relationship Id="rId4" Type="http://schemas.openxmlformats.org/officeDocument/2006/relationships/image" Target="../media/image38.sv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44.pn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24.xml.rels><?xml version="1.0" encoding="UTF-8" standalone="yes"?>
<Relationships xmlns="http://schemas.openxmlformats.org/package/2006/relationships"><Relationship Id="rId26" Type="http://schemas.openxmlformats.org/officeDocument/2006/relationships/image" Target="../media/image65.svg"/><Relationship Id="rId21" Type="http://schemas.openxmlformats.org/officeDocument/2006/relationships/image" Target="../media/image60.png"/><Relationship Id="rId42" Type="http://schemas.openxmlformats.org/officeDocument/2006/relationships/image" Target="../media/image81.svg"/><Relationship Id="rId47" Type="http://schemas.openxmlformats.org/officeDocument/2006/relationships/image" Target="../media/image86.png"/><Relationship Id="rId63" Type="http://schemas.openxmlformats.org/officeDocument/2006/relationships/image" Target="../media/image102.png"/><Relationship Id="rId68" Type="http://schemas.openxmlformats.org/officeDocument/2006/relationships/image" Target="../media/image107.svg"/><Relationship Id="rId84" Type="http://schemas.openxmlformats.org/officeDocument/2006/relationships/image" Target="../media/image123.svg"/><Relationship Id="rId89" Type="http://schemas.openxmlformats.org/officeDocument/2006/relationships/image" Target="../media/image128.png"/><Relationship Id="rId112" Type="http://schemas.openxmlformats.org/officeDocument/2006/relationships/image" Target="../media/image151.svg"/><Relationship Id="rId16" Type="http://schemas.openxmlformats.org/officeDocument/2006/relationships/image" Target="../media/image55.svg"/><Relationship Id="rId107" Type="http://schemas.openxmlformats.org/officeDocument/2006/relationships/image" Target="../media/image146.png"/><Relationship Id="rId11" Type="http://schemas.openxmlformats.org/officeDocument/2006/relationships/image" Target="../media/image50.png"/><Relationship Id="rId32" Type="http://schemas.openxmlformats.org/officeDocument/2006/relationships/image" Target="../media/image71.svg"/><Relationship Id="rId37" Type="http://schemas.openxmlformats.org/officeDocument/2006/relationships/image" Target="../media/image76.png"/><Relationship Id="rId53" Type="http://schemas.openxmlformats.org/officeDocument/2006/relationships/image" Target="../media/image92.png"/><Relationship Id="rId58" Type="http://schemas.openxmlformats.org/officeDocument/2006/relationships/image" Target="../media/image97.svg"/><Relationship Id="rId74" Type="http://schemas.openxmlformats.org/officeDocument/2006/relationships/image" Target="../media/image113.svg"/><Relationship Id="rId79" Type="http://schemas.openxmlformats.org/officeDocument/2006/relationships/image" Target="../media/image118.png"/><Relationship Id="rId102" Type="http://schemas.openxmlformats.org/officeDocument/2006/relationships/image" Target="../media/image141.svg"/><Relationship Id="rId5" Type="http://schemas.openxmlformats.org/officeDocument/2006/relationships/oleObject" Target="../embeddings/oleObject3.bin"/><Relationship Id="rId90" Type="http://schemas.openxmlformats.org/officeDocument/2006/relationships/image" Target="../media/image129.svg"/><Relationship Id="rId95" Type="http://schemas.openxmlformats.org/officeDocument/2006/relationships/image" Target="../media/image134.png"/><Relationship Id="rId22" Type="http://schemas.openxmlformats.org/officeDocument/2006/relationships/image" Target="../media/image61.svg"/><Relationship Id="rId27" Type="http://schemas.openxmlformats.org/officeDocument/2006/relationships/image" Target="../media/image66.png"/><Relationship Id="rId43" Type="http://schemas.openxmlformats.org/officeDocument/2006/relationships/image" Target="../media/image82.png"/><Relationship Id="rId48" Type="http://schemas.openxmlformats.org/officeDocument/2006/relationships/image" Target="../media/image87.svg"/><Relationship Id="rId64" Type="http://schemas.openxmlformats.org/officeDocument/2006/relationships/image" Target="../media/image103.svg"/><Relationship Id="rId69" Type="http://schemas.openxmlformats.org/officeDocument/2006/relationships/image" Target="../media/image108.png"/><Relationship Id="rId80" Type="http://schemas.openxmlformats.org/officeDocument/2006/relationships/image" Target="../media/image119.svg"/><Relationship Id="rId85" Type="http://schemas.openxmlformats.org/officeDocument/2006/relationships/image" Target="../media/image124.png"/><Relationship Id="rId12" Type="http://schemas.openxmlformats.org/officeDocument/2006/relationships/image" Target="../media/image51.svg"/><Relationship Id="rId17" Type="http://schemas.openxmlformats.org/officeDocument/2006/relationships/image" Target="../media/image56.png"/><Relationship Id="rId33" Type="http://schemas.openxmlformats.org/officeDocument/2006/relationships/image" Target="../media/image72.png"/><Relationship Id="rId38" Type="http://schemas.openxmlformats.org/officeDocument/2006/relationships/image" Target="../media/image77.svg"/><Relationship Id="rId59" Type="http://schemas.openxmlformats.org/officeDocument/2006/relationships/image" Target="../media/image98.png"/><Relationship Id="rId103" Type="http://schemas.openxmlformats.org/officeDocument/2006/relationships/image" Target="../media/image142.png"/><Relationship Id="rId108" Type="http://schemas.openxmlformats.org/officeDocument/2006/relationships/image" Target="../media/image147.svg"/><Relationship Id="rId54" Type="http://schemas.openxmlformats.org/officeDocument/2006/relationships/image" Target="../media/image93.svg"/><Relationship Id="rId70" Type="http://schemas.openxmlformats.org/officeDocument/2006/relationships/image" Target="../media/image109.svg"/><Relationship Id="rId75" Type="http://schemas.openxmlformats.org/officeDocument/2006/relationships/image" Target="../media/image114.png"/><Relationship Id="rId91" Type="http://schemas.openxmlformats.org/officeDocument/2006/relationships/image" Target="../media/image130.png"/><Relationship Id="rId96" Type="http://schemas.openxmlformats.org/officeDocument/2006/relationships/image" Target="../media/image135.svg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15" Type="http://schemas.openxmlformats.org/officeDocument/2006/relationships/image" Target="../media/image54.png"/><Relationship Id="rId23" Type="http://schemas.openxmlformats.org/officeDocument/2006/relationships/image" Target="../media/image62.png"/><Relationship Id="rId28" Type="http://schemas.openxmlformats.org/officeDocument/2006/relationships/image" Target="../media/image67.svg"/><Relationship Id="rId36" Type="http://schemas.openxmlformats.org/officeDocument/2006/relationships/image" Target="../media/image75.svg"/><Relationship Id="rId49" Type="http://schemas.openxmlformats.org/officeDocument/2006/relationships/image" Target="../media/image88.png"/><Relationship Id="rId57" Type="http://schemas.openxmlformats.org/officeDocument/2006/relationships/image" Target="../media/image96.png"/><Relationship Id="rId106" Type="http://schemas.openxmlformats.org/officeDocument/2006/relationships/image" Target="../media/image145.svg"/><Relationship Id="rId10" Type="http://schemas.openxmlformats.org/officeDocument/2006/relationships/image" Target="../media/image49.svg"/><Relationship Id="rId31" Type="http://schemas.openxmlformats.org/officeDocument/2006/relationships/image" Target="../media/image70.png"/><Relationship Id="rId44" Type="http://schemas.openxmlformats.org/officeDocument/2006/relationships/image" Target="../media/image83.svg"/><Relationship Id="rId52" Type="http://schemas.openxmlformats.org/officeDocument/2006/relationships/image" Target="../media/image91.svg"/><Relationship Id="rId60" Type="http://schemas.openxmlformats.org/officeDocument/2006/relationships/image" Target="../media/image99.svg"/><Relationship Id="rId65" Type="http://schemas.openxmlformats.org/officeDocument/2006/relationships/image" Target="../media/image104.png"/><Relationship Id="rId73" Type="http://schemas.openxmlformats.org/officeDocument/2006/relationships/image" Target="../media/image112.png"/><Relationship Id="rId78" Type="http://schemas.openxmlformats.org/officeDocument/2006/relationships/image" Target="../media/image117.svg"/><Relationship Id="rId81" Type="http://schemas.openxmlformats.org/officeDocument/2006/relationships/image" Target="../media/image120.png"/><Relationship Id="rId86" Type="http://schemas.openxmlformats.org/officeDocument/2006/relationships/image" Target="../media/image125.svg"/><Relationship Id="rId94" Type="http://schemas.openxmlformats.org/officeDocument/2006/relationships/image" Target="../media/image133.svg"/><Relationship Id="rId99" Type="http://schemas.openxmlformats.org/officeDocument/2006/relationships/image" Target="../media/image138.png"/><Relationship Id="rId101" Type="http://schemas.openxmlformats.org/officeDocument/2006/relationships/image" Target="../media/image140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48.png"/><Relationship Id="rId13" Type="http://schemas.openxmlformats.org/officeDocument/2006/relationships/image" Target="../media/image52.png"/><Relationship Id="rId18" Type="http://schemas.openxmlformats.org/officeDocument/2006/relationships/image" Target="../media/image57.svg"/><Relationship Id="rId39" Type="http://schemas.openxmlformats.org/officeDocument/2006/relationships/image" Target="../media/image78.png"/><Relationship Id="rId109" Type="http://schemas.openxmlformats.org/officeDocument/2006/relationships/image" Target="../media/image148.png"/><Relationship Id="rId34" Type="http://schemas.openxmlformats.org/officeDocument/2006/relationships/image" Target="../media/image73.svg"/><Relationship Id="rId50" Type="http://schemas.openxmlformats.org/officeDocument/2006/relationships/image" Target="../media/image89.svg"/><Relationship Id="rId55" Type="http://schemas.openxmlformats.org/officeDocument/2006/relationships/image" Target="../media/image94.png"/><Relationship Id="rId76" Type="http://schemas.openxmlformats.org/officeDocument/2006/relationships/image" Target="../media/image115.svg"/><Relationship Id="rId97" Type="http://schemas.openxmlformats.org/officeDocument/2006/relationships/image" Target="../media/image136.png"/><Relationship Id="rId104" Type="http://schemas.openxmlformats.org/officeDocument/2006/relationships/image" Target="../media/image143.svg"/><Relationship Id="rId7" Type="http://schemas.openxmlformats.org/officeDocument/2006/relationships/image" Target="../media/image46.png"/><Relationship Id="rId71" Type="http://schemas.openxmlformats.org/officeDocument/2006/relationships/image" Target="../media/image110.png"/><Relationship Id="rId92" Type="http://schemas.openxmlformats.org/officeDocument/2006/relationships/image" Target="../media/image131.svg"/><Relationship Id="rId2" Type="http://schemas.openxmlformats.org/officeDocument/2006/relationships/tags" Target="../tags/tag8.xml"/><Relationship Id="rId29" Type="http://schemas.openxmlformats.org/officeDocument/2006/relationships/image" Target="../media/image68.png"/><Relationship Id="rId24" Type="http://schemas.openxmlformats.org/officeDocument/2006/relationships/image" Target="../media/image63.svg"/><Relationship Id="rId40" Type="http://schemas.openxmlformats.org/officeDocument/2006/relationships/image" Target="../media/image79.svg"/><Relationship Id="rId45" Type="http://schemas.openxmlformats.org/officeDocument/2006/relationships/image" Target="../media/image84.png"/><Relationship Id="rId66" Type="http://schemas.openxmlformats.org/officeDocument/2006/relationships/image" Target="../media/image105.svg"/><Relationship Id="rId87" Type="http://schemas.openxmlformats.org/officeDocument/2006/relationships/image" Target="../media/image126.png"/><Relationship Id="rId110" Type="http://schemas.openxmlformats.org/officeDocument/2006/relationships/image" Target="../media/image149.svg"/><Relationship Id="rId61" Type="http://schemas.openxmlformats.org/officeDocument/2006/relationships/image" Target="../media/image100.png"/><Relationship Id="rId82" Type="http://schemas.openxmlformats.org/officeDocument/2006/relationships/image" Target="../media/image121.svg"/><Relationship Id="rId19" Type="http://schemas.openxmlformats.org/officeDocument/2006/relationships/image" Target="../media/image58.png"/><Relationship Id="rId14" Type="http://schemas.openxmlformats.org/officeDocument/2006/relationships/image" Target="../media/image53.svg"/><Relationship Id="rId30" Type="http://schemas.openxmlformats.org/officeDocument/2006/relationships/image" Target="../media/image69.svg"/><Relationship Id="rId35" Type="http://schemas.openxmlformats.org/officeDocument/2006/relationships/image" Target="../media/image74.png"/><Relationship Id="rId56" Type="http://schemas.openxmlformats.org/officeDocument/2006/relationships/image" Target="../media/image95.svg"/><Relationship Id="rId77" Type="http://schemas.openxmlformats.org/officeDocument/2006/relationships/image" Target="../media/image116.png"/><Relationship Id="rId100" Type="http://schemas.openxmlformats.org/officeDocument/2006/relationships/image" Target="../media/image139.svg"/><Relationship Id="rId105" Type="http://schemas.openxmlformats.org/officeDocument/2006/relationships/image" Target="../media/image144.png"/><Relationship Id="rId8" Type="http://schemas.openxmlformats.org/officeDocument/2006/relationships/image" Target="../media/image47.svg"/><Relationship Id="rId51" Type="http://schemas.openxmlformats.org/officeDocument/2006/relationships/image" Target="../media/image90.png"/><Relationship Id="rId72" Type="http://schemas.openxmlformats.org/officeDocument/2006/relationships/image" Target="../media/image111.svg"/><Relationship Id="rId93" Type="http://schemas.openxmlformats.org/officeDocument/2006/relationships/image" Target="../media/image132.png"/><Relationship Id="rId98" Type="http://schemas.openxmlformats.org/officeDocument/2006/relationships/image" Target="../media/image137.svg"/><Relationship Id="rId3" Type="http://schemas.openxmlformats.org/officeDocument/2006/relationships/slideLayout" Target="../slideLayouts/slideLayout7.xml"/><Relationship Id="rId25" Type="http://schemas.openxmlformats.org/officeDocument/2006/relationships/image" Target="../media/image64.png"/><Relationship Id="rId46" Type="http://schemas.openxmlformats.org/officeDocument/2006/relationships/image" Target="../media/image85.svg"/><Relationship Id="rId67" Type="http://schemas.openxmlformats.org/officeDocument/2006/relationships/image" Target="../media/image106.png"/><Relationship Id="rId20" Type="http://schemas.openxmlformats.org/officeDocument/2006/relationships/image" Target="../media/image59.svg"/><Relationship Id="rId41" Type="http://schemas.openxmlformats.org/officeDocument/2006/relationships/image" Target="../media/image80.png"/><Relationship Id="rId62" Type="http://schemas.openxmlformats.org/officeDocument/2006/relationships/image" Target="../media/image101.svg"/><Relationship Id="rId83" Type="http://schemas.openxmlformats.org/officeDocument/2006/relationships/image" Target="../media/image122.png"/><Relationship Id="rId88" Type="http://schemas.openxmlformats.org/officeDocument/2006/relationships/image" Target="../media/image127.svg"/><Relationship Id="rId111" Type="http://schemas.openxmlformats.org/officeDocument/2006/relationships/image" Target="../media/image150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52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0A4DCFA-D4A4-6544-B267-07CA476B8A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itulo de presentaci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3CBF512B-45DB-3544-B42E-EDEBDCC0A68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s-ES_tradnl" dirty="0"/>
              <a:t>Responsable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38D87BE-5D7B-3242-8C35-B89B3793BDD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ES_tradnl" dirty="0"/>
              <a:t>Cargo</a:t>
            </a:r>
          </a:p>
        </p:txBody>
      </p:sp>
      <p:pic>
        <p:nvPicPr>
          <p:cNvPr id="7" name="Marcador de posición de imagen 6">
            <a:extLst>
              <a:ext uri="{FF2B5EF4-FFF2-40B4-BE49-F238E27FC236}">
                <a16:creationId xmlns:a16="http://schemas.microsoft.com/office/drawing/2014/main" id="{4E5F5984-C7FF-B54C-AE7A-02DA632B10DF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58168" y="4374275"/>
            <a:ext cx="1225640" cy="1225640"/>
          </a:xfrm>
        </p:spPr>
      </p:pic>
    </p:spTree>
    <p:extLst>
      <p:ext uri="{BB962C8B-B14F-4D97-AF65-F5344CB8AC3E}">
        <p14:creationId xmlns:p14="http://schemas.microsoft.com/office/powerpoint/2010/main" val="78923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89BC296-B905-D349-9FC7-CAA87E90E9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 err="1"/>
              <a:t>Bullets</a:t>
            </a:r>
            <a:endParaRPr lang="es-ES_tradnl" dirty="0"/>
          </a:p>
        </p:txBody>
      </p:sp>
      <p:pic>
        <p:nvPicPr>
          <p:cNvPr id="6" name="Marcador de posición de imagen 5">
            <a:extLst>
              <a:ext uri="{FF2B5EF4-FFF2-40B4-BE49-F238E27FC236}">
                <a16:creationId xmlns:a16="http://schemas.microsoft.com/office/drawing/2014/main" id="{CE0A3713-032B-E649-814C-7113D045C543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94074" y="0"/>
            <a:ext cx="4196340" cy="6858000"/>
          </a:xfrm>
        </p:spPr>
      </p:pic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D935498C-DBFB-EA42-B005-D9F42439550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AR" dirty="0"/>
              <a:t>Lorem ipsum dolor sit amet, consectetur adipiscing elit,</a:t>
            </a:r>
            <a:br>
              <a:rPr lang="es-AR" dirty="0"/>
            </a:br>
            <a:r>
              <a:rPr lang="es-AR" dirty="0"/>
              <a:t>sed do eiusmod tempor incididunt ut labore et dolore magna aliqua. </a:t>
            </a:r>
          </a:p>
          <a:p>
            <a:r>
              <a:rPr lang="es-AR" dirty="0"/>
              <a:t>Ut enim ad minim veniam, </a:t>
            </a:r>
            <a:r>
              <a:rPr lang="es-AR" b="1" dirty="0"/>
              <a:t>quis nostrud exercitation ullamco laboris </a:t>
            </a:r>
            <a:r>
              <a:rPr lang="es-AR" dirty="0"/>
              <a:t>nisi ut aliquip ex ea commodo consequat. </a:t>
            </a:r>
          </a:p>
          <a:p>
            <a:r>
              <a:rPr lang="es-AR" dirty="0"/>
              <a:t>Duis aute irure </a:t>
            </a:r>
            <a:r>
              <a:rPr lang="es-AR" b="1" dirty="0"/>
              <a:t>dolor in reprehenderit in voluptate</a:t>
            </a:r>
            <a:br>
              <a:rPr lang="es-AR" b="1" dirty="0"/>
            </a:br>
            <a:r>
              <a:rPr lang="es-AR" dirty="0"/>
              <a:t>velit esse cillum dolore eu fugiat nulla pariatur.</a:t>
            </a:r>
          </a:p>
          <a:p>
            <a:r>
              <a:rPr lang="es-AR" dirty="0"/>
              <a:t>Excepteur sint occaecat cupidatat non proident,</a:t>
            </a:r>
            <a:br>
              <a:rPr lang="es-AR" dirty="0"/>
            </a:br>
            <a:r>
              <a:rPr lang="es-AR" dirty="0"/>
              <a:t>sunt in culpa qui officia deserunt mollit anim id est laborum.</a:t>
            </a:r>
          </a:p>
          <a:p>
            <a:r>
              <a:rPr lang="es-AR" b="1" dirty="0"/>
              <a:t>Quis nostrud exercitation ullamco laboris </a:t>
            </a:r>
            <a:r>
              <a:rPr lang="es-AR" dirty="0"/>
              <a:t>nisi ut aliquip</a:t>
            </a:r>
            <a:br>
              <a:rPr lang="es-AR" dirty="0"/>
            </a:br>
            <a:r>
              <a:rPr lang="es-AR" dirty="0"/>
              <a:t>ex ea commodo</a:t>
            </a:r>
          </a:p>
          <a:p>
            <a:endParaRPr lang="es-AR" dirty="0"/>
          </a:p>
          <a:p>
            <a:endParaRPr lang="es-ES_tradnl" dirty="0"/>
          </a:p>
        </p:txBody>
      </p:sp>
      <p:grpSp>
        <p:nvGrpSpPr>
          <p:cNvPr id="7" name="Gruppieren 7">
            <a:extLst>
              <a:ext uri="{FF2B5EF4-FFF2-40B4-BE49-F238E27FC236}">
                <a16:creationId xmlns:a16="http://schemas.microsoft.com/office/drawing/2014/main" id="{E72DC8EA-6C32-E243-83C6-0F9935F3427E}"/>
              </a:ext>
            </a:extLst>
          </p:cNvPr>
          <p:cNvGrpSpPr/>
          <p:nvPr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8" name="Rechteck 11">
              <a:extLst>
                <a:ext uri="{FF2B5EF4-FFF2-40B4-BE49-F238E27FC236}">
                  <a16:creationId xmlns:a16="http://schemas.microsoft.com/office/drawing/2014/main" id="{D111F97C-DBB6-F545-9176-525992658258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9" name="Grafik 6">
              <a:extLst>
                <a:ext uri="{FF2B5EF4-FFF2-40B4-BE49-F238E27FC236}">
                  <a16:creationId xmlns:a16="http://schemas.microsoft.com/office/drawing/2014/main" id="{EC19DAA0-3400-FF4A-B2E5-EB1300C7EAB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256494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3C9693E-C967-6F49-9B42-9C0350A727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exto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B458421A-E860-D644-950E-18F323417D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r"/>
            <a:r>
              <a:rPr lang="es-AR" dirty="0"/>
              <a:t>Lorem ipsum dolor sit amet, consectetur adipiscing elit, sed do eiusmod tempor incididunt ut labore et dolore magna aliqua. Ut enim ad minim veniam, </a:t>
            </a:r>
            <a:r>
              <a:rPr lang="es-AR" b="1" dirty="0"/>
              <a:t>quis nostrud exercitation ullamco laboris </a:t>
            </a:r>
            <a:r>
              <a:rPr lang="es-AR" dirty="0"/>
              <a:t>nisi ut aliquip ex ea commodo consequat. </a:t>
            </a:r>
          </a:p>
          <a:p>
            <a:pPr algn="r"/>
            <a:endParaRPr lang="es-AR" dirty="0"/>
          </a:p>
          <a:p>
            <a:pPr algn="r"/>
            <a:r>
              <a:rPr lang="es-AR" dirty="0"/>
              <a:t>Duis aute irure </a:t>
            </a:r>
            <a:r>
              <a:rPr lang="es-AR" b="1" dirty="0"/>
              <a:t>dolor in reprehenderit in voluptate </a:t>
            </a:r>
            <a:r>
              <a:rPr lang="es-AR" dirty="0"/>
              <a:t>velit esse cillum dolore eu fugiat nulla pariatur. Excepteur sint occaecat cupidatat non proident, sunt in culpa qui officia deserunt mollit anim id est laborum.</a:t>
            </a:r>
          </a:p>
          <a:p>
            <a:pPr algn="r"/>
            <a:endParaRPr lang="es-AR" dirty="0"/>
          </a:p>
          <a:p>
            <a:endParaRPr lang="es-ES_tradnl" dirty="0"/>
          </a:p>
        </p:txBody>
      </p:sp>
      <p:pic>
        <p:nvPicPr>
          <p:cNvPr id="11" name="Marcador de posición de imagen 10">
            <a:extLst>
              <a:ext uri="{FF2B5EF4-FFF2-40B4-BE49-F238E27FC236}">
                <a16:creationId xmlns:a16="http://schemas.microsoft.com/office/drawing/2014/main" id="{E4B925A9-8E89-2947-8193-5FE7B68273F8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>
            <a:off x="9091023" y="1325834"/>
            <a:ext cx="2648241" cy="4519122"/>
          </a:xfrm>
        </p:spPr>
      </p:pic>
      <p:pic>
        <p:nvPicPr>
          <p:cNvPr id="13" name="Marcador de posición de imagen 12">
            <a:extLst>
              <a:ext uri="{FF2B5EF4-FFF2-40B4-BE49-F238E27FC236}">
                <a16:creationId xmlns:a16="http://schemas.microsoft.com/office/drawing/2014/main" id="{D6DF726A-753D-FD48-BE22-30D6FDE29E2B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51936" y="1327310"/>
            <a:ext cx="2648283" cy="4518780"/>
          </a:xfrm>
        </p:spPr>
      </p:pic>
    </p:spTree>
    <p:extLst>
      <p:ext uri="{BB962C8B-B14F-4D97-AF65-F5344CB8AC3E}">
        <p14:creationId xmlns:p14="http://schemas.microsoft.com/office/powerpoint/2010/main" val="41428563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912A6C9-5054-7349-826B-FB44262C94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exto + icono</a:t>
            </a:r>
          </a:p>
        </p:txBody>
      </p:sp>
      <p:pic>
        <p:nvPicPr>
          <p:cNvPr id="10" name="Marcador de posición de imagen 9">
            <a:extLst>
              <a:ext uri="{FF2B5EF4-FFF2-40B4-BE49-F238E27FC236}">
                <a16:creationId xmlns:a16="http://schemas.microsoft.com/office/drawing/2014/main" id="{F179EABB-311D-A644-8E8A-464A038394CD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>
            <a:off x="9091023" y="1325834"/>
            <a:ext cx="2648241" cy="4519122"/>
          </a:xfrm>
        </p:spPr>
      </p:pic>
      <p:pic>
        <p:nvPicPr>
          <p:cNvPr id="8" name="Marcador de posición de imagen 7">
            <a:extLst>
              <a:ext uri="{FF2B5EF4-FFF2-40B4-BE49-F238E27FC236}">
                <a16:creationId xmlns:a16="http://schemas.microsoft.com/office/drawing/2014/main" id="{53F5035C-0172-774F-BE68-1D4827D715A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51936" y="1327310"/>
            <a:ext cx="2648283" cy="4518780"/>
          </a:xfrm>
        </p:spPr>
      </p:pic>
      <p:sp>
        <p:nvSpPr>
          <p:cNvPr id="15" name="CuadroTexto 14">
            <a:extLst>
              <a:ext uri="{FF2B5EF4-FFF2-40B4-BE49-F238E27FC236}">
                <a16:creationId xmlns:a16="http://schemas.microsoft.com/office/drawing/2014/main" id="{BF731804-4764-6245-BD28-5FE53C5D3CAE}"/>
              </a:ext>
            </a:extLst>
          </p:cNvPr>
          <p:cNvSpPr txBox="1"/>
          <p:nvPr/>
        </p:nvSpPr>
        <p:spPr>
          <a:xfrm>
            <a:off x="1239865" y="2024063"/>
            <a:ext cx="458943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</a:pPr>
            <a:r>
              <a:rPr lang="es-AR" dirty="0"/>
              <a:t>Lorem ipsum dolor sit amet, consectetur adipiscing elit, sed do eiusmod tempor incididunt ut labore et dolore magna aliqua. </a:t>
            </a:r>
          </a:p>
        </p:txBody>
      </p:sp>
      <p:sp>
        <p:nvSpPr>
          <p:cNvPr id="16" name="Grafik 3">
            <a:extLst>
              <a:ext uri="{FF2B5EF4-FFF2-40B4-BE49-F238E27FC236}">
                <a16:creationId xmlns:a16="http://schemas.microsoft.com/office/drawing/2014/main" id="{DE18D40A-F6E4-2C4F-8E98-6C917048F9DC}"/>
              </a:ext>
            </a:extLst>
          </p:cNvPr>
          <p:cNvSpPr/>
          <p:nvPr/>
        </p:nvSpPr>
        <p:spPr>
          <a:xfrm>
            <a:off x="464461" y="2184045"/>
            <a:ext cx="525900" cy="570648"/>
          </a:xfrm>
          <a:custGeom>
            <a:avLst/>
            <a:gdLst>
              <a:gd name="connsiteX0" fmla="*/ 144971 w 338804"/>
              <a:gd name="connsiteY0" fmla="*/ 122968 h 367633"/>
              <a:gd name="connsiteX1" fmla="*/ 144971 w 338804"/>
              <a:gd name="connsiteY1" fmla="*/ 283274 h 367633"/>
              <a:gd name="connsiteX2" fmla="*/ 236220 w 338804"/>
              <a:gd name="connsiteY2" fmla="*/ 319183 h 367633"/>
              <a:gd name="connsiteX3" fmla="*/ 316135 w 338804"/>
              <a:gd name="connsiteY3" fmla="*/ 367379 h 367633"/>
              <a:gd name="connsiteX4" fmla="*/ 7811 w 338804"/>
              <a:gd name="connsiteY4" fmla="*/ 363760 h 367633"/>
              <a:gd name="connsiteX5" fmla="*/ 85725 w 338804"/>
              <a:gd name="connsiteY5" fmla="*/ 317754 h 367633"/>
              <a:gd name="connsiteX6" fmla="*/ 133350 w 338804"/>
              <a:gd name="connsiteY6" fmla="*/ 283940 h 367633"/>
              <a:gd name="connsiteX7" fmla="*/ 133350 w 338804"/>
              <a:gd name="connsiteY7" fmla="*/ 129445 h 367633"/>
              <a:gd name="connsiteX8" fmla="*/ 127730 w 338804"/>
              <a:gd name="connsiteY8" fmla="*/ 121539 h 367633"/>
              <a:gd name="connsiteX9" fmla="*/ 125540 w 338804"/>
              <a:gd name="connsiteY9" fmla="*/ 124397 h 367633"/>
              <a:gd name="connsiteX10" fmla="*/ 0 w 338804"/>
              <a:gd name="connsiteY10" fmla="*/ 44577 h 367633"/>
              <a:gd name="connsiteX11" fmla="*/ 131540 w 338804"/>
              <a:gd name="connsiteY11" fmla="*/ 110014 h 367633"/>
              <a:gd name="connsiteX12" fmla="*/ 41720 w 338804"/>
              <a:gd name="connsiteY12" fmla="*/ 74771 h 367633"/>
              <a:gd name="connsiteX13" fmla="*/ 130112 w 338804"/>
              <a:gd name="connsiteY13" fmla="*/ 116491 h 367633"/>
              <a:gd name="connsiteX14" fmla="*/ 135065 w 338804"/>
              <a:gd name="connsiteY14" fmla="*/ 122968 h 367633"/>
              <a:gd name="connsiteX15" fmla="*/ 135827 w 338804"/>
              <a:gd name="connsiteY15" fmla="*/ 122968 h 367633"/>
              <a:gd name="connsiteX16" fmla="*/ 147828 w 338804"/>
              <a:gd name="connsiteY16" fmla="*/ 106394 h 367633"/>
              <a:gd name="connsiteX17" fmla="*/ 277273 w 338804"/>
              <a:gd name="connsiteY17" fmla="*/ 44577 h 367633"/>
              <a:gd name="connsiteX18" fmla="*/ 145733 w 338804"/>
              <a:gd name="connsiteY18" fmla="*/ 97060 h 367633"/>
              <a:gd name="connsiteX19" fmla="*/ 338804 w 338804"/>
              <a:gd name="connsiteY19" fmla="*/ 0 h 367633"/>
              <a:gd name="connsiteX20" fmla="*/ 154877 w 338804"/>
              <a:gd name="connsiteY20" fmla="*/ 117920 h 367633"/>
              <a:gd name="connsiteX21" fmla="*/ 152114 w 338804"/>
              <a:gd name="connsiteY21" fmla="*/ 113633 h 367633"/>
              <a:gd name="connsiteX22" fmla="*/ 144304 w 338804"/>
              <a:gd name="connsiteY22" fmla="*/ 123158 h 367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38804" h="367633">
                <a:moveTo>
                  <a:pt x="144971" y="122968"/>
                </a:moveTo>
                <a:lnTo>
                  <a:pt x="144971" y="283274"/>
                </a:lnTo>
                <a:cubicBezTo>
                  <a:pt x="178038" y="286921"/>
                  <a:pt x="209535" y="299316"/>
                  <a:pt x="236220" y="319183"/>
                </a:cubicBezTo>
                <a:cubicBezTo>
                  <a:pt x="260375" y="339045"/>
                  <a:pt x="287296" y="355282"/>
                  <a:pt x="316135" y="367379"/>
                </a:cubicBezTo>
                <a:cubicBezTo>
                  <a:pt x="321088" y="368808"/>
                  <a:pt x="7811" y="363760"/>
                  <a:pt x="7811" y="363760"/>
                </a:cubicBezTo>
                <a:lnTo>
                  <a:pt x="85725" y="317754"/>
                </a:lnTo>
                <a:cubicBezTo>
                  <a:pt x="96298" y="310610"/>
                  <a:pt x="116777" y="289179"/>
                  <a:pt x="133350" y="283940"/>
                </a:cubicBezTo>
                <a:lnTo>
                  <a:pt x="133350" y="129445"/>
                </a:lnTo>
                <a:cubicBezTo>
                  <a:pt x="131683" y="126669"/>
                  <a:pt x="129804" y="124026"/>
                  <a:pt x="127730" y="121539"/>
                </a:cubicBezTo>
                <a:cubicBezTo>
                  <a:pt x="126825" y="122344"/>
                  <a:pt x="126081" y="123313"/>
                  <a:pt x="125540" y="124397"/>
                </a:cubicBezTo>
                <a:cubicBezTo>
                  <a:pt x="95250" y="154591"/>
                  <a:pt x="24003" y="138017"/>
                  <a:pt x="0" y="44577"/>
                </a:cubicBezTo>
                <a:cubicBezTo>
                  <a:pt x="21241" y="61817"/>
                  <a:pt x="137922" y="14383"/>
                  <a:pt x="131540" y="110014"/>
                </a:cubicBezTo>
                <a:cubicBezTo>
                  <a:pt x="125921" y="104203"/>
                  <a:pt x="91916" y="69056"/>
                  <a:pt x="41720" y="74771"/>
                </a:cubicBezTo>
                <a:cubicBezTo>
                  <a:pt x="43148" y="76962"/>
                  <a:pt x="94774" y="75533"/>
                  <a:pt x="130112" y="116491"/>
                </a:cubicBezTo>
                <a:cubicBezTo>
                  <a:pt x="132302" y="119348"/>
                  <a:pt x="133636" y="121539"/>
                  <a:pt x="135065" y="122968"/>
                </a:cubicBezTo>
                <a:lnTo>
                  <a:pt x="135827" y="122968"/>
                </a:lnTo>
                <a:cubicBezTo>
                  <a:pt x="139340" y="117107"/>
                  <a:pt x="143356" y="111561"/>
                  <a:pt x="147828" y="106394"/>
                </a:cubicBezTo>
                <a:cubicBezTo>
                  <a:pt x="199454" y="46006"/>
                  <a:pt x="275177" y="48197"/>
                  <a:pt x="277273" y="44577"/>
                </a:cubicBezTo>
                <a:cubicBezTo>
                  <a:pt x="204406" y="36671"/>
                  <a:pt x="153448" y="88392"/>
                  <a:pt x="145733" y="97060"/>
                </a:cubicBezTo>
                <a:cubicBezTo>
                  <a:pt x="135827" y="-43815"/>
                  <a:pt x="307658" y="25908"/>
                  <a:pt x="338804" y="0"/>
                </a:cubicBezTo>
                <a:cubicBezTo>
                  <a:pt x="304133" y="138017"/>
                  <a:pt x="199454" y="162497"/>
                  <a:pt x="154877" y="117920"/>
                </a:cubicBezTo>
                <a:cubicBezTo>
                  <a:pt x="154210" y="115729"/>
                  <a:pt x="152781" y="115062"/>
                  <a:pt x="152114" y="113633"/>
                </a:cubicBezTo>
                <a:cubicBezTo>
                  <a:pt x="149257" y="116491"/>
                  <a:pt x="147161" y="120015"/>
                  <a:pt x="144304" y="123158"/>
                </a:cubicBez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7" name="Grafik 95">
            <a:extLst>
              <a:ext uri="{FF2B5EF4-FFF2-40B4-BE49-F238E27FC236}">
                <a16:creationId xmlns:a16="http://schemas.microsoft.com/office/drawing/2014/main" id="{586A0B5C-0BE2-5A4B-AAED-A8D90961687B}"/>
              </a:ext>
            </a:extLst>
          </p:cNvPr>
          <p:cNvSpPr/>
          <p:nvPr/>
        </p:nvSpPr>
        <p:spPr>
          <a:xfrm>
            <a:off x="344481" y="3519511"/>
            <a:ext cx="765862" cy="552412"/>
          </a:xfrm>
          <a:custGeom>
            <a:avLst/>
            <a:gdLst>
              <a:gd name="connsiteX0" fmla="*/ 428625 w 493394"/>
              <a:gd name="connsiteY0" fmla="*/ 102584 h 355883"/>
              <a:gd name="connsiteX1" fmla="*/ 320802 w 493394"/>
              <a:gd name="connsiteY1" fmla="*/ 310134 h 355883"/>
              <a:gd name="connsiteX2" fmla="*/ 0 w 493394"/>
              <a:gd name="connsiteY2" fmla="*/ 295275 h 355883"/>
              <a:gd name="connsiteX3" fmla="*/ 351473 w 493394"/>
              <a:gd name="connsiteY3" fmla="*/ 101632 h 355883"/>
              <a:gd name="connsiteX4" fmla="*/ 334042 w 493394"/>
              <a:gd name="connsiteY4" fmla="*/ 119444 h 355883"/>
              <a:gd name="connsiteX5" fmla="*/ 316516 w 493394"/>
              <a:gd name="connsiteY5" fmla="*/ 136398 h 355883"/>
              <a:gd name="connsiteX6" fmla="*/ 286226 w 493394"/>
              <a:gd name="connsiteY6" fmla="*/ 105728 h 355883"/>
              <a:gd name="connsiteX7" fmla="*/ 314325 w 493394"/>
              <a:gd name="connsiteY7" fmla="*/ 77153 h 355883"/>
              <a:gd name="connsiteX8" fmla="*/ 359093 w 493394"/>
              <a:gd name="connsiteY8" fmla="*/ 31623 h 355883"/>
              <a:gd name="connsiteX9" fmla="*/ 389382 w 493394"/>
              <a:gd name="connsiteY9" fmla="*/ 762 h 355883"/>
              <a:gd name="connsiteX10" fmla="*/ 389382 w 493394"/>
              <a:gd name="connsiteY10" fmla="*/ 0 h 355883"/>
              <a:gd name="connsiteX11" fmla="*/ 493395 w 493394"/>
              <a:gd name="connsiteY11" fmla="*/ 105728 h 355883"/>
              <a:gd name="connsiteX12" fmla="*/ 463010 w 493394"/>
              <a:gd name="connsiteY12" fmla="*/ 137351 h 3558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93394" h="355883">
                <a:moveTo>
                  <a:pt x="428625" y="102584"/>
                </a:moveTo>
                <a:cubicBezTo>
                  <a:pt x="424815" y="139637"/>
                  <a:pt x="405098" y="249174"/>
                  <a:pt x="320802" y="310134"/>
                </a:cubicBezTo>
                <a:cubicBezTo>
                  <a:pt x="217837" y="384239"/>
                  <a:pt x="75152" y="360331"/>
                  <a:pt x="0" y="295275"/>
                </a:cubicBezTo>
                <a:cubicBezTo>
                  <a:pt x="0" y="295275"/>
                  <a:pt x="283178" y="445008"/>
                  <a:pt x="351473" y="101632"/>
                </a:cubicBezTo>
                <a:lnTo>
                  <a:pt x="334042" y="119444"/>
                </a:lnTo>
                <a:lnTo>
                  <a:pt x="316516" y="136398"/>
                </a:lnTo>
                <a:lnTo>
                  <a:pt x="286226" y="105728"/>
                </a:lnTo>
                <a:lnTo>
                  <a:pt x="314325" y="77153"/>
                </a:lnTo>
                <a:lnTo>
                  <a:pt x="359093" y="31623"/>
                </a:lnTo>
                <a:lnTo>
                  <a:pt x="389382" y="762"/>
                </a:lnTo>
                <a:lnTo>
                  <a:pt x="389382" y="0"/>
                </a:lnTo>
                <a:lnTo>
                  <a:pt x="493395" y="105728"/>
                </a:lnTo>
                <a:lnTo>
                  <a:pt x="463010" y="137351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8" name="Grafik 221">
            <a:extLst>
              <a:ext uri="{FF2B5EF4-FFF2-40B4-BE49-F238E27FC236}">
                <a16:creationId xmlns:a16="http://schemas.microsoft.com/office/drawing/2014/main" id="{16F392FA-7006-DD41-819E-A7E2FF5E8E6F}"/>
              </a:ext>
            </a:extLst>
          </p:cNvPr>
          <p:cNvSpPr/>
          <p:nvPr/>
        </p:nvSpPr>
        <p:spPr>
          <a:xfrm>
            <a:off x="457376" y="4835044"/>
            <a:ext cx="540070" cy="541324"/>
          </a:xfrm>
          <a:custGeom>
            <a:avLst/>
            <a:gdLst>
              <a:gd name="connsiteX0" fmla="*/ 210797 w 347932"/>
              <a:gd name="connsiteY0" fmla="*/ 264609 h 348741"/>
              <a:gd name="connsiteX1" fmla="*/ 155552 w 347932"/>
              <a:gd name="connsiteY1" fmla="*/ 319854 h 348741"/>
              <a:gd name="connsiteX2" fmla="*/ 25348 w 347932"/>
              <a:gd name="connsiteY2" fmla="*/ 323619 h 348741"/>
              <a:gd name="connsiteX3" fmla="*/ 24107 w 347932"/>
              <a:gd name="connsiteY3" fmla="*/ 322425 h 348741"/>
              <a:gd name="connsiteX4" fmla="*/ 29346 w 347932"/>
              <a:gd name="connsiteY4" fmla="*/ 193647 h 348741"/>
              <a:gd name="connsiteX5" fmla="*/ 89830 w 347932"/>
              <a:gd name="connsiteY5" fmla="*/ 133354 h 348741"/>
              <a:gd name="connsiteX6" fmla="*/ 218703 w 347932"/>
              <a:gd name="connsiteY6" fmla="*/ 125448 h 348741"/>
              <a:gd name="connsiteX7" fmla="*/ 221080 w 347932"/>
              <a:gd name="connsiteY7" fmla="*/ 128020 h 348741"/>
              <a:gd name="connsiteX8" fmla="*/ 221275 w 347932"/>
              <a:gd name="connsiteY8" fmla="*/ 128020 h 348741"/>
              <a:gd name="connsiteX9" fmla="*/ 221275 w 347932"/>
              <a:gd name="connsiteY9" fmla="*/ 128020 h 348741"/>
              <a:gd name="connsiteX10" fmla="*/ 222182 w 347932"/>
              <a:gd name="connsiteY10" fmla="*/ 163975 h 348741"/>
              <a:gd name="connsiteX11" fmla="*/ 221275 w 347932"/>
              <a:gd name="connsiteY11" fmla="*/ 164882 h 348741"/>
              <a:gd name="connsiteX12" fmla="*/ 181841 w 347932"/>
              <a:gd name="connsiteY12" fmla="*/ 164882 h 348741"/>
              <a:gd name="connsiteX13" fmla="*/ 181841 w 347932"/>
              <a:gd name="connsiteY13" fmla="*/ 164882 h 348741"/>
              <a:gd name="connsiteX14" fmla="*/ 121357 w 347932"/>
              <a:gd name="connsiteY14" fmla="*/ 167454 h 348741"/>
              <a:gd name="connsiteX15" fmla="*/ 63541 w 347932"/>
              <a:gd name="connsiteY15" fmla="*/ 225175 h 348741"/>
              <a:gd name="connsiteX16" fmla="*/ 63541 w 347932"/>
              <a:gd name="connsiteY16" fmla="*/ 285659 h 348741"/>
              <a:gd name="connsiteX17" fmla="*/ 123312 w 347932"/>
              <a:gd name="connsiteY17" fmla="*/ 283562 h 348741"/>
              <a:gd name="connsiteX18" fmla="*/ 123834 w 347932"/>
              <a:gd name="connsiteY18" fmla="*/ 282992 h 348741"/>
              <a:gd name="connsiteX19" fmla="*/ 144884 w 347932"/>
              <a:gd name="connsiteY19" fmla="*/ 261942 h 348741"/>
              <a:gd name="connsiteX20" fmla="*/ 173459 w 347932"/>
              <a:gd name="connsiteY20" fmla="*/ 267180 h 348741"/>
              <a:gd name="connsiteX21" fmla="*/ 210321 w 347932"/>
              <a:gd name="connsiteY21" fmla="*/ 264609 h 348741"/>
              <a:gd name="connsiteX22" fmla="*/ 323859 w 347932"/>
              <a:gd name="connsiteY22" fmla="*/ 25341 h 348741"/>
              <a:gd name="connsiteX23" fmla="*/ 194986 w 347932"/>
              <a:gd name="connsiteY23" fmla="*/ 27912 h 348741"/>
              <a:gd name="connsiteX24" fmla="*/ 139741 w 347932"/>
              <a:gd name="connsiteY24" fmla="*/ 83157 h 348741"/>
              <a:gd name="connsiteX25" fmla="*/ 173936 w 347932"/>
              <a:gd name="connsiteY25" fmla="*/ 80586 h 348741"/>
              <a:gd name="connsiteX26" fmla="*/ 202511 w 347932"/>
              <a:gd name="connsiteY26" fmla="*/ 85824 h 348741"/>
              <a:gd name="connsiteX27" fmla="*/ 226514 w 347932"/>
              <a:gd name="connsiteY27" fmla="*/ 64774 h 348741"/>
              <a:gd name="connsiteX28" fmla="*/ 286227 w 347932"/>
              <a:gd name="connsiteY28" fmla="*/ 61402 h 348741"/>
              <a:gd name="connsiteX29" fmla="*/ 286997 w 347932"/>
              <a:gd name="connsiteY29" fmla="*/ 62107 h 348741"/>
              <a:gd name="connsiteX30" fmla="*/ 284426 w 347932"/>
              <a:gd name="connsiteY30" fmla="*/ 122591 h 348741"/>
              <a:gd name="connsiteX31" fmla="*/ 226514 w 347932"/>
              <a:gd name="connsiteY31" fmla="*/ 180408 h 348741"/>
              <a:gd name="connsiteX32" fmla="*/ 167085 w 347932"/>
              <a:gd name="connsiteY32" fmla="*/ 184041 h 348741"/>
              <a:gd name="connsiteX33" fmla="*/ 166030 w 347932"/>
              <a:gd name="connsiteY33" fmla="*/ 183075 h 348741"/>
              <a:gd name="connsiteX34" fmla="*/ 166030 w 347932"/>
              <a:gd name="connsiteY34" fmla="*/ 183075 h 348741"/>
              <a:gd name="connsiteX35" fmla="*/ 130073 w 347932"/>
              <a:gd name="connsiteY35" fmla="*/ 182265 h 348741"/>
              <a:gd name="connsiteX36" fmla="*/ 129263 w 347932"/>
              <a:gd name="connsiteY36" fmla="*/ 183075 h 348741"/>
              <a:gd name="connsiteX37" fmla="*/ 126596 w 347932"/>
              <a:gd name="connsiteY37" fmla="*/ 219936 h 348741"/>
              <a:gd name="connsiteX38" fmla="*/ 126596 w 347932"/>
              <a:gd name="connsiteY38" fmla="*/ 219936 h 348741"/>
              <a:gd name="connsiteX39" fmla="*/ 129263 w 347932"/>
              <a:gd name="connsiteY39" fmla="*/ 222508 h 348741"/>
              <a:gd name="connsiteX40" fmla="*/ 129263 w 347932"/>
              <a:gd name="connsiteY40" fmla="*/ 222508 h 348741"/>
              <a:gd name="connsiteX41" fmla="*/ 258137 w 347932"/>
              <a:gd name="connsiteY41" fmla="*/ 217269 h 348741"/>
              <a:gd name="connsiteX42" fmla="*/ 318620 w 347932"/>
              <a:gd name="connsiteY42" fmla="*/ 154119 h 348741"/>
              <a:gd name="connsiteX43" fmla="*/ 323859 w 347932"/>
              <a:gd name="connsiteY43" fmla="*/ 25341 h 3487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347932" h="348741">
                <a:moveTo>
                  <a:pt x="210797" y="264609"/>
                </a:moveTo>
                <a:lnTo>
                  <a:pt x="155552" y="319854"/>
                </a:lnTo>
                <a:cubicBezTo>
                  <a:pt x="120637" y="356848"/>
                  <a:pt x="62343" y="358534"/>
                  <a:pt x="25348" y="323619"/>
                </a:cubicBezTo>
                <a:cubicBezTo>
                  <a:pt x="24931" y="323225"/>
                  <a:pt x="24517" y="322827"/>
                  <a:pt x="24107" y="322425"/>
                </a:cubicBezTo>
                <a:cubicBezTo>
                  <a:pt x="-10088" y="288231"/>
                  <a:pt x="-7516" y="230414"/>
                  <a:pt x="29346" y="193647"/>
                </a:cubicBezTo>
                <a:lnTo>
                  <a:pt x="89830" y="133354"/>
                </a:lnTo>
                <a:cubicBezTo>
                  <a:pt x="126596" y="96492"/>
                  <a:pt x="184508" y="93921"/>
                  <a:pt x="218703" y="125448"/>
                </a:cubicBezTo>
                <a:cubicBezTo>
                  <a:pt x="218649" y="126815"/>
                  <a:pt x="219714" y="127966"/>
                  <a:pt x="221080" y="128020"/>
                </a:cubicBezTo>
                <a:cubicBezTo>
                  <a:pt x="221145" y="128023"/>
                  <a:pt x="221210" y="128023"/>
                  <a:pt x="221275" y="128020"/>
                </a:cubicBezTo>
                <a:lnTo>
                  <a:pt x="221275" y="128020"/>
                </a:lnTo>
                <a:cubicBezTo>
                  <a:pt x="231454" y="137698"/>
                  <a:pt x="231860" y="153796"/>
                  <a:pt x="222182" y="163975"/>
                </a:cubicBezTo>
                <a:cubicBezTo>
                  <a:pt x="221887" y="164285"/>
                  <a:pt x="221585" y="164587"/>
                  <a:pt x="221275" y="164882"/>
                </a:cubicBezTo>
                <a:cubicBezTo>
                  <a:pt x="210236" y="175405"/>
                  <a:pt x="192880" y="175405"/>
                  <a:pt x="181841" y="164882"/>
                </a:cubicBezTo>
                <a:lnTo>
                  <a:pt x="181841" y="164882"/>
                </a:lnTo>
                <a:cubicBezTo>
                  <a:pt x="166030" y="149070"/>
                  <a:pt x="139741" y="151737"/>
                  <a:pt x="121357" y="167454"/>
                </a:cubicBezTo>
                <a:lnTo>
                  <a:pt x="63541" y="225175"/>
                </a:lnTo>
                <a:cubicBezTo>
                  <a:pt x="47725" y="242235"/>
                  <a:pt x="47725" y="268599"/>
                  <a:pt x="63541" y="285659"/>
                </a:cubicBezTo>
                <a:cubicBezTo>
                  <a:pt x="80625" y="301585"/>
                  <a:pt x="107386" y="300646"/>
                  <a:pt x="123312" y="283562"/>
                </a:cubicBezTo>
                <a:cubicBezTo>
                  <a:pt x="123488" y="283373"/>
                  <a:pt x="123662" y="283183"/>
                  <a:pt x="123834" y="282992"/>
                </a:cubicBezTo>
                <a:lnTo>
                  <a:pt x="144884" y="261942"/>
                </a:lnTo>
                <a:cubicBezTo>
                  <a:pt x="153935" y="265678"/>
                  <a:pt x="163672" y="267463"/>
                  <a:pt x="173459" y="267180"/>
                </a:cubicBezTo>
                <a:cubicBezTo>
                  <a:pt x="185800" y="268602"/>
                  <a:pt x="198297" y="267731"/>
                  <a:pt x="210321" y="264609"/>
                </a:cubicBezTo>
                <a:moveTo>
                  <a:pt x="323859" y="25341"/>
                </a:moveTo>
                <a:cubicBezTo>
                  <a:pt x="287518" y="-9426"/>
                  <a:pt x="229911" y="-8276"/>
                  <a:pt x="194986" y="27912"/>
                </a:cubicBezTo>
                <a:lnTo>
                  <a:pt x="139741" y="83157"/>
                </a:lnTo>
                <a:cubicBezTo>
                  <a:pt x="150835" y="79925"/>
                  <a:pt x="162483" y="79049"/>
                  <a:pt x="173936" y="80586"/>
                </a:cubicBezTo>
                <a:cubicBezTo>
                  <a:pt x="183594" y="81506"/>
                  <a:pt x="193154" y="83259"/>
                  <a:pt x="202511" y="85824"/>
                </a:cubicBezTo>
                <a:lnTo>
                  <a:pt x="226514" y="64774"/>
                </a:lnTo>
                <a:cubicBezTo>
                  <a:pt x="242072" y="47354"/>
                  <a:pt x="268806" y="45844"/>
                  <a:pt x="286227" y="61402"/>
                </a:cubicBezTo>
                <a:cubicBezTo>
                  <a:pt x="286487" y="61634"/>
                  <a:pt x="286743" y="61869"/>
                  <a:pt x="286997" y="62107"/>
                </a:cubicBezTo>
                <a:cubicBezTo>
                  <a:pt x="302809" y="77919"/>
                  <a:pt x="300142" y="106875"/>
                  <a:pt x="284426" y="122591"/>
                </a:cubicBezTo>
                <a:lnTo>
                  <a:pt x="226514" y="180408"/>
                </a:lnTo>
                <a:cubicBezTo>
                  <a:pt x="211106" y="197822"/>
                  <a:pt x="184499" y="199448"/>
                  <a:pt x="167085" y="184041"/>
                </a:cubicBezTo>
                <a:cubicBezTo>
                  <a:pt x="166728" y="183725"/>
                  <a:pt x="166376" y="183403"/>
                  <a:pt x="166030" y="183075"/>
                </a:cubicBezTo>
                <a:lnTo>
                  <a:pt x="166030" y="183075"/>
                </a:lnTo>
                <a:cubicBezTo>
                  <a:pt x="156324" y="172922"/>
                  <a:pt x="140226" y="172559"/>
                  <a:pt x="130073" y="182265"/>
                </a:cubicBezTo>
                <a:cubicBezTo>
                  <a:pt x="129797" y="182529"/>
                  <a:pt x="129527" y="182799"/>
                  <a:pt x="129263" y="183075"/>
                </a:cubicBezTo>
                <a:cubicBezTo>
                  <a:pt x="119478" y="193056"/>
                  <a:pt x="118350" y="208651"/>
                  <a:pt x="126596" y="219936"/>
                </a:cubicBezTo>
                <a:lnTo>
                  <a:pt x="126596" y="219936"/>
                </a:lnTo>
                <a:cubicBezTo>
                  <a:pt x="129263" y="219936"/>
                  <a:pt x="129263" y="219936"/>
                  <a:pt x="129263" y="222508"/>
                </a:cubicBezTo>
                <a:lnTo>
                  <a:pt x="129263" y="222508"/>
                </a:lnTo>
                <a:cubicBezTo>
                  <a:pt x="166852" y="255103"/>
                  <a:pt x="223317" y="252808"/>
                  <a:pt x="258137" y="217269"/>
                </a:cubicBezTo>
                <a:lnTo>
                  <a:pt x="318620" y="154119"/>
                </a:lnTo>
                <a:cubicBezTo>
                  <a:pt x="355387" y="117352"/>
                  <a:pt x="358054" y="59535"/>
                  <a:pt x="323859" y="25341"/>
                </a:cubicBezTo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73A66DFF-A294-3542-B5C7-52879C2CA51F}"/>
              </a:ext>
            </a:extLst>
          </p:cNvPr>
          <p:cNvSpPr txBox="1"/>
          <p:nvPr/>
        </p:nvSpPr>
        <p:spPr>
          <a:xfrm>
            <a:off x="1239865" y="3334052"/>
            <a:ext cx="458943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</a:pPr>
            <a:r>
              <a:rPr lang="es-AR" dirty="0"/>
              <a:t>Ut enim ad minim veniam, quis nostrud exercitation ullamco laboris nisi ut aliquip ex ea commodo consequat. 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9D2AC427-D1D6-6142-91DC-A6284D840BE6}"/>
              </a:ext>
            </a:extLst>
          </p:cNvPr>
          <p:cNvSpPr txBox="1"/>
          <p:nvPr/>
        </p:nvSpPr>
        <p:spPr>
          <a:xfrm>
            <a:off x="1239865" y="4644041"/>
            <a:ext cx="458943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</a:pPr>
            <a:r>
              <a:rPr lang="es-AR" dirty="0"/>
              <a:t>Duis aute irure dolor in reprehenderit in voluptate velit esse cillum dolore eu fugiat nulla pariatur. </a:t>
            </a:r>
          </a:p>
        </p:txBody>
      </p:sp>
    </p:spTree>
    <p:extLst>
      <p:ext uri="{BB962C8B-B14F-4D97-AF65-F5344CB8AC3E}">
        <p14:creationId xmlns:p14="http://schemas.microsoft.com/office/powerpoint/2010/main" val="31138017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EBFBCA0-5F94-6044-AE04-AF784A2403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exto + número</a:t>
            </a:r>
          </a:p>
        </p:txBody>
      </p:sp>
      <p:pic>
        <p:nvPicPr>
          <p:cNvPr id="8" name="Marcador de posición de imagen 7">
            <a:extLst>
              <a:ext uri="{FF2B5EF4-FFF2-40B4-BE49-F238E27FC236}">
                <a16:creationId xmlns:a16="http://schemas.microsoft.com/office/drawing/2014/main" id="{0AC5625D-30A5-7E4C-9F78-61067B10A62A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>
            <a:off x="9091023" y="1325834"/>
            <a:ext cx="2648241" cy="4519122"/>
          </a:xfrm>
        </p:spPr>
      </p:pic>
      <p:pic>
        <p:nvPicPr>
          <p:cNvPr id="6" name="Marcador de posición de imagen 5">
            <a:extLst>
              <a:ext uri="{FF2B5EF4-FFF2-40B4-BE49-F238E27FC236}">
                <a16:creationId xmlns:a16="http://schemas.microsoft.com/office/drawing/2014/main" id="{B4F8B74F-9396-CC47-B948-CCBD5C52C60C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51936" y="1327310"/>
            <a:ext cx="2648283" cy="4518780"/>
          </a:xfrm>
        </p:spPr>
      </p:pic>
      <p:grpSp>
        <p:nvGrpSpPr>
          <p:cNvPr id="23" name="Grupo 22">
            <a:extLst>
              <a:ext uri="{FF2B5EF4-FFF2-40B4-BE49-F238E27FC236}">
                <a16:creationId xmlns:a16="http://schemas.microsoft.com/office/drawing/2014/main" id="{46E6E077-4189-A945-B385-36B7446CC172}"/>
              </a:ext>
            </a:extLst>
          </p:cNvPr>
          <p:cNvGrpSpPr/>
          <p:nvPr/>
        </p:nvGrpSpPr>
        <p:grpSpPr>
          <a:xfrm>
            <a:off x="553587" y="1944547"/>
            <a:ext cx="5624171" cy="539999"/>
            <a:chOff x="838622" y="1644275"/>
            <a:chExt cx="5624171" cy="539999"/>
          </a:xfrm>
        </p:grpSpPr>
        <p:sp>
          <p:nvSpPr>
            <p:cNvPr id="24" name="Textplatzhalter 4">
              <a:extLst>
                <a:ext uri="{FF2B5EF4-FFF2-40B4-BE49-F238E27FC236}">
                  <a16:creationId xmlns:a16="http://schemas.microsoft.com/office/drawing/2014/main" id="{06E72813-B78E-B94B-BEB7-C0B1EE0E2686}"/>
                </a:ext>
              </a:extLst>
            </p:cNvPr>
            <p:cNvSpPr txBox="1">
              <a:spLocks/>
            </p:cNvSpPr>
            <p:nvPr/>
          </p:nvSpPr>
          <p:spPr>
            <a:xfrm>
              <a:off x="2251252" y="1644275"/>
              <a:ext cx="4211541" cy="539999"/>
            </a:xfrm>
            <a:prstGeom prst="rect">
              <a:avLst/>
            </a:prstGeom>
            <a:noFill/>
          </p:spPr>
          <p:txBody>
            <a:bodyPr wrap="square" lIns="0" tIns="0" bIns="0" anchor="ctr">
              <a:noAutofit/>
            </a:bodyPr>
            <a:lstStyle>
              <a:lvl1pPr marL="257209" indent="-257209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557287" indent="-214341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857364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200310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1543256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dirty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886201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147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093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039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4288" indent="0">
                <a:lnSpc>
                  <a:spcPct val="100000"/>
                </a:lnSpc>
                <a:spcAft>
                  <a:spcPts val="0"/>
                </a:spcAft>
                <a:buClr>
                  <a:schemeClr val="bg1"/>
                </a:buClr>
                <a:buSzPct val="200000"/>
                <a:buNone/>
              </a:pPr>
              <a:r>
                <a:rPr lang="es-AR" sz="2000" dirty="0"/>
                <a:t>Lorem ipsum dolor sit amet.</a:t>
              </a:r>
            </a:p>
          </p:txBody>
        </p:sp>
        <p:sp>
          <p:nvSpPr>
            <p:cNvPr id="25" name="Textplatzhalter 4">
              <a:extLst>
                <a:ext uri="{FF2B5EF4-FFF2-40B4-BE49-F238E27FC236}">
                  <a16:creationId xmlns:a16="http://schemas.microsoft.com/office/drawing/2014/main" id="{F0FE6EE4-3907-9E4A-889F-206BA0AEEC05}"/>
                </a:ext>
              </a:extLst>
            </p:cNvPr>
            <p:cNvSpPr txBox="1">
              <a:spLocks/>
            </p:cNvSpPr>
            <p:nvPr/>
          </p:nvSpPr>
          <p:spPr>
            <a:xfrm>
              <a:off x="838622" y="1644275"/>
              <a:ext cx="1377636" cy="539999"/>
            </a:xfrm>
            <a:prstGeom prst="rect">
              <a:avLst/>
            </a:prstGeom>
            <a:noFill/>
          </p:spPr>
          <p:txBody>
            <a:bodyPr wrap="square" lIns="0" tIns="0" bIns="0" anchor="ctr">
              <a:noAutofit/>
            </a:bodyPr>
            <a:lstStyle>
              <a:lvl1pPr marL="257209" indent="-257209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557287" indent="-214341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857364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200310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1543256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dirty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886201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147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093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039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4288" indent="0" algn="r">
                <a:lnSpc>
                  <a:spcPct val="100000"/>
                </a:lnSpc>
                <a:spcAft>
                  <a:spcPts val="0"/>
                </a:spcAft>
                <a:buClr>
                  <a:schemeClr val="bg1"/>
                </a:buClr>
                <a:buSzPct val="200000"/>
                <a:buNone/>
              </a:pPr>
              <a:r>
                <a:rPr lang="es-AR" sz="4400" b="1" dirty="0">
                  <a:solidFill>
                    <a:schemeClr val="tx2"/>
                  </a:solidFill>
                </a:rPr>
                <a:t>300</a:t>
              </a:r>
            </a:p>
          </p:txBody>
        </p:sp>
      </p:grpSp>
      <p:grpSp>
        <p:nvGrpSpPr>
          <p:cNvPr id="26" name="Grupo 25">
            <a:extLst>
              <a:ext uri="{FF2B5EF4-FFF2-40B4-BE49-F238E27FC236}">
                <a16:creationId xmlns:a16="http://schemas.microsoft.com/office/drawing/2014/main" id="{1E13ED5A-5ECB-D649-88B6-A9B75D658697}"/>
              </a:ext>
            </a:extLst>
          </p:cNvPr>
          <p:cNvGrpSpPr/>
          <p:nvPr/>
        </p:nvGrpSpPr>
        <p:grpSpPr>
          <a:xfrm>
            <a:off x="553587" y="2841268"/>
            <a:ext cx="5624171" cy="539999"/>
            <a:chOff x="838622" y="2641839"/>
            <a:chExt cx="5624171" cy="539999"/>
          </a:xfrm>
        </p:grpSpPr>
        <p:sp>
          <p:nvSpPr>
            <p:cNvPr id="27" name="Textplatzhalter 4">
              <a:extLst>
                <a:ext uri="{FF2B5EF4-FFF2-40B4-BE49-F238E27FC236}">
                  <a16:creationId xmlns:a16="http://schemas.microsoft.com/office/drawing/2014/main" id="{BC4EB59B-36DC-A54D-A574-9C7006A46136}"/>
                </a:ext>
              </a:extLst>
            </p:cNvPr>
            <p:cNvSpPr txBox="1">
              <a:spLocks/>
            </p:cNvSpPr>
            <p:nvPr/>
          </p:nvSpPr>
          <p:spPr>
            <a:xfrm>
              <a:off x="2251252" y="2641839"/>
              <a:ext cx="4211541" cy="539999"/>
            </a:xfrm>
            <a:prstGeom prst="rect">
              <a:avLst/>
            </a:prstGeom>
            <a:noFill/>
          </p:spPr>
          <p:txBody>
            <a:bodyPr wrap="square" lIns="0" tIns="0" bIns="0" anchor="ctr">
              <a:noAutofit/>
            </a:bodyPr>
            <a:lstStyle>
              <a:lvl1pPr marL="257209" indent="-257209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557287" indent="-214341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857364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200310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1543256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dirty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886201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147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093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039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4288" indent="0">
                <a:lnSpc>
                  <a:spcPct val="100000"/>
                </a:lnSpc>
                <a:spcAft>
                  <a:spcPts val="0"/>
                </a:spcAft>
                <a:buClr>
                  <a:schemeClr val="bg1"/>
                </a:buClr>
                <a:buSzPct val="200000"/>
                <a:buNone/>
              </a:pPr>
              <a:r>
                <a:rPr lang="es-AR" sz="2000" dirty="0"/>
                <a:t>Ut enim ad minim veniam.</a:t>
              </a:r>
            </a:p>
          </p:txBody>
        </p:sp>
        <p:sp>
          <p:nvSpPr>
            <p:cNvPr id="28" name="Textplatzhalter 4">
              <a:extLst>
                <a:ext uri="{FF2B5EF4-FFF2-40B4-BE49-F238E27FC236}">
                  <a16:creationId xmlns:a16="http://schemas.microsoft.com/office/drawing/2014/main" id="{335D469B-D023-0743-B5A1-FCD6020270CA}"/>
                </a:ext>
              </a:extLst>
            </p:cNvPr>
            <p:cNvSpPr txBox="1">
              <a:spLocks/>
            </p:cNvSpPr>
            <p:nvPr/>
          </p:nvSpPr>
          <p:spPr>
            <a:xfrm>
              <a:off x="838622" y="2641839"/>
              <a:ext cx="1377636" cy="539999"/>
            </a:xfrm>
            <a:prstGeom prst="rect">
              <a:avLst/>
            </a:prstGeom>
            <a:noFill/>
          </p:spPr>
          <p:txBody>
            <a:bodyPr wrap="square" lIns="0" tIns="0" bIns="0" anchor="ctr">
              <a:noAutofit/>
            </a:bodyPr>
            <a:lstStyle>
              <a:lvl1pPr marL="257209" indent="-257209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557287" indent="-214341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857364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200310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1543256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dirty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886201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147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093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039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4288" indent="0" algn="r">
                <a:lnSpc>
                  <a:spcPct val="100000"/>
                </a:lnSpc>
                <a:spcAft>
                  <a:spcPts val="0"/>
                </a:spcAft>
                <a:buClr>
                  <a:schemeClr val="bg1"/>
                </a:buClr>
                <a:buSzPct val="200000"/>
                <a:buNone/>
              </a:pPr>
              <a:r>
                <a:rPr lang="es-AR" sz="4400" b="1" dirty="0">
                  <a:solidFill>
                    <a:schemeClr val="tx2"/>
                  </a:solidFill>
                </a:rPr>
                <a:t>540</a:t>
              </a:r>
            </a:p>
          </p:txBody>
        </p:sp>
      </p:grpSp>
      <p:grpSp>
        <p:nvGrpSpPr>
          <p:cNvPr id="29" name="Grupo 28">
            <a:extLst>
              <a:ext uri="{FF2B5EF4-FFF2-40B4-BE49-F238E27FC236}">
                <a16:creationId xmlns:a16="http://schemas.microsoft.com/office/drawing/2014/main" id="{46772BDC-3D49-C14E-8406-E8AB9EA23BFD}"/>
              </a:ext>
            </a:extLst>
          </p:cNvPr>
          <p:cNvGrpSpPr/>
          <p:nvPr/>
        </p:nvGrpSpPr>
        <p:grpSpPr>
          <a:xfrm>
            <a:off x="553587" y="3737989"/>
            <a:ext cx="5624171" cy="539999"/>
            <a:chOff x="838622" y="3406930"/>
            <a:chExt cx="5624171" cy="539999"/>
          </a:xfrm>
        </p:grpSpPr>
        <p:sp>
          <p:nvSpPr>
            <p:cNvPr id="30" name="Textplatzhalter 4">
              <a:extLst>
                <a:ext uri="{FF2B5EF4-FFF2-40B4-BE49-F238E27FC236}">
                  <a16:creationId xmlns:a16="http://schemas.microsoft.com/office/drawing/2014/main" id="{7D023917-1F0E-124F-AC83-27ABAC06861A}"/>
                </a:ext>
              </a:extLst>
            </p:cNvPr>
            <p:cNvSpPr txBox="1">
              <a:spLocks/>
            </p:cNvSpPr>
            <p:nvPr/>
          </p:nvSpPr>
          <p:spPr>
            <a:xfrm>
              <a:off x="2251252" y="3406930"/>
              <a:ext cx="4211541" cy="539999"/>
            </a:xfrm>
            <a:prstGeom prst="rect">
              <a:avLst/>
            </a:prstGeom>
            <a:noFill/>
          </p:spPr>
          <p:txBody>
            <a:bodyPr wrap="square" lIns="0" tIns="0" bIns="0" anchor="ctr">
              <a:noAutofit/>
            </a:bodyPr>
            <a:lstStyle>
              <a:lvl1pPr marL="257209" indent="-257209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557287" indent="-214341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857364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200310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1543256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dirty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886201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147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093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039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4288" indent="0">
                <a:lnSpc>
                  <a:spcPct val="100000"/>
                </a:lnSpc>
                <a:spcAft>
                  <a:spcPts val="0"/>
                </a:spcAft>
                <a:buClr>
                  <a:schemeClr val="bg1"/>
                </a:buClr>
                <a:buSzPct val="200000"/>
                <a:buNone/>
              </a:pPr>
              <a:r>
                <a:rPr lang="es-AR" sz="2000" dirty="0"/>
                <a:t>Duis aute irure.</a:t>
              </a:r>
            </a:p>
          </p:txBody>
        </p:sp>
        <p:sp>
          <p:nvSpPr>
            <p:cNvPr id="31" name="Textplatzhalter 4">
              <a:extLst>
                <a:ext uri="{FF2B5EF4-FFF2-40B4-BE49-F238E27FC236}">
                  <a16:creationId xmlns:a16="http://schemas.microsoft.com/office/drawing/2014/main" id="{89A8419F-C5CA-8B46-A5B0-C474DD47BFF0}"/>
                </a:ext>
              </a:extLst>
            </p:cNvPr>
            <p:cNvSpPr txBox="1">
              <a:spLocks/>
            </p:cNvSpPr>
            <p:nvPr/>
          </p:nvSpPr>
          <p:spPr>
            <a:xfrm>
              <a:off x="838622" y="3406930"/>
              <a:ext cx="1377636" cy="539999"/>
            </a:xfrm>
            <a:prstGeom prst="rect">
              <a:avLst/>
            </a:prstGeom>
            <a:noFill/>
          </p:spPr>
          <p:txBody>
            <a:bodyPr wrap="square" lIns="0" tIns="0" bIns="0" anchor="ctr">
              <a:noAutofit/>
            </a:bodyPr>
            <a:lstStyle>
              <a:lvl1pPr marL="257209" indent="-257209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557287" indent="-214341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857364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200310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1543256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dirty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886201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147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093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039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4288" indent="0" algn="r">
                <a:lnSpc>
                  <a:spcPct val="100000"/>
                </a:lnSpc>
                <a:spcAft>
                  <a:spcPts val="0"/>
                </a:spcAft>
                <a:buClr>
                  <a:schemeClr val="bg1"/>
                </a:buClr>
                <a:buSzPct val="200000"/>
                <a:buNone/>
              </a:pPr>
              <a:r>
                <a:rPr lang="es-AR" sz="4400" b="1" dirty="0">
                  <a:solidFill>
                    <a:schemeClr val="tx2"/>
                  </a:solidFill>
                </a:rPr>
                <a:t>70</a:t>
              </a:r>
            </a:p>
          </p:txBody>
        </p:sp>
      </p:grpSp>
      <p:grpSp>
        <p:nvGrpSpPr>
          <p:cNvPr id="32" name="Grupo 31">
            <a:extLst>
              <a:ext uri="{FF2B5EF4-FFF2-40B4-BE49-F238E27FC236}">
                <a16:creationId xmlns:a16="http://schemas.microsoft.com/office/drawing/2014/main" id="{50868854-D97E-D34C-87ED-78AB59DF9E9F}"/>
              </a:ext>
            </a:extLst>
          </p:cNvPr>
          <p:cNvGrpSpPr/>
          <p:nvPr/>
        </p:nvGrpSpPr>
        <p:grpSpPr>
          <a:xfrm>
            <a:off x="553587" y="4634711"/>
            <a:ext cx="5624171" cy="539999"/>
            <a:chOff x="838622" y="4172021"/>
            <a:chExt cx="5624171" cy="539999"/>
          </a:xfrm>
        </p:grpSpPr>
        <p:sp>
          <p:nvSpPr>
            <p:cNvPr id="33" name="Textplatzhalter 4">
              <a:extLst>
                <a:ext uri="{FF2B5EF4-FFF2-40B4-BE49-F238E27FC236}">
                  <a16:creationId xmlns:a16="http://schemas.microsoft.com/office/drawing/2014/main" id="{B607F45C-3818-DA4E-A80B-9D8FD549ACD1}"/>
                </a:ext>
              </a:extLst>
            </p:cNvPr>
            <p:cNvSpPr txBox="1">
              <a:spLocks/>
            </p:cNvSpPr>
            <p:nvPr/>
          </p:nvSpPr>
          <p:spPr>
            <a:xfrm>
              <a:off x="2251252" y="4172021"/>
              <a:ext cx="4211541" cy="539999"/>
            </a:xfrm>
            <a:prstGeom prst="rect">
              <a:avLst/>
            </a:prstGeom>
            <a:noFill/>
          </p:spPr>
          <p:txBody>
            <a:bodyPr wrap="square" lIns="0" tIns="0" bIns="0" anchor="ctr">
              <a:noAutofit/>
            </a:bodyPr>
            <a:lstStyle>
              <a:lvl1pPr marL="257209" indent="-257209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557287" indent="-214341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857364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200310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1543256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dirty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886201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147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093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039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4288" indent="0">
                <a:lnSpc>
                  <a:spcPct val="100000"/>
                </a:lnSpc>
                <a:spcAft>
                  <a:spcPts val="0"/>
                </a:spcAft>
                <a:buClr>
                  <a:schemeClr val="bg1"/>
                </a:buClr>
                <a:buSzPct val="200000"/>
                <a:buNone/>
              </a:pPr>
              <a:r>
                <a:rPr lang="es-AR" sz="2000" dirty="0"/>
                <a:t>Excepteur sint.</a:t>
              </a:r>
            </a:p>
          </p:txBody>
        </p:sp>
        <p:sp>
          <p:nvSpPr>
            <p:cNvPr id="34" name="Textplatzhalter 4">
              <a:extLst>
                <a:ext uri="{FF2B5EF4-FFF2-40B4-BE49-F238E27FC236}">
                  <a16:creationId xmlns:a16="http://schemas.microsoft.com/office/drawing/2014/main" id="{9A7B24B9-3CC0-114F-BBC5-E57F4847658E}"/>
                </a:ext>
              </a:extLst>
            </p:cNvPr>
            <p:cNvSpPr txBox="1">
              <a:spLocks/>
            </p:cNvSpPr>
            <p:nvPr/>
          </p:nvSpPr>
          <p:spPr>
            <a:xfrm>
              <a:off x="838622" y="4172021"/>
              <a:ext cx="1377636" cy="539999"/>
            </a:xfrm>
            <a:prstGeom prst="rect">
              <a:avLst/>
            </a:prstGeom>
            <a:noFill/>
          </p:spPr>
          <p:txBody>
            <a:bodyPr wrap="square" lIns="0" tIns="0" bIns="0" anchor="ctr">
              <a:noAutofit/>
            </a:bodyPr>
            <a:lstStyle>
              <a:lvl1pPr marL="257209" indent="-257209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557287" indent="-214341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accent1"/>
                </a:buClr>
                <a:buFont typeface="Wingdings"/>
                <a:buChar char="n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857364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200310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smtClean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1543256" indent="-171473" algn="l" defTabSz="685891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1500" b="0" i="0" kern="1200" dirty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886201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147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093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039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4288" indent="0" algn="r">
                <a:lnSpc>
                  <a:spcPct val="100000"/>
                </a:lnSpc>
                <a:spcAft>
                  <a:spcPts val="0"/>
                </a:spcAft>
                <a:buClr>
                  <a:schemeClr val="bg1"/>
                </a:buClr>
                <a:buSzPct val="200000"/>
                <a:buNone/>
              </a:pPr>
              <a:r>
                <a:rPr lang="es-AR" sz="4400" b="1" dirty="0">
                  <a:solidFill>
                    <a:schemeClr val="tx2"/>
                  </a:solidFill>
                </a:rPr>
                <a:t>9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921187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CF41AB2-9D19-844E-9E5E-D349D9C615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exto fondo verde</a:t>
            </a:r>
          </a:p>
        </p:txBody>
      </p:sp>
      <p:pic>
        <p:nvPicPr>
          <p:cNvPr id="9" name="Marcador de posición de imagen 8">
            <a:extLst>
              <a:ext uri="{FF2B5EF4-FFF2-40B4-BE49-F238E27FC236}">
                <a16:creationId xmlns:a16="http://schemas.microsoft.com/office/drawing/2014/main" id="{8B67647B-089E-F14D-98CD-004D65AD9E1C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>
            <a:off x="9091023" y="1325834"/>
            <a:ext cx="2648241" cy="4519122"/>
          </a:xfrm>
        </p:spPr>
      </p:pic>
      <p:pic>
        <p:nvPicPr>
          <p:cNvPr id="7" name="Marcador de posición de imagen 6">
            <a:extLst>
              <a:ext uri="{FF2B5EF4-FFF2-40B4-BE49-F238E27FC236}">
                <a16:creationId xmlns:a16="http://schemas.microsoft.com/office/drawing/2014/main" id="{EB77148D-1983-6445-A9AD-F66AED90E92C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51936" y="1327310"/>
            <a:ext cx="2648283" cy="4518780"/>
          </a:xfrm>
        </p:spPr>
      </p:pic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A6268339-D0D4-3442-BDC3-82968AFEF9EF}"/>
              </a:ext>
            </a:extLst>
          </p:cNvPr>
          <p:cNvSpPr txBox="1">
            <a:spLocks/>
          </p:cNvSpPr>
          <p:nvPr/>
        </p:nvSpPr>
        <p:spPr>
          <a:xfrm>
            <a:off x="218306" y="1628775"/>
            <a:ext cx="5718363" cy="4321176"/>
          </a:xfrm>
          <a:prstGeom prst="rect">
            <a:avLst/>
          </a:prstGeom>
        </p:spPr>
        <p:txBody>
          <a:bodyPr anchor="ctr"/>
          <a:lstStyle>
            <a:lvl1pPr marL="342900" marR="0" indent="-34290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n"/>
              <a:tabLst/>
              <a:defRPr lang="de-DE" sz="2000" b="0" i="0" kern="120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15963" marR="0" indent="-358775" algn="l" defTabSz="914400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90000"/>
              <a:buFont typeface="Wingdings 3" panose="05040102010807070707" pitchFamily="18" charset="2"/>
              <a:buChar char=""/>
              <a:tabLst/>
              <a:defRPr lang="de-DE" sz="2000" b="0" i="0" kern="120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1088" marR="0" indent="-365125" algn="l" defTabSz="914400" rtl="0" eaLnBrk="1" fontAlgn="base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SzPct val="95000"/>
              <a:buFont typeface="Arial" panose="020B0604020202020204" pitchFamily="34" charset="0"/>
              <a:buChar char="●"/>
              <a:tabLst/>
              <a:defRPr lang="de-DE" sz="2000" b="0" i="0" kern="120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433513" marR="0" indent="-358775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−"/>
              <a:tabLst/>
              <a:defRPr lang="de-DE" sz="2000" b="0" i="0" kern="120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lang="de-DE" sz="2000" b="0" i="0" kern="1200" dirty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s-AR" sz="1800" dirty="0">
                <a:solidFill>
                  <a:schemeClr val="bg1"/>
                </a:solidFill>
              </a:rPr>
              <a:t>Lorem ipsum dolor sit amet, consectetur adipiscing elit, sed do eiusmod tempor incididunt ut labore et dolore magna aliqua. Ut enim ad minim veniam, </a:t>
            </a:r>
            <a:r>
              <a:rPr lang="es-AR" sz="1800" b="1" dirty="0">
                <a:solidFill>
                  <a:schemeClr val="bg1"/>
                </a:solidFill>
              </a:rPr>
              <a:t>quis </a:t>
            </a:r>
            <a:r>
              <a:rPr lang="es-AR" sz="1800" b="1" dirty="0">
                <a:solidFill>
                  <a:schemeClr val="accent1"/>
                </a:solidFill>
              </a:rPr>
              <a:t>nostrud exercitation ullamco laboris </a:t>
            </a:r>
            <a:r>
              <a:rPr lang="es-AR" sz="1800" dirty="0">
                <a:solidFill>
                  <a:schemeClr val="bg1"/>
                </a:solidFill>
              </a:rPr>
              <a:t>nisi ut aliquip ex ea commodo consequat. </a:t>
            </a:r>
          </a:p>
          <a:p>
            <a:pPr marL="0" indent="0" algn="r">
              <a:buNone/>
            </a:pPr>
            <a:endParaRPr lang="es-AR" sz="1800" dirty="0">
              <a:solidFill>
                <a:schemeClr val="bg1"/>
              </a:solidFill>
            </a:endParaRPr>
          </a:p>
          <a:p>
            <a:pPr marL="0" indent="0" algn="r">
              <a:buNone/>
            </a:pPr>
            <a:r>
              <a:rPr lang="es-AR" sz="1800" dirty="0">
                <a:solidFill>
                  <a:schemeClr val="bg1"/>
                </a:solidFill>
              </a:rPr>
              <a:t>Duis aute irure </a:t>
            </a:r>
            <a:r>
              <a:rPr lang="es-AR" sz="1800" b="1" dirty="0">
                <a:solidFill>
                  <a:schemeClr val="accent1"/>
                </a:solidFill>
              </a:rPr>
              <a:t>dolor in reprehenderit in voluptate </a:t>
            </a:r>
            <a:r>
              <a:rPr lang="es-AR" sz="1800" dirty="0">
                <a:solidFill>
                  <a:schemeClr val="bg1"/>
                </a:solidFill>
              </a:rPr>
              <a:t>velit esse cillum dolore eu fugiat nulla pariatur. Excepteur sint occaecat cupidatat non proident, sunt in culpa qui officia deserunt mollit anim id est laborum.</a:t>
            </a:r>
          </a:p>
          <a:p>
            <a:pPr marL="0" indent="0" algn="r">
              <a:buNone/>
            </a:pPr>
            <a:endParaRPr lang="es-AR" sz="1800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es-ES_tradnl" sz="1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13051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15283E5-7E3F-B84B-B239-EF8DDB9EFD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abla</a:t>
            </a:r>
          </a:p>
        </p:txBody>
      </p:sp>
      <p:pic>
        <p:nvPicPr>
          <p:cNvPr id="6" name="Marcador de posición de imagen 5">
            <a:extLst>
              <a:ext uri="{FF2B5EF4-FFF2-40B4-BE49-F238E27FC236}">
                <a16:creationId xmlns:a16="http://schemas.microsoft.com/office/drawing/2014/main" id="{1D629185-F18F-A842-91D5-D575565F1407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36042" y="265618"/>
            <a:ext cx="3270700" cy="5580814"/>
          </a:xfrm>
        </p:spPr>
      </p:pic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4E36A900-DA5B-F043-A02C-A3723ACBFA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6478254"/>
              </p:ext>
            </p:extLst>
          </p:nvPr>
        </p:nvGraphicFramePr>
        <p:xfrm>
          <a:off x="-1" y="1628775"/>
          <a:ext cx="8075613" cy="3749137"/>
        </p:xfrm>
        <a:graphic>
          <a:graphicData uri="http://schemas.openxmlformats.org/drawingml/2006/table">
            <a:tbl>
              <a:tblPr/>
              <a:tblGrid>
                <a:gridCol w="2338563">
                  <a:extLst>
                    <a:ext uri="{9D8B030D-6E8A-4147-A177-3AD203B41FA5}">
                      <a16:colId xmlns:a16="http://schemas.microsoft.com/office/drawing/2014/main" val="21502988"/>
                    </a:ext>
                  </a:extLst>
                </a:gridCol>
                <a:gridCol w="5737050">
                  <a:extLst>
                    <a:ext uri="{9D8B030D-6E8A-4147-A177-3AD203B41FA5}">
                      <a16:colId xmlns:a16="http://schemas.microsoft.com/office/drawing/2014/main" val="1832809411"/>
                    </a:ext>
                  </a:extLst>
                </a:gridCol>
              </a:tblGrid>
              <a:tr h="548887">
                <a:tc>
                  <a:txBody>
                    <a:bodyPr/>
                    <a:lstStyle/>
                    <a:p>
                      <a:pPr algn="r" fontAlgn="ctr"/>
                      <a:r>
                        <a:rPr lang="es-AR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TEGORÍA</a:t>
                      </a:r>
                    </a:p>
                  </a:txBody>
                  <a:tcPr marL="108000" marR="180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spcAft>
                          <a:spcPts val="1200"/>
                        </a:spcAft>
                        <a:buClr>
                          <a:schemeClr val="accent1"/>
                        </a:buClr>
                      </a:pPr>
                      <a:r>
                        <a:rPr lang="es-AR" sz="1400" dirty="0"/>
                        <a:t>Lorem ipsum dolor sit amet.</a:t>
                      </a:r>
                    </a:p>
                  </a:txBody>
                  <a:tcPr marL="108000" marR="180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7465896"/>
                  </a:ext>
                </a:extLst>
              </a:tr>
              <a:tr h="533375">
                <a:tc>
                  <a:txBody>
                    <a:bodyPr/>
                    <a:lstStyle/>
                    <a:p>
                      <a:pPr algn="r" fontAlgn="b"/>
                      <a:r>
                        <a:rPr kumimoji="0" lang="es-A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TEGORÍA</a:t>
                      </a:r>
                      <a:endParaRPr lang="es-AR" sz="1400" b="0" i="0" u="none" strike="noStrike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80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spcAft>
                          <a:spcPts val="1200"/>
                        </a:spcAft>
                        <a:buClr>
                          <a:schemeClr val="accent1"/>
                        </a:buClr>
                      </a:pPr>
                      <a:r>
                        <a:rPr lang="es-AR" sz="1400" dirty="0"/>
                        <a:t>Consectetur adipiscing elit.</a:t>
                      </a:r>
                      <a:endParaRPr lang="es-AR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80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4316038"/>
                  </a:ext>
                </a:extLst>
              </a:tr>
              <a:tr h="533375">
                <a:tc>
                  <a:txBody>
                    <a:bodyPr/>
                    <a:lstStyle/>
                    <a:p>
                      <a:pPr algn="r" fontAlgn="b"/>
                      <a:r>
                        <a:rPr kumimoji="0" lang="es-A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TEGORÍA</a:t>
                      </a:r>
                      <a:endParaRPr lang="es-AR" sz="1400" b="0" i="0" u="none" strike="noStrike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80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spcAft>
                          <a:spcPts val="1200"/>
                        </a:spcAft>
                        <a:buClr>
                          <a:schemeClr val="accent1"/>
                        </a:buClr>
                      </a:pPr>
                      <a:r>
                        <a:rPr lang="es-AR" sz="1400" dirty="0"/>
                        <a:t>Sed do eiusmod tempor incididunt ut labore.</a:t>
                      </a:r>
                    </a:p>
                  </a:txBody>
                  <a:tcPr marL="108000" marR="180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4317249"/>
                  </a:ext>
                </a:extLst>
              </a:tr>
              <a:tr h="533375">
                <a:tc>
                  <a:txBody>
                    <a:bodyPr/>
                    <a:lstStyle/>
                    <a:p>
                      <a:pPr algn="r" fontAlgn="b"/>
                      <a:r>
                        <a:rPr kumimoji="0" lang="es-A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TEGORÍA</a:t>
                      </a:r>
                      <a:endParaRPr lang="es-AR" sz="1400" b="0" i="0" u="none" strike="noStrike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80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spcAft>
                          <a:spcPts val="1200"/>
                        </a:spcAft>
                        <a:buClr>
                          <a:schemeClr val="accent1"/>
                        </a:buClr>
                      </a:pPr>
                      <a:r>
                        <a:rPr kumimoji="0" lang="es-A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</a:t>
                      </a:r>
                      <a:r>
                        <a:rPr lang="es-AR" sz="1400" dirty="0"/>
                        <a:t>t dolore magna aliqua. </a:t>
                      </a:r>
                      <a:endParaRPr lang="es-AR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80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0168008"/>
                  </a:ext>
                </a:extLst>
              </a:tr>
              <a:tr h="533375">
                <a:tc>
                  <a:txBody>
                    <a:bodyPr/>
                    <a:lstStyle/>
                    <a:p>
                      <a:pPr algn="r" fontAlgn="b"/>
                      <a:r>
                        <a:rPr kumimoji="0" lang="es-A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TEGORÍA</a:t>
                      </a:r>
                      <a:endParaRPr lang="es-AR" sz="1400" b="0" i="0" u="none" strike="noStrike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80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spcAft>
                          <a:spcPts val="1200"/>
                        </a:spcAft>
                        <a:buClr>
                          <a:schemeClr val="accent1"/>
                        </a:buClr>
                      </a:pPr>
                      <a:r>
                        <a:rPr lang="es-AR" sz="1400" dirty="0"/>
                        <a:t>Ut enim ad minim veniam.</a:t>
                      </a:r>
                      <a:endParaRPr lang="es-AR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80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9548088"/>
                  </a:ext>
                </a:extLst>
              </a:tr>
              <a:tr h="533375">
                <a:tc>
                  <a:txBody>
                    <a:bodyPr/>
                    <a:lstStyle/>
                    <a:p>
                      <a:pPr algn="r" fontAlgn="b"/>
                      <a:r>
                        <a:rPr kumimoji="0" lang="es-A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TEGORÍA</a:t>
                      </a:r>
                      <a:endParaRPr lang="es-AR" sz="1400" b="0" i="0" u="none" strike="noStrike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80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400" dirty="0"/>
                        <a:t>Quis nostrud exercitation ullamco laboris nisi ut aliquip.</a:t>
                      </a:r>
                    </a:p>
                  </a:txBody>
                  <a:tcPr marL="108000" marR="180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3182424"/>
                  </a:ext>
                </a:extLst>
              </a:tr>
              <a:tr h="533375">
                <a:tc>
                  <a:txBody>
                    <a:bodyPr/>
                    <a:lstStyle/>
                    <a:p>
                      <a:pPr algn="r" fontAlgn="b"/>
                      <a:r>
                        <a:rPr kumimoji="0" lang="es-A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TEGORÍA</a:t>
                      </a:r>
                      <a:endParaRPr lang="es-AR" sz="1400" b="0" i="0" u="none" strike="noStrike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80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AR" sz="1400" dirty="0"/>
                        <a:t>Ex ea commodo consequat. </a:t>
                      </a:r>
                      <a:endParaRPr lang="es-AR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80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54364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14813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5804014-3BEC-CC47-BE53-9576050C15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Gráfico</a:t>
            </a:r>
          </a:p>
        </p:txBody>
      </p:sp>
      <p:pic>
        <p:nvPicPr>
          <p:cNvPr id="7" name="Marcador de posición de imagen 6">
            <a:extLst>
              <a:ext uri="{FF2B5EF4-FFF2-40B4-BE49-F238E27FC236}">
                <a16:creationId xmlns:a16="http://schemas.microsoft.com/office/drawing/2014/main" id="{605400AE-5CE7-724B-A3F1-C2F1D27ABFFA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36042" y="265618"/>
            <a:ext cx="3270700" cy="5580814"/>
          </a:xfrm>
        </p:spPr>
      </p:pic>
      <p:sp>
        <p:nvSpPr>
          <p:cNvPr id="3" name="TextBox 19">
            <a:extLst>
              <a:ext uri="{FF2B5EF4-FFF2-40B4-BE49-F238E27FC236}">
                <a16:creationId xmlns:a16="http://schemas.microsoft.com/office/drawing/2014/main" id="{659CB44D-D642-EE47-8E00-D5F8685EEF99}"/>
              </a:ext>
            </a:extLst>
          </p:cNvPr>
          <p:cNvSpPr txBox="1"/>
          <p:nvPr/>
        </p:nvSpPr>
        <p:spPr>
          <a:xfrm>
            <a:off x="1233895" y="1400627"/>
            <a:ext cx="5826127" cy="504000"/>
          </a:xfrm>
          <a:prstGeom prst="rect">
            <a:avLst/>
          </a:prstGeom>
          <a:noFill/>
        </p:spPr>
        <p:txBody>
          <a:bodyPr wrap="square" rIns="288000" rtlCol="0" anchor="ctr">
            <a:noAutofit/>
          </a:bodyPr>
          <a:lstStyle/>
          <a:p>
            <a:pPr marL="177800" algn="ctr" fontAlgn="base">
              <a:spcAft>
                <a:spcPct val="0"/>
              </a:spcAft>
            </a:pPr>
            <a:r>
              <a:rPr lang="es-AR" sz="1600" b="1" noProof="1">
                <a:solidFill>
                  <a:srgbClr val="404040"/>
                </a:solidFill>
                <a:ea typeface="ＭＳ Ｐゴシック"/>
                <a:cs typeface="Arial"/>
              </a:rPr>
              <a:t>Doluptati que nitae cum quasa</a:t>
            </a:r>
            <a:endParaRPr lang="en-US" sz="1200" noProof="1">
              <a:solidFill>
                <a:schemeClr val="accent6">
                  <a:lumMod val="50000"/>
                </a:schemeClr>
              </a:solidFill>
              <a:latin typeface="Arial"/>
              <a:ea typeface="ＭＳ Ｐゴシック" pitchFamily="34" charset="-128"/>
              <a:cs typeface="Arial"/>
            </a:endParaRPr>
          </a:p>
        </p:txBody>
      </p:sp>
      <p:graphicFrame>
        <p:nvGraphicFramePr>
          <p:cNvPr id="4" name="Chart 30">
            <a:extLst>
              <a:ext uri="{FF2B5EF4-FFF2-40B4-BE49-F238E27FC236}">
                <a16:creationId xmlns:a16="http://schemas.microsoft.com/office/drawing/2014/main" id="{6AF1F08C-3CDC-8E46-B7CA-5887CBDAB6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60343909"/>
              </p:ext>
            </p:extLst>
          </p:nvPr>
        </p:nvGraphicFramePr>
        <p:xfrm>
          <a:off x="218305" y="1628775"/>
          <a:ext cx="7857307" cy="38786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6230126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43F0AE2-4CF9-5746-BF2F-628DFB482B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exto + icono fondo verde</a:t>
            </a:r>
          </a:p>
        </p:txBody>
      </p:sp>
      <p:pic>
        <p:nvPicPr>
          <p:cNvPr id="5" name="Marcador de posición de imagen 4">
            <a:extLst>
              <a:ext uri="{FF2B5EF4-FFF2-40B4-BE49-F238E27FC236}">
                <a16:creationId xmlns:a16="http://schemas.microsoft.com/office/drawing/2014/main" id="{0355DA90-94A4-744E-BBEC-0A4F90119DB0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36042" y="265618"/>
            <a:ext cx="3270700" cy="5580814"/>
          </a:xfr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97A2A454-75BA-8644-B7A6-FCC8D5D76769}"/>
              </a:ext>
            </a:extLst>
          </p:cNvPr>
          <p:cNvSpPr txBox="1"/>
          <p:nvPr/>
        </p:nvSpPr>
        <p:spPr>
          <a:xfrm>
            <a:off x="1239865" y="2024063"/>
            <a:ext cx="68357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</a:pPr>
            <a:r>
              <a:rPr lang="es-AR" dirty="0">
                <a:solidFill>
                  <a:schemeClr val="bg1"/>
                </a:solidFill>
              </a:rPr>
              <a:t>Lorem ipsum dolor sit amet, consectetur adipiscing elit, sed do eiusmod tempor incididunt ut labore et dolore magna aliqua. </a:t>
            </a:r>
          </a:p>
        </p:txBody>
      </p:sp>
      <p:sp>
        <p:nvSpPr>
          <p:cNvPr id="10" name="Grafik 3">
            <a:extLst>
              <a:ext uri="{FF2B5EF4-FFF2-40B4-BE49-F238E27FC236}">
                <a16:creationId xmlns:a16="http://schemas.microsoft.com/office/drawing/2014/main" id="{730D1C15-85DA-7143-B556-8637C7D22157}"/>
              </a:ext>
            </a:extLst>
          </p:cNvPr>
          <p:cNvSpPr/>
          <p:nvPr/>
        </p:nvSpPr>
        <p:spPr>
          <a:xfrm>
            <a:off x="464461" y="2099746"/>
            <a:ext cx="525900" cy="570648"/>
          </a:xfrm>
          <a:custGeom>
            <a:avLst/>
            <a:gdLst>
              <a:gd name="connsiteX0" fmla="*/ 144971 w 338804"/>
              <a:gd name="connsiteY0" fmla="*/ 122968 h 367633"/>
              <a:gd name="connsiteX1" fmla="*/ 144971 w 338804"/>
              <a:gd name="connsiteY1" fmla="*/ 283274 h 367633"/>
              <a:gd name="connsiteX2" fmla="*/ 236220 w 338804"/>
              <a:gd name="connsiteY2" fmla="*/ 319183 h 367633"/>
              <a:gd name="connsiteX3" fmla="*/ 316135 w 338804"/>
              <a:gd name="connsiteY3" fmla="*/ 367379 h 367633"/>
              <a:gd name="connsiteX4" fmla="*/ 7811 w 338804"/>
              <a:gd name="connsiteY4" fmla="*/ 363760 h 367633"/>
              <a:gd name="connsiteX5" fmla="*/ 85725 w 338804"/>
              <a:gd name="connsiteY5" fmla="*/ 317754 h 367633"/>
              <a:gd name="connsiteX6" fmla="*/ 133350 w 338804"/>
              <a:gd name="connsiteY6" fmla="*/ 283940 h 367633"/>
              <a:gd name="connsiteX7" fmla="*/ 133350 w 338804"/>
              <a:gd name="connsiteY7" fmla="*/ 129445 h 367633"/>
              <a:gd name="connsiteX8" fmla="*/ 127730 w 338804"/>
              <a:gd name="connsiteY8" fmla="*/ 121539 h 367633"/>
              <a:gd name="connsiteX9" fmla="*/ 125540 w 338804"/>
              <a:gd name="connsiteY9" fmla="*/ 124397 h 367633"/>
              <a:gd name="connsiteX10" fmla="*/ 0 w 338804"/>
              <a:gd name="connsiteY10" fmla="*/ 44577 h 367633"/>
              <a:gd name="connsiteX11" fmla="*/ 131540 w 338804"/>
              <a:gd name="connsiteY11" fmla="*/ 110014 h 367633"/>
              <a:gd name="connsiteX12" fmla="*/ 41720 w 338804"/>
              <a:gd name="connsiteY12" fmla="*/ 74771 h 367633"/>
              <a:gd name="connsiteX13" fmla="*/ 130112 w 338804"/>
              <a:gd name="connsiteY13" fmla="*/ 116491 h 367633"/>
              <a:gd name="connsiteX14" fmla="*/ 135065 w 338804"/>
              <a:gd name="connsiteY14" fmla="*/ 122968 h 367633"/>
              <a:gd name="connsiteX15" fmla="*/ 135827 w 338804"/>
              <a:gd name="connsiteY15" fmla="*/ 122968 h 367633"/>
              <a:gd name="connsiteX16" fmla="*/ 147828 w 338804"/>
              <a:gd name="connsiteY16" fmla="*/ 106394 h 367633"/>
              <a:gd name="connsiteX17" fmla="*/ 277273 w 338804"/>
              <a:gd name="connsiteY17" fmla="*/ 44577 h 367633"/>
              <a:gd name="connsiteX18" fmla="*/ 145733 w 338804"/>
              <a:gd name="connsiteY18" fmla="*/ 97060 h 367633"/>
              <a:gd name="connsiteX19" fmla="*/ 338804 w 338804"/>
              <a:gd name="connsiteY19" fmla="*/ 0 h 367633"/>
              <a:gd name="connsiteX20" fmla="*/ 154877 w 338804"/>
              <a:gd name="connsiteY20" fmla="*/ 117920 h 367633"/>
              <a:gd name="connsiteX21" fmla="*/ 152114 w 338804"/>
              <a:gd name="connsiteY21" fmla="*/ 113633 h 367633"/>
              <a:gd name="connsiteX22" fmla="*/ 144304 w 338804"/>
              <a:gd name="connsiteY22" fmla="*/ 123158 h 367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38804" h="367633">
                <a:moveTo>
                  <a:pt x="144971" y="122968"/>
                </a:moveTo>
                <a:lnTo>
                  <a:pt x="144971" y="283274"/>
                </a:lnTo>
                <a:cubicBezTo>
                  <a:pt x="178038" y="286921"/>
                  <a:pt x="209535" y="299316"/>
                  <a:pt x="236220" y="319183"/>
                </a:cubicBezTo>
                <a:cubicBezTo>
                  <a:pt x="260375" y="339045"/>
                  <a:pt x="287296" y="355282"/>
                  <a:pt x="316135" y="367379"/>
                </a:cubicBezTo>
                <a:cubicBezTo>
                  <a:pt x="321088" y="368808"/>
                  <a:pt x="7811" y="363760"/>
                  <a:pt x="7811" y="363760"/>
                </a:cubicBezTo>
                <a:lnTo>
                  <a:pt x="85725" y="317754"/>
                </a:lnTo>
                <a:cubicBezTo>
                  <a:pt x="96298" y="310610"/>
                  <a:pt x="116777" y="289179"/>
                  <a:pt x="133350" y="283940"/>
                </a:cubicBezTo>
                <a:lnTo>
                  <a:pt x="133350" y="129445"/>
                </a:lnTo>
                <a:cubicBezTo>
                  <a:pt x="131683" y="126669"/>
                  <a:pt x="129804" y="124026"/>
                  <a:pt x="127730" y="121539"/>
                </a:cubicBezTo>
                <a:cubicBezTo>
                  <a:pt x="126825" y="122344"/>
                  <a:pt x="126081" y="123313"/>
                  <a:pt x="125540" y="124397"/>
                </a:cubicBezTo>
                <a:cubicBezTo>
                  <a:pt x="95250" y="154591"/>
                  <a:pt x="24003" y="138017"/>
                  <a:pt x="0" y="44577"/>
                </a:cubicBezTo>
                <a:cubicBezTo>
                  <a:pt x="21241" y="61817"/>
                  <a:pt x="137922" y="14383"/>
                  <a:pt x="131540" y="110014"/>
                </a:cubicBezTo>
                <a:cubicBezTo>
                  <a:pt x="125921" y="104203"/>
                  <a:pt x="91916" y="69056"/>
                  <a:pt x="41720" y="74771"/>
                </a:cubicBezTo>
                <a:cubicBezTo>
                  <a:pt x="43148" y="76962"/>
                  <a:pt x="94774" y="75533"/>
                  <a:pt x="130112" y="116491"/>
                </a:cubicBezTo>
                <a:cubicBezTo>
                  <a:pt x="132302" y="119348"/>
                  <a:pt x="133636" y="121539"/>
                  <a:pt x="135065" y="122968"/>
                </a:cubicBezTo>
                <a:lnTo>
                  <a:pt x="135827" y="122968"/>
                </a:lnTo>
                <a:cubicBezTo>
                  <a:pt x="139340" y="117107"/>
                  <a:pt x="143356" y="111561"/>
                  <a:pt x="147828" y="106394"/>
                </a:cubicBezTo>
                <a:cubicBezTo>
                  <a:pt x="199454" y="46006"/>
                  <a:pt x="275177" y="48197"/>
                  <a:pt x="277273" y="44577"/>
                </a:cubicBezTo>
                <a:cubicBezTo>
                  <a:pt x="204406" y="36671"/>
                  <a:pt x="153448" y="88392"/>
                  <a:pt x="145733" y="97060"/>
                </a:cubicBezTo>
                <a:cubicBezTo>
                  <a:pt x="135827" y="-43815"/>
                  <a:pt x="307658" y="25908"/>
                  <a:pt x="338804" y="0"/>
                </a:cubicBezTo>
                <a:cubicBezTo>
                  <a:pt x="304133" y="138017"/>
                  <a:pt x="199454" y="162497"/>
                  <a:pt x="154877" y="117920"/>
                </a:cubicBezTo>
                <a:cubicBezTo>
                  <a:pt x="154210" y="115729"/>
                  <a:pt x="152781" y="115062"/>
                  <a:pt x="152114" y="113633"/>
                </a:cubicBezTo>
                <a:cubicBezTo>
                  <a:pt x="149257" y="116491"/>
                  <a:pt x="147161" y="120015"/>
                  <a:pt x="144304" y="123158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" name="Grafik 95">
            <a:extLst>
              <a:ext uri="{FF2B5EF4-FFF2-40B4-BE49-F238E27FC236}">
                <a16:creationId xmlns:a16="http://schemas.microsoft.com/office/drawing/2014/main" id="{CE398A0B-90E9-D144-9C04-D7EB59562495}"/>
              </a:ext>
            </a:extLst>
          </p:cNvPr>
          <p:cNvSpPr/>
          <p:nvPr/>
        </p:nvSpPr>
        <p:spPr>
          <a:xfrm>
            <a:off x="344481" y="3378890"/>
            <a:ext cx="765862" cy="552412"/>
          </a:xfrm>
          <a:custGeom>
            <a:avLst/>
            <a:gdLst>
              <a:gd name="connsiteX0" fmla="*/ 428625 w 493394"/>
              <a:gd name="connsiteY0" fmla="*/ 102584 h 355883"/>
              <a:gd name="connsiteX1" fmla="*/ 320802 w 493394"/>
              <a:gd name="connsiteY1" fmla="*/ 310134 h 355883"/>
              <a:gd name="connsiteX2" fmla="*/ 0 w 493394"/>
              <a:gd name="connsiteY2" fmla="*/ 295275 h 355883"/>
              <a:gd name="connsiteX3" fmla="*/ 351473 w 493394"/>
              <a:gd name="connsiteY3" fmla="*/ 101632 h 355883"/>
              <a:gd name="connsiteX4" fmla="*/ 334042 w 493394"/>
              <a:gd name="connsiteY4" fmla="*/ 119444 h 355883"/>
              <a:gd name="connsiteX5" fmla="*/ 316516 w 493394"/>
              <a:gd name="connsiteY5" fmla="*/ 136398 h 355883"/>
              <a:gd name="connsiteX6" fmla="*/ 286226 w 493394"/>
              <a:gd name="connsiteY6" fmla="*/ 105728 h 355883"/>
              <a:gd name="connsiteX7" fmla="*/ 314325 w 493394"/>
              <a:gd name="connsiteY7" fmla="*/ 77153 h 355883"/>
              <a:gd name="connsiteX8" fmla="*/ 359093 w 493394"/>
              <a:gd name="connsiteY8" fmla="*/ 31623 h 355883"/>
              <a:gd name="connsiteX9" fmla="*/ 389382 w 493394"/>
              <a:gd name="connsiteY9" fmla="*/ 762 h 355883"/>
              <a:gd name="connsiteX10" fmla="*/ 389382 w 493394"/>
              <a:gd name="connsiteY10" fmla="*/ 0 h 355883"/>
              <a:gd name="connsiteX11" fmla="*/ 493395 w 493394"/>
              <a:gd name="connsiteY11" fmla="*/ 105728 h 355883"/>
              <a:gd name="connsiteX12" fmla="*/ 463010 w 493394"/>
              <a:gd name="connsiteY12" fmla="*/ 137351 h 3558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93394" h="355883">
                <a:moveTo>
                  <a:pt x="428625" y="102584"/>
                </a:moveTo>
                <a:cubicBezTo>
                  <a:pt x="424815" y="139637"/>
                  <a:pt x="405098" y="249174"/>
                  <a:pt x="320802" y="310134"/>
                </a:cubicBezTo>
                <a:cubicBezTo>
                  <a:pt x="217837" y="384239"/>
                  <a:pt x="75152" y="360331"/>
                  <a:pt x="0" y="295275"/>
                </a:cubicBezTo>
                <a:cubicBezTo>
                  <a:pt x="0" y="295275"/>
                  <a:pt x="283178" y="445008"/>
                  <a:pt x="351473" y="101632"/>
                </a:cubicBezTo>
                <a:lnTo>
                  <a:pt x="334042" y="119444"/>
                </a:lnTo>
                <a:lnTo>
                  <a:pt x="316516" y="136398"/>
                </a:lnTo>
                <a:lnTo>
                  <a:pt x="286226" y="105728"/>
                </a:lnTo>
                <a:lnTo>
                  <a:pt x="314325" y="77153"/>
                </a:lnTo>
                <a:lnTo>
                  <a:pt x="359093" y="31623"/>
                </a:lnTo>
                <a:lnTo>
                  <a:pt x="389382" y="762"/>
                </a:lnTo>
                <a:lnTo>
                  <a:pt x="389382" y="0"/>
                </a:lnTo>
                <a:lnTo>
                  <a:pt x="493395" y="105728"/>
                </a:lnTo>
                <a:lnTo>
                  <a:pt x="463010" y="137351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2" name="Grafik 221">
            <a:extLst>
              <a:ext uri="{FF2B5EF4-FFF2-40B4-BE49-F238E27FC236}">
                <a16:creationId xmlns:a16="http://schemas.microsoft.com/office/drawing/2014/main" id="{EC072975-5E34-284F-B761-8496B0A51410}"/>
              </a:ext>
            </a:extLst>
          </p:cNvPr>
          <p:cNvSpPr/>
          <p:nvPr/>
        </p:nvSpPr>
        <p:spPr>
          <a:xfrm>
            <a:off x="457376" y="4716390"/>
            <a:ext cx="540070" cy="541324"/>
          </a:xfrm>
          <a:custGeom>
            <a:avLst/>
            <a:gdLst>
              <a:gd name="connsiteX0" fmla="*/ 210797 w 347932"/>
              <a:gd name="connsiteY0" fmla="*/ 264609 h 348741"/>
              <a:gd name="connsiteX1" fmla="*/ 155552 w 347932"/>
              <a:gd name="connsiteY1" fmla="*/ 319854 h 348741"/>
              <a:gd name="connsiteX2" fmla="*/ 25348 w 347932"/>
              <a:gd name="connsiteY2" fmla="*/ 323619 h 348741"/>
              <a:gd name="connsiteX3" fmla="*/ 24107 w 347932"/>
              <a:gd name="connsiteY3" fmla="*/ 322425 h 348741"/>
              <a:gd name="connsiteX4" fmla="*/ 29346 w 347932"/>
              <a:gd name="connsiteY4" fmla="*/ 193647 h 348741"/>
              <a:gd name="connsiteX5" fmla="*/ 89830 w 347932"/>
              <a:gd name="connsiteY5" fmla="*/ 133354 h 348741"/>
              <a:gd name="connsiteX6" fmla="*/ 218703 w 347932"/>
              <a:gd name="connsiteY6" fmla="*/ 125448 h 348741"/>
              <a:gd name="connsiteX7" fmla="*/ 221080 w 347932"/>
              <a:gd name="connsiteY7" fmla="*/ 128020 h 348741"/>
              <a:gd name="connsiteX8" fmla="*/ 221275 w 347932"/>
              <a:gd name="connsiteY8" fmla="*/ 128020 h 348741"/>
              <a:gd name="connsiteX9" fmla="*/ 221275 w 347932"/>
              <a:gd name="connsiteY9" fmla="*/ 128020 h 348741"/>
              <a:gd name="connsiteX10" fmla="*/ 222182 w 347932"/>
              <a:gd name="connsiteY10" fmla="*/ 163975 h 348741"/>
              <a:gd name="connsiteX11" fmla="*/ 221275 w 347932"/>
              <a:gd name="connsiteY11" fmla="*/ 164882 h 348741"/>
              <a:gd name="connsiteX12" fmla="*/ 181841 w 347932"/>
              <a:gd name="connsiteY12" fmla="*/ 164882 h 348741"/>
              <a:gd name="connsiteX13" fmla="*/ 181841 w 347932"/>
              <a:gd name="connsiteY13" fmla="*/ 164882 h 348741"/>
              <a:gd name="connsiteX14" fmla="*/ 121357 w 347932"/>
              <a:gd name="connsiteY14" fmla="*/ 167454 h 348741"/>
              <a:gd name="connsiteX15" fmla="*/ 63541 w 347932"/>
              <a:gd name="connsiteY15" fmla="*/ 225175 h 348741"/>
              <a:gd name="connsiteX16" fmla="*/ 63541 w 347932"/>
              <a:gd name="connsiteY16" fmla="*/ 285659 h 348741"/>
              <a:gd name="connsiteX17" fmla="*/ 123312 w 347932"/>
              <a:gd name="connsiteY17" fmla="*/ 283562 h 348741"/>
              <a:gd name="connsiteX18" fmla="*/ 123834 w 347932"/>
              <a:gd name="connsiteY18" fmla="*/ 282992 h 348741"/>
              <a:gd name="connsiteX19" fmla="*/ 144884 w 347932"/>
              <a:gd name="connsiteY19" fmla="*/ 261942 h 348741"/>
              <a:gd name="connsiteX20" fmla="*/ 173459 w 347932"/>
              <a:gd name="connsiteY20" fmla="*/ 267180 h 348741"/>
              <a:gd name="connsiteX21" fmla="*/ 210321 w 347932"/>
              <a:gd name="connsiteY21" fmla="*/ 264609 h 348741"/>
              <a:gd name="connsiteX22" fmla="*/ 323859 w 347932"/>
              <a:gd name="connsiteY22" fmla="*/ 25341 h 348741"/>
              <a:gd name="connsiteX23" fmla="*/ 194986 w 347932"/>
              <a:gd name="connsiteY23" fmla="*/ 27912 h 348741"/>
              <a:gd name="connsiteX24" fmla="*/ 139741 w 347932"/>
              <a:gd name="connsiteY24" fmla="*/ 83157 h 348741"/>
              <a:gd name="connsiteX25" fmla="*/ 173936 w 347932"/>
              <a:gd name="connsiteY25" fmla="*/ 80586 h 348741"/>
              <a:gd name="connsiteX26" fmla="*/ 202511 w 347932"/>
              <a:gd name="connsiteY26" fmla="*/ 85824 h 348741"/>
              <a:gd name="connsiteX27" fmla="*/ 226514 w 347932"/>
              <a:gd name="connsiteY27" fmla="*/ 64774 h 348741"/>
              <a:gd name="connsiteX28" fmla="*/ 286227 w 347932"/>
              <a:gd name="connsiteY28" fmla="*/ 61402 h 348741"/>
              <a:gd name="connsiteX29" fmla="*/ 286997 w 347932"/>
              <a:gd name="connsiteY29" fmla="*/ 62107 h 348741"/>
              <a:gd name="connsiteX30" fmla="*/ 284426 w 347932"/>
              <a:gd name="connsiteY30" fmla="*/ 122591 h 348741"/>
              <a:gd name="connsiteX31" fmla="*/ 226514 w 347932"/>
              <a:gd name="connsiteY31" fmla="*/ 180408 h 348741"/>
              <a:gd name="connsiteX32" fmla="*/ 167085 w 347932"/>
              <a:gd name="connsiteY32" fmla="*/ 184041 h 348741"/>
              <a:gd name="connsiteX33" fmla="*/ 166030 w 347932"/>
              <a:gd name="connsiteY33" fmla="*/ 183075 h 348741"/>
              <a:gd name="connsiteX34" fmla="*/ 166030 w 347932"/>
              <a:gd name="connsiteY34" fmla="*/ 183075 h 348741"/>
              <a:gd name="connsiteX35" fmla="*/ 130073 w 347932"/>
              <a:gd name="connsiteY35" fmla="*/ 182265 h 348741"/>
              <a:gd name="connsiteX36" fmla="*/ 129263 w 347932"/>
              <a:gd name="connsiteY36" fmla="*/ 183075 h 348741"/>
              <a:gd name="connsiteX37" fmla="*/ 126596 w 347932"/>
              <a:gd name="connsiteY37" fmla="*/ 219936 h 348741"/>
              <a:gd name="connsiteX38" fmla="*/ 126596 w 347932"/>
              <a:gd name="connsiteY38" fmla="*/ 219936 h 348741"/>
              <a:gd name="connsiteX39" fmla="*/ 129263 w 347932"/>
              <a:gd name="connsiteY39" fmla="*/ 222508 h 348741"/>
              <a:gd name="connsiteX40" fmla="*/ 129263 w 347932"/>
              <a:gd name="connsiteY40" fmla="*/ 222508 h 348741"/>
              <a:gd name="connsiteX41" fmla="*/ 258137 w 347932"/>
              <a:gd name="connsiteY41" fmla="*/ 217269 h 348741"/>
              <a:gd name="connsiteX42" fmla="*/ 318620 w 347932"/>
              <a:gd name="connsiteY42" fmla="*/ 154119 h 348741"/>
              <a:gd name="connsiteX43" fmla="*/ 323859 w 347932"/>
              <a:gd name="connsiteY43" fmla="*/ 25341 h 3487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347932" h="348741">
                <a:moveTo>
                  <a:pt x="210797" y="264609"/>
                </a:moveTo>
                <a:lnTo>
                  <a:pt x="155552" y="319854"/>
                </a:lnTo>
                <a:cubicBezTo>
                  <a:pt x="120637" y="356848"/>
                  <a:pt x="62343" y="358534"/>
                  <a:pt x="25348" y="323619"/>
                </a:cubicBezTo>
                <a:cubicBezTo>
                  <a:pt x="24931" y="323225"/>
                  <a:pt x="24517" y="322827"/>
                  <a:pt x="24107" y="322425"/>
                </a:cubicBezTo>
                <a:cubicBezTo>
                  <a:pt x="-10088" y="288231"/>
                  <a:pt x="-7516" y="230414"/>
                  <a:pt x="29346" y="193647"/>
                </a:cubicBezTo>
                <a:lnTo>
                  <a:pt x="89830" y="133354"/>
                </a:lnTo>
                <a:cubicBezTo>
                  <a:pt x="126596" y="96492"/>
                  <a:pt x="184508" y="93921"/>
                  <a:pt x="218703" y="125448"/>
                </a:cubicBezTo>
                <a:cubicBezTo>
                  <a:pt x="218649" y="126815"/>
                  <a:pt x="219714" y="127966"/>
                  <a:pt x="221080" y="128020"/>
                </a:cubicBezTo>
                <a:cubicBezTo>
                  <a:pt x="221145" y="128023"/>
                  <a:pt x="221210" y="128023"/>
                  <a:pt x="221275" y="128020"/>
                </a:cubicBezTo>
                <a:lnTo>
                  <a:pt x="221275" y="128020"/>
                </a:lnTo>
                <a:cubicBezTo>
                  <a:pt x="231454" y="137698"/>
                  <a:pt x="231860" y="153796"/>
                  <a:pt x="222182" y="163975"/>
                </a:cubicBezTo>
                <a:cubicBezTo>
                  <a:pt x="221887" y="164285"/>
                  <a:pt x="221585" y="164587"/>
                  <a:pt x="221275" y="164882"/>
                </a:cubicBezTo>
                <a:cubicBezTo>
                  <a:pt x="210236" y="175405"/>
                  <a:pt x="192880" y="175405"/>
                  <a:pt x="181841" y="164882"/>
                </a:cubicBezTo>
                <a:lnTo>
                  <a:pt x="181841" y="164882"/>
                </a:lnTo>
                <a:cubicBezTo>
                  <a:pt x="166030" y="149070"/>
                  <a:pt x="139741" y="151737"/>
                  <a:pt x="121357" y="167454"/>
                </a:cubicBezTo>
                <a:lnTo>
                  <a:pt x="63541" y="225175"/>
                </a:lnTo>
                <a:cubicBezTo>
                  <a:pt x="47725" y="242235"/>
                  <a:pt x="47725" y="268599"/>
                  <a:pt x="63541" y="285659"/>
                </a:cubicBezTo>
                <a:cubicBezTo>
                  <a:pt x="80625" y="301585"/>
                  <a:pt x="107386" y="300646"/>
                  <a:pt x="123312" y="283562"/>
                </a:cubicBezTo>
                <a:cubicBezTo>
                  <a:pt x="123488" y="283373"/>
                  <a:pt x="123662" y="283183"/>
                  <a:pt x="123834" y="282992"/>
                </a:cubicBezTo>
                <a:lnTo>
                  <a:pt x="144884" y="261942"/>
                </a:lnTo>
                <a:cubicBezTo>
                  <a:pt x="153935" y="265678"/>
                  <a:pt x="163672" y="267463"/>
                  <a:pt x="173459" y="267180"/>
                </a:cubicBezTo>
                <a:cubicBezTo>
                  <a:pt x="185800" y="268602"/>
                  <a:pt x="198297" y="267731"/>
                  <a:pt x="210321" y="264609"/>
                </a:cubicBezTo>
                <a:moveTo>
                  <a:pt x="323859" y="25341"/>
                </a:moveTo>
                <a:cubicBezTo>
                  <a:pt x="287518" y="-9426"/>
                  <a:pt x="229911" y="-8276"/>
                  <a:pt x="194986" y="27912"/>
                </a:cubicBezTo>
                <a:lnTo>
                  <a:pt x="139741" y="83157"/>
                </a:lnTo>
                <a:cubicBezTo>
                  <a:pt x="150835" y="79925"/>
                  <a:pt x="162483" y="79049"/>
                  <a:pt x="173936" y="80586"/>
                </a:cubicBezTo>
                <a:cubicBezTo>
                  <a:pt x="183594" y="81506"/>
                  <a:pt x="193154" y="83259"/>
                  <a:pt x="202511" y="85824"/>
                </a:cubicBezTo>
                <a:lnTo>
                  <a:pt x="226514" y="64774"/>
                </a:lnTo>
                <a:cubicBezTo>
                  <a:pt x="242072" y="47354"/>
                  <a:pt x="268806" y="45844"/>
                  <a:pt x="286227" y="61402"/>
                </a:cubicBezTo>
                <a:cubicBezTo>
                  <a:pt x="286487" y="61634"/>
                  <a:pt x="286743" y="61869"/>
                  <a:pt x="286997" y="62107"/>
                </a:cubicBezTo>
                <a:cubicBezTo>
                  <a:pt x="302809" y="77919"/>
                  <a:pt x="300142" y="106875"/>
                  <a:pt x="284426" y="122591"/>
                </a:cubicBezTo>
                <a:lnTo>
                  <a:pt x="226514" y="180408"/>
                </a:lnTo>
                <a:cubicBezTo>
                  <a:pt x="211106" y="197822"/>
                  <a:pt x="184499" y="199448"/>
                  <a:pt x="167085" y="184041"/>
                </a:cubicBezTo>
                <a:cubicBezTo>
                  <a:pt x="166728" y="183725"/>
                  <a:pt x="166376" y="183403"/>
                  <a:pt x="166030" y="183075"/>
                </a:cubicBezTo>
                <a:lnTo>
                  <a:pt x="166030" y="183075"/>
                </a:lnTo>
                <a:cubicBezTo>
                  <a:pt x="156324" y="172922"/>
                  <a:pt x="140226" y="172559"/>
                  <a:pt x="130073" y="182265"/>
                </a:cubicBezTo>
                <a:cubicBezTo>
                  <a:pt x="129797" y="182529"/>
                  <a:pt x="129527" y="182799"/>
                  <a:pt x="129263" y="183075"/>
                </a:cubicBezTo>
                <a:cubicBezTo>
                  <a:pt x="119478" y="193056"/>
                  <a:pt x="118350" y="208651"/>
                  <a:pt x="126596" y="219936"/>
                </a:cubicBezTo>
                <a:lnTo>
                  <a:pt x="126596" y="219936"/>
                </a:lnTo>
                <a:cubicBezTo>
                  <a:pt x="129263" y="219936"/>
                  <a:pt x="129263" y="219936"/>
                  <a:pt x="129263" y="222508"/>
                </a:cubicBezTo>
                <a:lnTo>
                  <a:pt x="129263" y="222508"/>
                </a:lnTo>
                <a:cubicBezTo>
                  <a:pt x="166852" y="255103"/>
                  <a:pt x="223317" y="252808"/>
                  <a:pt x="258137" y="217269"/>
                </a:cubicBezTo>
                <a:lnTo>
                  <a:pt x="318620" y="154119"/>
                </a:lnTo>
                <a:cubicBezTo>
                  <a:pt x="355387" y="117352"/>
                  <a:pt x="358054" y="59535"/>
                  <a:pt x="323859" y="25341"/>
                </a:cubicBezTo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644C51CB-56DC-7A42-9496-AE0DE0D4DD2B}"/>
              </a:ext>
            </a:extLst>
          </p:cNvPr>
          <p:cNvSpPr txBox="1"/>
          <p:nvPr/>
        </p:nvSpPr>
        <p:spPr>
          <a:xfrm>
            <a:off x="1239865" y="3334052"/>
            <a:ext cx="68357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</a:pPr>
            <a:r>
              <a:rPr lang="es-AR" dirty="0">
                <a:solidFill>
                  <a:schemeClr val="bg1"/>
                </a:solidFill>
              </a:rPr>
              <a:t>Ut enim ad minim veniam, quis nostrud exercitation ullamco laboris nisi ut aliquip ex ea commodo consequat. 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90012DFA-F27B-6C47-BA02-E10EE9D86AF7}"/>
              </a:ext>
            </a:extLst>
          </p:cNvPr>
          <p:cNvSpPr txBox="1"/>
          <p:nvPr/>
        </p:nvSpPr>
        <p:spPr>
          <a:xfrm>
            <a:off x="1239865" y="4644041"/>
            <a:ext cx="68357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</a:pPr>
            <a:r>
              <a:rPr lang="es-AR" dirty="0">
                <a:solidFill>
                  <a:schemeClr val="bg1"/>
                </a:solidFill>
              </a:rPr>
              <a:t>Duis aute irure dolor in reprehenderit in voluptate velit esse cillum dolore eu fugiat nulla pariatur. </a:t>
            </a:r>
          </a:p>
        </p:txBody>
      </p:sp>
    </p:spTree>
    <p:extLst>
      <p:ext uri="{BB962C8B-B14F-4D97-AF65-F5344CB8AC3E}">
        <p14:creationId xmlns:p14="http://schemas.microsoft.com/office/powerpoint/2010/main" val="23417901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EB65D31-9EB8-DB44-AA96-4B237F9A78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exto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8CD033E-385D-8E49-8CBC-50B1D6A31C2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r>
              <a:rPr lang="es-AR" b="1" dirty="0"/>
              <a:t>Lorem ipsum dolor sit amet</a:t>
            </a:r>
            <a:r>
              <a:rPr lang="es-AR" dirty="0"/>
              <a:t>, consectetur adipiscing</a:t>
            </a:r>
            <a:br>
              <a:rPr lang="es-AR" dirty="0"/>
            </a:br>
            <a:r>
              <a:rPr lang="es-AR" dirty="0"/>
              <a:t>elit, sed do eiusmod tempor incididunt ut labore</a:t>
            </a:r>
            <a:br>
              <a:rPr lang="es-AR" dirty="0"/>
            </a:br>
            <a:r>
              <a:rPr lang="es-AR" dirty="0"/>
              <a:t>et dolore magna aliqua. Ut enim ad minim veniam,</a:t>
            </a:r>
            <a:br>
              <a:rPr lang="es-AR" dirty="0"/>
            </a:br>
            <a:r>
              <a:rPr lang="es-AR" b="1" dirty="0">
                <a:solidFill>
                  <a:schemeClr val="bg1"/>
                </a:solidFill>
                <a:highlight>
                  <a:srgbClr val="008000"/>
                </a:highlight>
              </a:rPr>
              <a:t>quis nostrud exercitation ullamco laboris</a:t>
            </a:r>
            <a:br>
              <a:rPr lang="es-AR" b="1" dirty="0">
                <a:solidFill>
                  <a:schemeClr val="bg1"/>
                </a:solidFill>
                <a:highlight>
                  <a:srgbClr val="008000"/>
                </a:highlight>
              </a:rPr>
            </a:br>
            <a:r>
              <a:rPr lang="es-AR" dirty="0"/>
              <a:t>nisi ut aliquip ex ea commodo consequat. </a:t>
            </a:r>
          </a:p>
          <a:p>
            <a:pPr algn="ctr"/>
            <a:endParaRPr lang="es-AR" dirty="0"/>
          </a:p>
          <a:p>
            <a:pPr algn="ctr"/>
            <a:r>
              <a:rPr lang="es-AR" dirty="0"/>
              <a:t>Duis aute irure </a:t>
            </a:r>
            <a:r>
              <a:rPr lang="es-AR" b="1" dirty="0">
                <a:solidFill>
                  <a:schemeClr val="accent1"/>
                </a:solidFill>
              </a:rPr>
              <a:t>dolor in reprehenderit in voluptate</a:t>
            </a:r>
            <a:br>
              <a:rPr lang="es-AR" b="1" dirty="0">
                <a:solidFill>
                  <a:schemeClr val="accent1"/>
                </a:solidFill>
              </a:rPr>
            </a:br>
            <a:r>
              <a:rPr lang="es-AR" dirty="0"/>
              <a:t>velit esse cillum dolore eu fugiat nulla pariatur.</a:t>
            </a:r>
            <a:br>
              <a:rPr lang="es-AR" dirty="0"/>
            </a:br>
            <a:r>
              <a:rPr lang="es-AR" dirty="0"/>
              <a:t>Excepteur sint occaecat cupidatat non proident,</a:t>
            </a:r>
            <a:br>
              <a:rPr lang="es-AR" dirty="0"/>
            </a:br>
            <a:r>
              <a:rPr lang="es-AR" dirty="0"/>
              <a:t>sunt in culpa qui </a:t>
            </a:r>
            <a:r>
              <a:rPr lang="es-AR" b="1" dirty="0"/>
              <a:t>officia deserunt mollit anim</a:t>
            </a:r>
            <a:r>
              <a:rPr lang="es-AR" dirty="0"/>
              <a:t> laborum.</a:t>
            </a:r>
          </a:p>
          <a:p>
            <a:endParaRPr lang="es-ES_tradnl" dirty="0"/>
          </a:p>
        </p:txBody>
      </p:sp>
      <p:pic>
        <p:nvPicPr>
          <p:cNvPr id="6" name="Marcador de posición de imagen 5">
            <a:extLst>
              <a:ext uri="{FF2B5EF4-FFF2-40B4-BE49-F238E27FC236}">
                <a16:creationId xmlns:a16="http://schemas.microsoft.com/office/drawing/2014/main" id="{0BAB7B7A-B61C-5E42-A54A-5F14EC2803E5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6329" y="391019"/>
            <a:ext cx="3657600" cy="6241555"/>
          </a:xfrm>
        </p:spPr>
      </p:pic>
    </p:spTree>
    <p:extLst>
      <p:ext uri="{BB962C8B-B14F-4D97-AF65-F5344CB8AC3E}">
        <p14:creationId xmlns:p14="http://schemas.microsoft.com/office/powerpoint/2010/main" val="312774236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67A2D0E-5522-A343-BF82-AC768C40EB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exto + icono</a:t>
            </a:r>
          </a:p>
        </p:txBody>
      </p:sp>
      <p:pic>
        <p:nvPicPr>
          <p:cNvPr id="5" name="Marcador de posición de imagen 4">
            <a:extLst>
              <a:ext uri="{FF2B5EF4-FFF2-40B4-BE49-F238E27FC236}">
                <a16:creationId xmlns:a16="http://schemas.microsoft.com/office/drawing/2014/main" id="{BA6D3526-8811-3F4C-B9C0-1F79AB46A592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6329" y="391019"/>
            <a:ext cx="3657600" cy="6241555"/>
          </a:xfrm>
        </p:spPr>
      </p:pic>
      <p:sp>
        <p:nvSpPr>
          <p:cNvPr id="6" name="TextBox 19">
            <a:extLst>
              <a:ext uri="{FF2B5EF4-FFF2-40B4-BE49-F238E27FC236}">
                <a16:creationId xmlns:a16="http://schemas.microsoft.com/office/drawing/2014/main" id="{9DF7A36B-5167-4947-9A58-6294098E49CA}"/>
              </a:ext>
            </a:extLst>
          </p:cNvPr>
          <p:cNvSpPr txBox="1"/>
          <p:nvPr/>
        </p:nvSpPr>
        <p:spPr>
          <a:xfrm>
            <a:off x="4113704" y="2667253"/>
            <a:ext cx="2548450" cy="2462213"/>
          </a:xfrm>
          <a:prstGeom prst="rect">
            <a:avLst/>
          </a:prstGeom>
          <a:noFill/>
          <a:ln w="12700" cmpd="sng">
            <a:noFill/>
            <a:prstDash val="lgDash"/>
          </a:ln>
        </p:spPr>
        <p:txBody>
          <a:bodyPr wrap="square" lIns="180000" rIns="180000" rtlCol="0" anchor="t">
            <a:spAutoFit/>
          </a:bodyPr>
          <a:lstStyle/>
          <a:p>
            <a:pPr algn="ctr">
              <a:spcBef>
                <a:spcPts val="600"/>
              </a:spcBef>
              <a:buClr>
                <a:srgbClr val="9BD4EB"/>
              </a:buClr>
              <a:defRPr/>
            </a:pPr>
            <a:r>
              <a:rPr lang="es-AR" sz="1600" b="1" noProof="1">
                <a:solidFill>
                  <a:schemeClr val="tx2"/>
                </a:solidFill>
                <a:ea typeface="ＭＳ Ｐゴシック"/>
                <a:cs typeface="Arial"/>
              </a:rPr>
              <a:t>SEQUI COMNIS VOLORIA</a:t>
            </a:r>
          </a:p>
          <a:p>
            <a:pPr algn="ctr">
              <a:spcBef>
                <a:spcPts val="600"/>
              </a:spcBef>
              <a:buClr>
                <a:srgbClr val="9BD4EB"/>
              </a:buClr>
              <a:defRPr/>
            </a:pPr>
            <a:r>
              <a:rPr lang="es-AR" sz="1400" noProof="1">
                <a:ea typeface="ＭＳ Ｐゴシック"/>
                <a:cs typeface="Arial"/>
              </a:rPr>
              <a:t>Nobita liastresa si nam nonsedi piendem vida molo iendas ipsant. Ameras tusas lemore.</a:t>
            </a:r>
          </a:p>
          <a:p>
            <a:pPr algn="ctr">
              <a:spcBef>
                <a:spcPts val="600"/>
              </a:spcBef>
              <a:buClr>
                <a:srgbClr val="9BD4EB"/>
              </a:buClr>
              <a:defRPr/>
            </a:pPr>
            <a:r>
              <a:rPr lang="es-AR" sz="1400" dirty="0">
                <a:ea typeface="ＭＳ Ｐゴシック"/>
                <a:cs typeface="Arial"/>
              </a:rPr>
              <a:t>Duis aute irure dolor in reprehenderit in voluptate velit esse cillum dolore eu fugiat nulla pariatur. </a:t>
            </a:r>
            <a:endParaRPr lang="es-AR" sz="1400" noProof="1">
              <a:ea typeface="ＭＳ Ｐゴシック"/>
              <a:cs typeface="Arial"/>
            </a:endParaRPr>
          </a:p>
        </p:txBody>
      </p:sp>
      <p:sp>
        <p:nvSpPr>
          <p:cNvPr id="7" name="TextBox 19">
            <a:extLst>
              <a:ext uri="{FF2B5EF4-FFF2-40B4-BE49-F238E27FC236}">
                <a16:creationId xmlns:a16="http://schemas.microsoft.com/office/drawing/2014/main" id="{5E389529-4A51-0443-80B3-4A01A4201006}"/>
              </a:ext>
            </a:extLst>
          </p:cNvPr>
          <p:cNvSpPr txBox="1"/>
          <p:nvPr/>
        </p:nvSpPr>
        <p:spPr>
          <a:xfrm>
            <a:off x="6807821" y="2667253"/>
            <a:ext cx="2548450" cy="2462213"/>
          </a:xfrm>
          <a:prstGeom prst="rect">
            <a:avLst/>
          </a:prstGeom>
          <a:noFill/>
          <a:ln w="12700" cmpd="sng">
            <a:noFill/>
            <a:prstDash val="lgDash"/>
          </a:ln>
        </p:spPr>
        <p:txBody>
          <a:bodyPr wrap="square" lIns="180000" rIns="180000" rtlCol="0" anchor="t">
            <a:spAutoFit/>
          </a:bodyPr>
          <a:lstStyle/>
          <a:p>
            <a:pPr algn="ctr">
              <a:spcBef>
                <a:spcPts val="600"/>
              </a:spcBef>
              <a:buClr>
                <a:srgbClr val="9BD4EB"/>
              </a:buClr>
              <a:defRPr/>
            </a:pPr>
            <a:r>
              <a:rPr lang="es-AR" sz="1600" b="1" noProof="1">
                <a:solidFill>
                  <a:schemeClr val="tx2"/>
                </a:solidFill>
                <a:ea typeface="ＭＳ Ｐゴシック"/>
                <a:cs typeface="Arial"/>
              </a:rPr>
              <a:t>DOLUPTATI QUE NITAE</a:t>
            </a:r>
          </a:p>
          <a:p>
            <a:pPr algn="ctr">
              <a:spcBef>
                <a:spcPts val="600"/>
              </a:spcBef>
              <a:buClr>
                <a:srgbClr val="9BD4EB"/>
              </a:buClr>
              <a:defRPr/>
            </a:pPr>
            <a:r>
              <a:rPr lang="es-AR" sz="1400" noProof="1">
                <a:ea typeface="ＭＳ Ｐゴシック"/>
                <a:cs typeface="Arial"/>
              </a:rPr>
              <a:t>Cum quasa tusa mus sam volectatem eostes pos lorestis as et eum eniaessim et ilne.</a:t>
            </a:r>
          </a:p>
          <a:p>
            <a:pPr algn="ctr">
              <a:spcBef>
                <a:spcPts val="600"/>
              </a:spcBef>
              <a:buClr>
                <a:srgbClr val="9BD4EB"/>
              </a:buClr>
              <a:defRPr/>
            </a:pPr>
            <a:r>
              <a:rPr lang="es-AR" sz="1400" dirty="0">
                <a:ea typeface="ＭＳ Ｐゴシック"/>
                <a:cs typeface="Arial"/>
              </a:rPr>
              <a:t>Excepteur sint occaecat cupidatat non proident, sunt in culpa qui officia deserunt mollit anim id est laborum</a:t>
            </a:r>
            <a:endParaRPr lang="es-AR" sz="1400" noProof="1">
              <a:ea typeface="ＭＳ Ｐゴシック"/>
              <a:cs typeface="Arial"/>
            </a:endParaRPr>
          </a:p>
        </p:txBody>
      </p:sp>
      <p:sp>
        <p:nvSpPr>
          <p:cNvPr id="8" name="TextBox 19">
            <a:extLst>
              <a:ext uri="{FF2B5EF4-FFF2-40B4-BE49-F238E27FC236}">
                <a16:creationId xmlns:a16="http://schemas.microsoft.com/office/drawing/2014/main" id="{98D89088-68C4-C74D-B010-6583CF7F577A}"/>
              </a:ext>
            </a:extLst>
          </p:cNvPr>
          <p:cNvSpPr txBox="1"/>
          <p:nvPr/>
        </p:nvSpPr>
        <p:spPr>
          <a:xfrm>
            <a:off x="9515619" y="2667253"/>
            <a:ext cx="2548450" cy="2246769"/>
          </a:xfrm>
          <a:prstGeom prst="rect">
            <a:avLst/>
          </a:prstGeom>
          <a:noFill/>
          <a:ln w="12700" cmpd="sng">
            <a:noFill/>
            <a:prstDash val="lgDash"/>
          </a:ln>
        </p:spPr>
        <p:txBody>
          <a:bodyPr wrap="square" lIns="180000" rIns="180000" rtlCol="0" anchor="t">
            <a:spAutoFit/>
          </a:bodyPr>
          <a:lstStyle/>
          <a:p>
            <a:pPr algn="ctr" fontAlgn="base">
              <a:spcBef>
                <a:spcPts val="600"/>
              </a:spcBef>
              <a:tabLst>
                <a:tab pos="88900" algn="l"/>
              </a:tabLst>
            </a:pPr>
            <a:r>
              <a:rPr lang="en-US" sz="1600" b="1" noProof="1">
                <a:solidFill>
                  <a:schemeClr val="tx2"/>
                </a:solidFill>
                <a:ea typeface="ＭＳ Ｐゴシック"/>
                <a:cs typeface="Arial"/>
              </a:rPr>
              <a:t>VULNA PAUSTA</a:t>
            </a:r>
            <a:br>
              <a:rPr lang="en-US" sz="1600" b="1" noProof="1">
                <a:solidFill>
                  <a:schemeClr val="tx2"/>
                </a:solidFill>
                <a:ea typeface="ＭＳ Ｐゴシック"/>
                <a:cs typeface="Arial"/>
              </a:rPr>
            </a:br>
            <a:r>
              <a:rPr lang="en-US" sz="1600" b="1" noProof="1">
                <a:solidFill>
                  <a:schemeClr val="tx2"/>
                </a:solidFill>
                <a:ea typeface="ＭＳ Ｐゴシック"/>
                <a:cs typeface="Arial"/>
              </a:rPr>
              <a:t>RHUS</a:t>
            </a:r>
          </a:p>
          <a:p>
            <a:pPr algn="ctr" fontAlgn="base">
              <a:spcBef>
                <a:spcPts val="600"/>
              </a:spcBef>
              <a:tabLst>
                <a:tab pos="88900" algn="l"/>
              </a:tabLst>
            </a:pPr>
            <a:r>
              <a:rPr lang="en-US" sz="1400" noProof="1">
                <a:ea typeface="ＭＳ Ｐゴシック"/>
                <a:cs typeface="Arial"/>
              </a:rPr>
              <a:t>Lorem et exit vulnareus plexus est. Vulna pausta rhus. </a:t>
            </a:r>
          </a:p>
          <a:p>
            <a:pPr algn="ctr" fontAlgn="base">
              <a:spcBef>
                <a:spcPts val="600"/>
              </a:spcBef>
              <a:tabLst>
                <a:tab pos="88900" algn="l"/>
              </a:tabLst>
            </a:pPr>
            <a:r>
              <a:rPr lang="es-AR" sz="1400" noProof="1">
                <a:ea typeface="ＭＳ Ｐゴシック"/>
                <a:cs typeface="Arial"/>
              </a:rPr>
              <a:t>Nobita liastresa si nam nonsedi piendem vida molo iendas ipsant. Ameras tusas lemore.</a:t>
            </a:r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3D3E4081-34ED-B745-A551-1CB8B015238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120237" y="1716044"/>
            <a:ext cx="484095" cy="708432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647417DC-D12F-C745-9B9D-BAD58810A1A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451314" y="1716044"/>
            <a:ext cx="708431" cy="637588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A4B185AE-388F-9646-9DAA-4F80DF64863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668795" y="1727852"/>
            <a:ext cx="826502" cy="684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54855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459B7E1-D9B8-3D49-92C0-27DAC2B04C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itulo de presentaci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5B37A497-A034-B047-8581-9B5B64BAA6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s-ES_tradnl" dirty="0"/>
              <a:t>Responsable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B6A5BB85-C046-E44F-B0C1-5E831945E5C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ES_tradnl" dirty="0"/>
              <a:t>Cargo</a:t>
            </a:r>
          </a:p>
        </p:txBody>
      </p:sp>
    </p:spTree>
    <p:extLst>
      <p:ext uri="{BB962C8B-B14F-4D97-AF65-F5344CB8AC3E}">
        <p14:creationId xmlns:p14="http://schemas.microsoft.com/office/powerpoint/2010/main" val="245848540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C67EEFA-160C-9449-9C57-450A213A5C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ítulo separador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9F22CA5-A749-B341-B98D-12AD00616C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_tradnl" dirty="0"/>
              <a:t>Subtítulo separador</a:t>
            </a:r>
          </a:p>
        </p:txBody>
      </p:sp>
      <p:pic>
        <p:nvPicPr>
          <p:cNvPr id="6" name="Marcador de posición de imagen 5">
            <a:extLst>
              <a:ext uri="{FF2B5EF4-FFF2-40B4-BE49-F238E27FC236}">
                <a16:creationId xmlns:a16="http://schemas.microsoft.com/office/drawing/2014/main" id="{1F7F27E2-1C37-0442-A0B1-DCA9A2C3EC78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6329" y="391019"/>
            <a:ext cx="3657600" cy="6241555"/>
          </a:xfrm>
        </p:spPr>
      </p:pic>
    </p:spTree>
    <p:extLst>
      <p:ext uri="{BB962C8B-B14F-4D97-AF65-F5344CB8AC3E}">
        <p14:creationId xmlns:p14="http://schemas.microsoft.com/office/powerpoint/2010/main" val="212239626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1CEB0B7-F7AD-5A49-996F-8B2E1DBC38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ítulo separador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25F7E13-B5A4-1345-A63D-C84E35AA348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_tradnl" dirty="0"/>
              <a:t>Subtítulo separador</a:t>
            </a:r>
          </a:p>
        </p:txBody>
      </p:sp>
    </p:spTree>
    <p:extLst>
      <p:ext uri="{BB962C8B-B14F-4D97-AF65-F5344CB8AC3E}">
        <p14:creationId xmlns:p14="http://schemas.microsoft.com/office/powerpoint/2010/main" val="108437593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0267E37-7919-9144-B474-96C1665B63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ítulo separador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4108CCA-A981-D543-A0FD-8F8CFDD30E6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_tradnl" dirty="0"/>
              <a:t>Subtítulo separador</a:t>
            </a:r>
          </a:p>
        </p:txBody>
      </p:sp>
    </p:spTree>
    <p:extLst>
      <p:ext uri="{BB962C8B-B14F-4D97-AF65-F5344CB8AC3E}">
        <p14:creationId xmlns:p14="http://schemas.microsoft.com/office/powerpoint/2010/main" val="85599575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Grafik 3">
            <a:extLst>
              <a:ext uri="{FF2B5EF4-FFF2-40B4-BE49-F238E27FC236}">
                <a16:creationId xmlns:a16="http://schemas.microsoft.com/office/drawing/2014/main" id="{46D6B643-708B-4013-8B12-2791B947FCCC}"/>
              </a:ext>
            </a:extLst>
          </p:cNvPr>
          <p:cNvSpPr/>
          <p:nvPr/>
        </p:nvSpPr>
        <p:spPr>
          <a:xfrm>
            <a:off x="1028735" y="1315464"/>
            <a:ext cx="397576" cy="431406"/>
          </a:xfrm>
          <a:custGeom>
            <a:avLst/>
            <a:gdLst>
              <a:gd name="connsiteX0" fmla="*/ 144971 w 338804"/>
              <a:gd name="connsiteY0" fmla="*/ 122968 h 367633"/>
              <a:gd name="connsiteX1" fmla="*/ 144971 w 338804"/>
              <a:gd name="connsiteY1" fmla="*/ 283274 h 367633"/>
              <a:gd name="connsiteX2" fmla="*/ 236220 w 338804"/>
              <a:gd name="connsiteY2" fmla="*/ 319183 h 367633"/>
              <a:gd name="connsiteX3" fmla="*/ 316135 w 338804"/>
              <a:gd name="connsiteY3" fmla="*/ 367379 h 367633"/>
              <a:gd name="connsiteX4" fmla="*/ 7811 w 338804"/>
              <a:gd name="connsiteY4" fmla="*/ 363760 h 367633"/>
              <a:gd name="connsiteX5" fmla="*/ 85725 w 338804"/>
              <a:gd name="connsiteY5" fmla="*/ 317754 h 367633"/>
              <a:gd name="connsiteX6" fmla="*/ 133350 w 338804"/>
              <a:gd name="connsiteY6" fmla="*/ 283940 h 367633"/>
              <a:gd name="connsiteX7" fmla="*/ 133350 w 338804"/>
              <a:gd name="connsiteY7" fmla="*/ 129445 h 367633"/>
              <a:gd name="connsiteX8" fmla="*/ 127730 w 338804"/>
              <a:gd name="connsiteY8" fmla="*/ 121539 h 367633"/>
              <a:gd name="connsiteX9" fmla="*/ 125540 w 338804"/>
              <a:gd name="connsiteY9" fmla="*/ 124397 h 367633"/>
              <a:gd name="connsiteX10" fmla="*/ 0 w 338804"/>
              <a:gd name="connsiteY10" fmla="*/ 44577 h 367633"/>
              <a:gd name="connsiteX11" fmla="*/ 131540 w 338804"/>
              <a:gd name="connsiteY11" fmla="*/ 110014 h 367633"/>
              <a:gd name="connsiteX12" fmla="*/ 41720 w 338804"/>
              <a:gd name="connsiteY12" fmla="*/ 74771 h 367633"/>
              <a:gd name="connsiteX13" fmla="*/ 130112 w 338804"/>
              <a:gd name="connsiteY13" fmla="*/ 116491 h 367633"/>
              <a:gd name="connsiteX14" fmla="*/ 135065 w 338804"/>
              <a:gd name="connsiteY14" fmla="*/ 122968 h 367633"/>
              <a:gd name="connsiteX15" fmla="*/ 135827 w 338804"/>
              <a:gd name="connsiteY15" fmla="*/ 122968 h 367633"/>
              <a:gd name="connsiteX16" fmla="*/ 147828 w 338804"/>
              <a:gd name="connsiteY16" fmla="*/ 106394 h 367633"/>
              <a:gd name="connsiteX17" fmla="*/ 277273 w 338804"/>
              <a:gd name="connsiteY17" fmla="*/ 44577 h 367633"/>
              <a:gd name="connsiteX18" fmla="*/ 145733 w 338804"/>
              <a:gd name="connsiteY18" fmla="*/ 97060 h 367633"/>
              <a:gd name="connsiteX19" fmla="*/ 338804 w 338804"/>
              <a:gd name="connsiteY19" fmla="*/ 0 h 367633"/>
              <a:gd name="connsiteX20" fmla="*/ 154877 w 338804"/>
              <a:gd name="connsiteY20" fmla="*/ 117920 h 367633"/>
              <a:gd name="connsiteX21" fmla="*/ 152114 w 338804"/>
              <a:gd name="connsiteY21" fmla="*/ 113633 h 367633"/>
              <a:gd name="connsiteX22" fmla="*/ 144304 w 338804"/>
              <a:gd name="connsiteY22" fmla="*/ 123158 h 367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38804" h="367633">
                <a:moveTo>
                  <a:pt x="144971" y="122968"/>
                </a:moveTo>
                <a:lnTo>
                  <a:pt x="144971" y="283274"/>
                </a:lnTo>
                <a:cubicBezTo>
                  <a:pt x="178038" y="286921"/>
                  <a:pt x="209535" y="299316"/>
                  <a:pt x="236220" y="319183"/>
                </a:cubicBezTo>
                <a:cubicBezTo>
                  <a:pt x="260375" y="339045"/>
                  <a:pt x="287296" y="355282"/>
                  <a:pt x="316135" y="367379"/>
                </a:cubicBezTo>
                <a:cubicBezTo>
                  <a:pt x="321088" y="368808"/>
                  <a:pt x="7811" y="363760"/>
                  <a:pt x="7811" y="363760"/>
                </a:cubicBezTo>
                <a:lnTo>
                  <a:pt x="85725" y="317754"/>
                </a:lnTo>
                <a:cubicBezTo>
                  <a:pt x="96298" y="310610"/>
                  <a:pt x="116777" y="289179"/>
                  <a:pt x="133350" y="283940"/>
                </a:cubicBezTo>
                <a:lnTo>
                  <a:pt x="133350" y="129445"/>
                </a:lnTo>
                <a:cubicBezTo>
                  <a:pt x="131683" y="126669"/>
                  <a:pt x="129804" y="124026"/>
                  <a:pt x="127730" y="121539"/>
                </a:cubicBezTo>
                <a:cubicBezTo>
                  <a:pt x="126825" y="122344"/>
                  <a:pt x="126081" y="123313"/>
                  <a:pt x="125540" y="124397"/>
                </a:cubicBezTo>
                <a:cubicBezTo>
                  <a:pt x="95250" y="154591"/>
                  <a:pt x="24003" y="138017"/>
                  <a:pt x="0" y="44577"/>
                </a:cubicBezTo>
                <a:cubicBezTo>
                  <a:pt x="21241" y="61817"/>
                  <a:pt x="137922" y="14383"/>
                  <a:pt x="131540" y="110014"/>
                </a:cubicBezTo>
                <a:cubicBezTo>
                  <a:pt x="125921" y="104203"/>
                  <a:pt x="91916" y="69056"/>
                  <a:pt x="41720" y="74771"/>
                </a:cubicBezTo>
                <a:cubicBezTo>
                  <a:pt x="43148" y="76962"/>
                  <a:pt x="94774" y="75533"/>
                  <a:pt x="130112" y="116491"/>
                </a:cubicBezTo>
                <a:cubicBezTo>
                  <a:pt x="132302" y="119348"/>
                  <a:pt x="133636" y="121539"/>
                  <a:pt x="135065" y="122968"/>
                </a:cubicBezTo>
                <a:lnTo>
                  <a:pt x="135827" y="122968"/>
                </a:lnTo>
                <a:cubicBezTo>
                  <a:pt x="139340" y="117107"/>
                  <a:pt x="143356" y="111561"/>
                  <a:pt x="147828" y="106394"/>
                </a:cubicBezTo>
                <a:cubicBezTo>
                  <a:pt x="199454" y="46006"/>
                  <a:pt x="275177" y="48197"/>
                  <a:pt x="277273" y="44577"/>
                </a:cubicBezTo>
                <a:cubicBezTo>
                  <a:pt x="204406" y="36671"/>
                  <a:pt x="153448" y="88392"/>
                  <a:pt x="145733" y="97060"/>
                </a:cubicBezTo>
                <a:cubicBezTo>
                  <a:pt x="135827" y="-43815"/>
                  <a:pt x="307658" y="25908"/>
                  <a:pt x="338804" y="0"/>
                </a:cubicBezTo>
                <a:cubicBezTo>
                  <a:pt x="304133" y="138017"/>
                  <a:pt x="199454" y="162497"/>
                  <a:pt x="154877" y="117920"/>
                </a:cubicBezTo>
                <a:cubicBezTo>
                  <a:pt x="154210" y="115729"/>
                  <a:pt x="152781" y="115062"/>
                  <a:pt x="152114" y="113633"/>
                </a:cubicBezTo>
                <a:cubicBezTo>
                  <a:pt x="149257" y="116491"/>
                  <a:pt x="147161" y="120015"/>
                  <a:pt x="144304" y="123158"/>
                </a:cubicBez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67" name="Grafik 13">
            <a:extLst>
              <a:ext uri="{FF2B5EF4-FFF2-40B4-BE49-F238E27FC236}">
                <a16:creationId xmlns:a16="http://schemas.microsoft.com/office/drawing/2014/main" id="{4BCAD261-719C-417B-94F6-09A8B6F7AA2D}"/>
              </a:ext>
            </a:extLst>
          </p:cNvPr>
          <p:cNvGrpSpPr/>
          <p:nvPr/>
        </p:nvGrpSpPr>
        <p:grpSpPr>
          <a:xfrm>
            <a:off x="1642675" y="1251734"/>
            <a:ext cx="512926" cy="558865"/>
            <a:chOff x="4352925" y="3190875"/>
            <a:chExt cx="437102" cy="476250"/>
          </a:xfrm>
          <a:solidFill>
            <a:srgbClr val="808080"/>
          </a:solidFill>
        </p:grpSpPr>
        <p:sp>
          <p:nvSpPr>
            <p:cNvPr id="75" name="Freihandform: Form 28">
              <a:extLst>
                <a:ext uri="{FF2B5EF4-FFF2-40B4-BE49-F238E27FC236}">
                  <a16:creationId xmlns:a16="http://schemas.microsoft.com/office/drawing/2014/main" id="{52857DAE-6270-4DFE-A4D1-BE8C7DC6875D}"/>
                </a:ext>
              </a:extLst>
            </p:cNvPr>
            <p:cNvSpPr/>
            <p:nvPr/>
          </p:nvSpPr>
          <p:spPr>
            <a:xfrm>
              <a:off x="4516469" y="3237196"/>
              <a:ext cx="65531" cy="33107"/>
            </a:xfrm>
            <a:custGeom>
              <a:avLst/>
              <a:gdLst>
                <a:gd name="connsiteX0" fmla="*/ 65532 w 65531"/>
                <a:gd name="connsiteY0" fmla="*/ 4161 h 33107"/>
                <a:gd name="connsiteX1" fmla="*/ 0 w 65531"/>
                <a:gd name="connsiteY1" fmla="*/ 27117 h 33107"/>
                <a:gd name="connsiteX2" fmla="*/ 65532 w 65531"/>
                <a:gd name="connsiteY2" fmla="*/ 4161 h 33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531" h="33107">
                  <a:moveTo>
                    <a:pt x="65532" y="4161"/>
                  </a:moveTo>
                  <a:cubicBezTo>
                    <a:pt x="17907" y="-12698"/>
                    <a:pt x="0" y="27117"/>
                    <a:pt x="0" y="27117"/>
                  </a:cubicBezTo>
                  <a:cubicBezTo>
                    <a:pt x="62579" y="48929"/>
                    <a:pt x="65532" y="4161"/>
                    <a:pt x="65532" y="41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" name="Freihandform: Form 29">
              <a:extLst>
                <a:ext uri="{FF2B5EF4-FFF2-40B4-BE49-F238E27FC236}">
                  <a16:creationId xmlns:a16="http://schemas.microsoft.com/office/drawing/2014/main" id="{F7290453-F26B-4F7C-B4DA-DBB9A0189DD6}"/>
                </a:ext>
              </a:extLst>
            </p:cNvPr>
            <p:cNvSpPr/>
            <p:nvPr/>
          </p:nvSpPr>
          <p:spPr>
            <a:xfrm>
              <a:off x="4467225" y="3254722"/>
              <a:ext cx="42957" cy="21121"/>
            </a:xfrm>
            <a:custGeom>
              <a:avLst/>
              <a:gdLst>
                <a:gd name="connsiteX0" fmla="*/ 0 w 42957"/>
                <a:gd name="connsiteY0" fmla="*/ 12352 h 21121"/>
                <a:gd name="connsiteX1" fmla="*/ 42958 w 42957"/>
                <a:gd name="connsiteY1" fmla="*/ 5494 h 21121"/>
                <a:gd name="connsiteX2" fmla="*/ 0 w 42957"/>
                <a:gd name="connsiteY2" fmla="*/ 12352 h 21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957" h="21121">
                  <a:moveTo>
                    <a:pt x="0" y="12352"/>
                  </a:moveTo>
                  <a:cubicBezTo>
                    <a:pt x="0" y="12352"/>
                    <a:pt x="15049" y="36069"/>
                    <a:pt x="42958" y="5494"/>
                  </a:cubicBezTo>
                  <a:cubicBezTo>
                    <a:pt x="29079" y="-3946"/>
                    <a:pt x="10249" y="-940"/>
                    <a:pt x="0" y="1235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" name="Freihandform: Form 30">
              <a:extLst>
                <a:ext uri="{FF2B5EF4-FFF2-40B4-BE49-F238E27FC236}">
                  <a16:creationId xmlns:a16="http://schemas.microsoft.com/office/drawing/2014/main" id="{9BF210E7-AF07-430E-AC8F-28EF34799BBF}"/>
                </a:ext>
              </a:extLst>
            </p:cNvPr>
            <p:cNvSpPr/>
            <p:nvPr/>
          </p:nvSpPr>
          <p:spPr>
            <a:xfrm>
              <a:off x="4572009" y="3307175"/>
              <a:ext cx="218018" cy="359949"/>
            </a:xfrm>
            <a:custGeom>
              <a:avLst/>
              <a:gdLst>
                <a:gd name="connsiteX0" fmla="*/ 162964 w 218018"/>
                <a:gd name="connsiteY0" fmla="*/ 106489 h 359949"/>
                <a:gd name="connsiteX1" fmla="*/ 170488 w 218018"/>
                <a:gd name="connsiteY1" fmla="*/ 101156 h 359949"/>
                <a:gd name="connsiteX2" fmla="*/ 208588 w 218018"/>
                <a:gd name="connsiteY2" fmla="*/ 36766 h 359949"/>
                <a:gd name="connsiteX3" fmla="*/ 137722 w 218018"/>
                <a:gd name="connsiteY3" fmla="*/ 68961 h 359949"/>
                <a:gd name="connsiteX4" fmla="*/ 136960 w 218018"/>
                <a:gd name="connsiteY4" fmla="*/ 63627 h 359949"/>
                <a:gd name="connsiteX5" fmla="*/ 97813 w 218018"/>
                <a:gd name="connsiteY5" fmla="*/ 0 h 359949"/>
                <a:gd name="connsiteX6" fmla="*/ 97051 w 218018"/>
                <a:gd name="connsiteY6" fmla="*/ 87344 h 359949"/>
                <a:gd name="connsiteX7" fmla="*/ 82001 w 218018"/>
                <a:gd name="connsiteY7" fmla="*/ 85820 h 359949"/>
                <a:gd name="connsiteX8" fmla="*/ 11135 w 218018"/>
                <a:gd name="connsiteY8" fmla="*/ 108775 h 359949"/>
                <a:gd name="connsiteX9" fmla="*/ 86859 w 218018"/>
                <a:gd name="connsiteY9" fmla="*/ 131350 h 359949"/>
                <a:gd name="connsiteX10" fmla="*/ 181 w 218018"/>
                <a:gd name="connsiteY10" fmla="*/ 359950 h 359949"/>
                <a:gd name="connsiteX11" fmla="*/ 19231 w 218018"/>
                <a:gd name="connsiteY11" fmla="*/ 359950 h 359949"/>
                <a:gd name="connsiteX12" fmla="*/ 91431 w 218018"/>
                <a:gd name="connsiteY12" fmla="*/ 157067 h 359949"/>
                <a:gd name="connsiteX13" fmla="*/ 103432 w 218018"/>
                <a:gd name="connsiteY13" fmla="*/ 226695 h 359949"/>
                <a:gd name="connsiteX14" fmla="*/ 137341 w 218018"/>
                <a:gd name="connsiteY14" fmla="*/ 144780 h 359949"/>
                <a:gd name="connsiteX15" fmla="*/ 144104 w 218018"/>
                <a:gd name="connsiteY15" fmla="*/ 148590 h 359949"/>
                <a:gd name="connsiteX16" fmla="*/ 218018 w 218018"/>
                <a:gd name="connsiteY16" fmla="*/ 152400 h 359949"/>
                <a:gd name="connsiteX17" fmla="*/ 162964 w 218018"/>
                <a:gd name="connsiteY17" fmla="*/ 106489 h 359949"/>
                <a:gd name="connsiteX18" fmla="*/ 122292 w 218018"/>
                <a:gd name="connsiteY18" fmla="*/ 137160 h 359949"/>
                <a:gd name="connsiteX19" fmla="*/ 94384 w 218018"/>
                <a:gd name="connsiteY19" fmla="*/ 108585 h 359949"/>
                <a:gd name="connsiteX20" fmla="*/ 120840 w 218018"/>
                <a:gd name="connsiteY20" fmla="*/ 80027 h 359949"/>
                <a:gd name="connsiteX21" fmla="*/ 122292 w 218018"/>
                <a:gd name="connsiteY21" fmla="*/ 80010 h 359949"/>
                <a:gd name="connsiteX22" fmla="*/ 150206 w 218018"/>
                <a:gd name="connsiteY22" fmla="*/ 108103 h 359949"/>
                <a:gd name="connsiteX23" fmla="*/ 150200 w 218018"/>
                <a:gd name="connsiteY23" fmla="*/ 108585 h 359949"/>
                <a:gd name="connsiteX24" fmla="*/ 122292 w 218018"/>
                <a:gd name="connsiteY24" fmla="*/ 137160 h 359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18018" h="359949">
                  <a:moveTo>
                    <a:pt x="162964" y="106489"/>
                  </a:moveTo>
                  <a:cubicBezTo>
                    <a:pt x="165250" y="104965"/>
                    <a:pt x="168298" y="102680"/>
                    <a:pt x="170488" y="101156"/>
                  </a:cubicBezTo>
                  <a:cubicBezTo>
                    <a:pt x="187824" y="85820"/>
                    <a:pt x="194587" y="77343"/>
                    <a:pt x="208588" y="36766"/>
                  </a:cubicBezTo>
                  <a:cubicBezTo>
                    <a:pt x="181788" y="38327"/>
                    <a:pt x="156528" y="49803"/>
                    <a:pt x="137722" y="68961"/>
                  </a:cubicBezTo>
                  <a:cubicBezTo>
                    <a:pt x="137097" y="67256"/>
                    <a:pt x="136838" y="65439"/>
                    <a:pt x="136960" y="63627"/>
                  </a:cubicBezTo>
                  <a:cubicBezTo>
                    <a:pt x="130960" y="41338"/>
                    <a:pt x="126388" y="31433"/>
                    <a:pt x="97813" y="0"/>
                  </a:cubicBezTo>
                  <a:cubicBezTo>
                    <a:pt x="85889" y="27842"/>
                    <a:pt x="85615" y="59299"/>
                    <a:pt x="97051" y="87344"/>
                  </a:cubicBezTo>
                  <a:cubicBezTo>
                    <a:pt x="92084" y="86426"/>
                    <a:pt x="87051" y="85916"/>
                    <a:pt x="82001" y="85820"/>
                  </a:cubicBezTo>
                  <a:cubicBezTo>
                    <a:pt x="59332" y="85820"/>
                    <a:pt x="48854" y="87344"/>
                    <a:pt x="11135" y="108775"/>
                  </a:cubicBezTo>
                  <a:cubicBezTo>
                    <a:pt x="32624" y="125586"/>
                    <a:pt x="59673" y="133649"/>
                    <a:pt x="86859" y="131350"/>
                  </a:cubicBezTo>
                  <a:cubicBezTo>
                    <a:pt x="50664" y="171926"/>
                    <a:pt x="-3533" y="250127"/>
                    <a:pt x="181" y="359950"/>
                  </a:cubicBezTo>
                  <a:lnTo>
                    <a:pt x="19231" y="359950"/>
                  </a:lnTo>
                  <a:cubicBezTo>
                    <a:pt x="17115" y="285679"/>
                    <a:pt x="42871" y="213304"/>
                    <a:pt x="91431" y="157067"/>
                  </a:cubicBezTo>
                  <a:cubicBezTo>
                    <a:pt x="88383" y="176975"/>
                    <a:pt x="89145" y="188405"/>
                    <a:pt x="103432" y="226695"/>
                  </a:cubicBezTo>
                  <a:cubicBezTo>
                    <a:pt x="125744" y="205368"/>
                    <a:pt x="138051" y="175637"/>
                    <a:pt x="137341" y="144780"/>
                  </a:cubicBezTo>
                  <a:cubicBezTo>
                    <a:pt x="139627" y="146304"/>
                    <a:pt x="141913" y="147066"/>
                    <a:pt x="144104" y="148590"/>
                  </a:cubicBezTo>
                  <a:cubicBezTo>
                    <a:pt x="166012" y="156305"/>
                    <a:pt x="175822" y="158591"/>
                    <a:pt x="218018" y="152400"/>
                  </a:cubicBezTo>
                  <a:cubicBezTo>
                    <a:pt x="205591" y="131137"/>
                    <a:pt x="186114" y="114894"/>
                    <a:pt x="162964" y="106489"/>
                  </a:cubicBezTo>
                  <a:close/>
                  <a:moveTo>
                    <a:pt x="122292" y="137160"/>
                  </a:moveTo>
                  <a:cubicBezTo>
                    <a:pt x="106771" y="136798"/>
                    <a:pt x="94379" y="124110"/>
                    <a:pt x="94384" y="108585"/>
                  </a:cubicBezTo>
                  <a:cubicBezTo>
                    <a:pt x="93803" y="93393"/>
                    <a:pt x="105648" y="80607"/>
                    <a:pt x="120840" y="80027"/>
                  </a:cubicBezTo>
                  <a:cubicBezTo>
                    <a:pt x="121324" y="80009"/>
                    <a:pt x="121808" y="80003"/>
                    <a:pt x="122292" y="80010"/>
                  </a:cubicBezTo>
                  <a:cubicBezTo>
                    <a:pt x="137758" y="80059"/>
                    <a:pt x="150255" y="92637"/>
                    <a:pt x="150206" y="108103"/>
                  </a:cubicBezTo>
                  <a:cubicBezTo>
                    <a:pt x="150205" y="108264"/>
                    <a:pt x="150203" y="108424"/>
                    <a:pt x="150200" y="108585"/>
                  </a:cubicBezTo>
                  <a:cubicBezTo>
                    <a:pt x="150204" y="124110"/>
                    <a:pt x="137812" y="136798"/>
                    <a:pt x="122292" y="13716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" name="Freihandform: Form 229">
              <a:extLst>
                <a:ext uri="{FF2B5EF4-FFF2-40B4-BE49-F238E27FC236}">
                  <a16:creationId xmlns:a16="http://schemas.microsoft.com/office/drawing/2014/main" id="{9FC4032F-B8FE-4E4A-8793-D5BDE750E67E}"/>
                </a:ext>
              </a:extLst>
            </p:cNvPr>
            <p:cNvSpPr/>
            <p:nvPr/>
          </p:nvSpPr>
          <p:spPr>
            <a:xfrm>
              <a:off x="4673154" y="3394519"/>
              <a:ext cx="41734" cy="42101"/>
            </a:xfrm>
            <a:custGeom>
              <a:avLst/>
              <a:gdLst>
                <a:gd name="connsiteX0" fmla="*/ 21146 w 41734"/>
                <a:gd name="connsiteY0" fmla="*/ 0 h 42101"/>
                <a:gd name="connsiteX1" fmla="*/ 0 w 41734"/>
                <a:gd name="connsiteY1" fmla="*/ 21335 h 42101"/>
                <a:gd name="connsiteX2" fmla="*/ 1 w 41734"/>
                <a:gd name="connsiteY2" fmla="*/ 21431 h 42101"/>
                <a:gd name="connsiteX3" fmla="*/ 21146 w 41734"/>
                <a:gd name="connsiteY3" fmla="*/ 42101 h 42101"/>
                <a:gd name="connsiteX4" fmla="*/ 41721 w 41734"/>
                <a:gd name="connsiteY4" fmla="*/ 21910 h 42101"/>
                <a:gd name="connsiteX5" fmla="*/ 41720 w 41734"/>
                <a:gd name="connsiteY5" fmla="*/ 21431 h 42101"/>
                <a:gd name="connsiteX6" fmla="*/ 21827 w 41734"/>
                <a:gd name="connsiteY6" fmla="*/ 14 h 42101"/>
                <a:gd name="connsiteX7" fmla="*/ 21146 w 41734"/>
                <a:gd name="connsiteY7" fmla="*/ 0 h 42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734" h="42101">
                  <a:moveTo>
                    <a:pt x="21146" y="0"/>
                  </a:moveTo>
                  <a:cubicBezTo>
                    <a:pt x="9416" y="52"/>
                    <a:pt x="-52" y="9604"/>
                    <a:pt x="0" y="21335"/>
                  </a:cubicBezTo>
                  <a:cubicBezTo>
                    <a:pt x="0" y="21367"/>
                    <a:pt x="1" y="21399"/>
                    <a:pt x="1" y="21431"/>
                  </a:cubicBezTo>
                  <a:cubicBezTo>
                    <a:pt x="209" y="32945"/>
                    <a:pt x="9631" y="42154"/>
                    <a:pt x="21146" y="42101"/>
                  </a:cubicBezTo>
                  <a:cubicBezTo>
                    <a:pt x="32403" y="42207"/>
                    <a:pt x="41615" y="33167"/>
                    <a:pt x="41721" y="21910"/>
                  </a:cubicBezTo>
                  <a:cubicBezTo>
                    <a:pt x="41723" y="21751"/>
                    <a:pt x="41723" y="21591"/>
                    <a:pt x="41720" y="21431"/>
                  </a:cubicBezTo>
                  <a:cubicBezTo>
                    <a:pt x="42141" y="10024"/>
                    <a:pt x="33235" y="435"/>
                    <a:pt x="21827" y="14"/>
                  </a:cubicBezTo>
                  <a:cubicBezTo>
                    <a:pt x="21600" y="6"/>
                    <a:pt x="21373" y="1"/>
                    <a:pt x="2114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1" name="Freihandform: Form 272">
              <a:extLst>
                <a:ext uri="{FF2B5EF4-FFF2-40B4-BE49-F238E27FC236}">
                  <a16:creationId xmlns:a16="http://schemas.microsoft.com/office/drawing/2014/main" id="{0AE3F30D-556E-4337-8B7F-781B5CE3BFE4}"/>
                </a:ext>
              </a:extLst>
            </p:cNvPr>
            <p:cNvSpPr/>
            <p:nvPr/>
          </p:nvSpPr>
          <p:spPr>
            <a:xfrm>
              <a:off x="4352925" y="3341655"/>
              <a:ext cx="197651" cy="324707"/>
            </a:xfrm>
            <a:custGeom>
              <a:avLst/>
              <a:gdLst>
                <a:gd name="connsiteX0" fmla="*/ 122111 w 197651"/>
                <a:gd name="connsiteY0" fmla="*/ 148590 h 324707"/>
                <a:gd name="connsiteX1" fmla="*/ 132588 w 197651"/>
                <a:gd name="connsiteY1" fmla="*/ 0 h 324707"/>
                <a:gd name="connsiteX2" fmla="*/ 116015 w 197651"/>
                <a:gd name="connsiteY2" fmla="*/ 49816 h 324707"/>
                <a:gd name="connsiteX3" fmla="*/ 66675 w 197651"/>
                <a:gd name="connsiteY3" fmla="*/ 25241 h 324707"/>
                <a:gd name="connsiteX4" fmla="*/ 45244 w 197651"/>
                <a:gd name="connsiteY4" fmla="*/ 77819 h 324707"/>
                <a:gd name="connsiteX5" fmla="*/ 0 w 197651"/>
                <a:gd name="connsiteY5" fmla="*/ 50578 h 324707"/>
                <a:gd name="connsiteX6" fmla="*/ 100965 w 197651"/>
                <a:gd name="connsiteY6" fmla="*/ 155353 h 324707"/>
                <a:gd name="connsiteX7" fmla="*/ 178594 w 197651"/>
                <a:gd name="connsiteY7" fmla="*/ 324707 h 324707"/>
                <a:gd name="connsiteX8" fmla="*/ 197644 w 197651"/>
                <a:gd name="connsiteY8" fmla="*/ 324707 h 324707"/>
                <a:gd name="connsiteX9" fmla="*/ 122111 w 197651"/>
                <a:gd name="connsiteY9" fmla="*/ 148590 h 324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7651" h="324707">
                  <a:moveTo>
                    <a:pt x="122111" y="148590"/>
                  </a:moveTo>
                  <a:cubicBezTo>
                    <a:pt x="130397" y="142494"/>
                    <a:pt x="182404" y="92678"/>
                    <a:pt x="132588" y="0"/>
                  </a:cubicBezTo>
                  <a:lnTo>
                    <a:pt x="116015" y="49816"/>
                  </a:lnTo>
                  <a:lnTo>
                    <a:pt x="66675" y="25241"/>
                  </a:lnTo>
                  <a:lnTo>
                    <a:pt x="45244" y="77819"/>
                  </a:lnTo>
                  <a:lnTo>
                    <a:pt x="0" y="50578"/>
                  </a:lnTo>
                  <a:cubicBezTo>
                    <a:pt x="21812" y="146304"/>
                    <a:pt x="83630" y="154686"/>
                    <a:pt x="100965" y="155353"/>
                  </a:cubicBezTo>
                  <a:cubicBezTo>
                    <a:pt x="115253" y="167640"/>
                    <a:pt x="180880" y="228981"/>
                    <a:pt x="178594" y="324707"/>
                  </a:cubicBezTo>
                  <a:lnTo>
                    <a:pt x="197644" y="324707"/>
                  </a:lnTo>
                  <a:cubicBezTo>
                    <a:pt x="198171" y="258028"/>
                    <a:pt x="170783" y="194168"/>
                    <a:pt x="122111" y="14859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2" name="Freihandform: Form 273">
              <a:extLst>
                <a:ext uri="{FF2B5EF4-FFF2-40B4-BE49-F238E27FC236}">
                  <a16:creationId xmlns:a16="http://schemas.microsoft.com/office/drawing/2014/main" id="{DB8373A9-56D9-4CE8-A39F-70C57226B099}"/>
                </a:ext>
              </a:extLst>
            </p:cNvPr>
            <p:cNvSpPr/>
            <p:nvPr/>
          </p:nvSpPr>
          <p:spPr>
            <a:xfrm>
              <a:off x="4511961" y="3264312"/>
              <a:ext cx="20731" cy="41338"/>
            </a:xfrm>
            <a:custGeom>
              <a:avLst/>
              <a:gdLst>
                <a:gd name="connsiteX0" fmla="*/ 18033 w 20731"/>
                <a:gd name="connsiteY0" fmla="*/ 41339 h 41338"/>
                <a:gd name="connsiteX1" fmla="*/ 3746 w 20731"/>
                <a:gd name="connsiteY1" fmla="*/ 0 h 41338"/>
                <a:gd name="connsiteX2" fmla="*/ 18033 w 20731"/>
                <a:gd name="connsiteY2" fmla="*/ 41339 h 41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731" h="41338">
                  <a:moveTo>
                    <a:pt x="18033" y="41339"/>
                  </a:moveTo>
                  <a:cubicBezTo>
                    <a:pt x="24749" y="25940"/>
                    <a:pt x="18536" y="7965"/>
                    <a:pt x="3746" y="0"/>
                  </a:cubicBezTo>
                  <a:cubicBezTo>
                    <a:pt x="-9875" y="39053"/>
                    <a:pt x="18033" y="41339"/>
                    <a:pt x="18033" y="4133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" name="Freihandform: Form 274">
              <a:extLst>
                <a:ext uri="{FF2B5EF4-FFF2-40B4-BE49-F238E27FC236}">
                  <a16:creationId xmlns:a16="http://schemas.microsoft.com/office/drawing/2014/main" id="{D148A789-C8E7-4480-9E7F-E1C3D10FB124}"/>
                </a:ext>
              </a:extLst>
            </p:cNvPr>
            <p:cNvSpPr/>
            <p:nvPr/>
          </p:nvSpPr>
          <p:spPr>
            <a:xfrm>
              <a:off x="4484951" y="3190875"/>
              <a:ext cx="34073" cy="69627"/>
            </a:xfrm>
            <a:custGeom>
              <a:avLst/>
              <a:gdLst>
                <a:gd name="connsiteX0" fmla="*/ 14944 w 34073"/>
                <a:gd name="connsiteY0" fmla="*/ 0 h 69627"/>
                <a:gd name="connsiteX1" fmla="*/ 12944 w 34073"/>
                <a:gd name="connsiteY1" fmla="*/ 0 h 69627"/>
                <a:gd name="connsiteX2" fmla="*/ 25517 w 34073"/>
                <a:gd name="connsiteY2" fmla="*/ 69628 h 69627"/>
                <a:gd name="connsiteX3" fmla="*/ 14944 w 34073"/>
                <a:gd name="connsiteY3" fmla="*/ 0 h 69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073" h="69627">
                  <a:moveTo>
                    <a:pt x="14944" y="0"/>
                  </a:moveTo>
                  <a:lnTo>
                    <a:pt x="12944" y="0"/>
                  </a:lnTo>
                  <a:cubicBezTo>
                    <a:pt x="6848" y="4667"/>
                    <a:pt x="-18869" y="28575"/>
                    <a:pt x="25517" y="69628"/>
                  </a:cubicBezTo>
                  <a:cubicBezTo>
                    <a:pt x="25517" y="69628"/>
                    <a:pt x="50568" y="34957"/>
                    <a:pt x="14944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85" name="Grafik 1856">
            <a:extLst>
              <a:ext uri="{FF2B5EF4-FFF2-40B4-BE49-F238E27FC236}">
                <a16:creationId xmlns:a16="http://schemas.microsoft.com/office/drawing/2014/main" id="{4E549600-2B26-4133-8E4C-01CB291D455A}"/>
              </a:ext>
            </a:extLst>
          </p:cNvPr>
          <p:cNvSpPr/>
          <p:nvPr/>
        </p:nvSpPr>
        <p:spPr>
          <a:xfrm>
            <a:off x="2371966" y="1313824"/>
            <a:ext cx="367251" cy="434685"/>
          </a:xfrm>
          <a:custGeom>
            <a:avLst/>
            <a:gdLst>
              <a:gd name="connsiteX0" fmla="*/ 50268 w 312962"/>
              <a:gd name="connsiteY0" fmla="*/ 327850 h 370427"/>
              <a:gd name="connsiteX1" fmla="*/ 41314 w 312962"/>
              <a:gd name="connsiteY1" fmla="*/ 322136 h 370427"/>
              <a:gd name="connsiteX2" fmla="*/ 27598 w 312962"/>
              <a:gd name="connsiteY2" fmla="*/ 370427 h 370427"/>
              <a:gd name="connsiteX3" fmla="*/ 16930 w 312962"/>
              <a:gd name="connsiteY3" fmla="*/ 354140 h 370427"/>
              <a:gd name="connsiteX4" fmla="*/ 29503 w 312962"/>
              <a:gd name="connsiteY4" fmla="*/ 312801 h 370427"/>
              <a:gd name="connsiteX5" fmla="*/ 226956 w 312962"/>
              <a:gd name="connsiteY5" fmla="*/ 119253 h 370427"/>
              <a:gd name="connsiteX6" fmla="*/ 19216 w 312962"/>
              <a:gd name="connsiteY6" fmla="*/ 296799 h 370427"/>
              <a:gd name="connsiteX7" fmla="*/ 310967 w 312962"/>
              <a:gd name="connsiteY7" fmla="*/ 0 h 370427"/>
              <a:gd name="connsiteX8" fmla="*/ 50268 w 312962"/>
              <a:gd name="connsiteY8" fmla="*/ 327850 h 370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2962" h="370427">
                <a:moveTo>
                  <a:pt x="50268" y="327850"/>
                </a:moveTo>
                <a:cubicBezTo>
                  <a:pt x="46648" y="325660"/>
                  <a:pt x="43886" y="323945"/>
                  <a:pt x="41314" y="322136"/>
                </a:cubicBezTo>
                <a:cubicBezTo>
                  <a:pt x="35462" y="337841"/>
                  <a:pt x="30875" y="353990"/>
                  <a:pt x="27598" y="370427"/>
                </a:cubicBezTo>
                <a:cubicBezTo>
                  <a:pt x="22169" y="360902"/>
                  <a:pt x="16930" y="354140"/>
                  <a:pt x="16930" y="354140"/>
                </a:cubicBezTo>
                <a:cubicBezTo>
                  <a:pt x="20041" y="340054"/>
                  <a:pt x="24245" y="326233"/>
                  <a:pt x="29503" y="312801"/>
                </a:cubicBezTo>
                <a:cubicBezTo>
                  <a:pt x="86558" y="171450"/>
                  <a:pt x="225432" y="126873"/>
                  <a:pt x="226956" y="119253"/>
                </a:cubicBezTo>
                <a:cubicBezTo>
                  <a:pt x="88463" y="150876"/>
                  <a:pt x="28741" y="276225"/>
                  <a:pt x="19216" y="296799"/>
                </a:cubicBezTo>
                <a:cubicBezTo>
                  <a:pt x="-85559" y="50197"/>
                  <a:pt x="270390" y="65723"/>
                  <a:pt x="310967" y="0"/>
                </a:cubicBezTo>
                <a:cubicBezTo>
                  <a:pt x="333541" y="269081"/>
                  <a:pt x="159424" y="379762"/>
                  <a:pt x="50268" y="327850"/>
                </a:cubicBez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87" name="Grafik 11">
            <a:extLst>
              <a:ext uri="{FF2B5EF4-FFF2-40B4-BE49-F238E27FC236}">
                <a16:creationId xmlns:a16="http://schemas.microsoft.com/office/drawing/2014/main" id="{63D072C1-3C7B-4BB8-BC9F-77B3ECA83B50}"/>
              </a:ext>
            </a:extLst>
          </p:cNvPr>
          <p:cNvGrpSpPr/>
          <p:nvPr/>
        </p:nvGrpSpPr>
        <p:grpSpPr>
          <a:xfrm>
            <a:off x="2955581" y="1248117"/>
            <a:ext cx="411301" cy="566098"/>
            <a:chOff x="4695772" y="3486138"/>
            <a:chExt cx="350500" cy="482414"/>
          </a:xfrm>
          <a:solidFill>
            <a:srgbClr val="808080"/>
          </a:solidFill>
        </p:grpSpPr>
        <p:sp>
          <p:nvSpPr>
            <p:cNvPr id="89" name="Freihandform: Form 1861">
              <a:extLst>
                <a:ext uri="{FF2B5EF4-FFF2-40B4-BE49-F238E27FC236}">
                  <a16:creationId xmlns:a16="http://schemas.microsoft.com/office/drawing/2014/main" id="{8A616B91-F3D4-4848-9AD4-B98A049D4666}"/>
                </a:ext>
              </a:extLst>
            </p:cNvPr>
            <p:cNvSpPr/>
            <p:nvPr/>
          </p:nvSpPr>
          <p:spPr>
            <a:xfrm>
              <a:off x="4766557" y="3486138"/>
              <a:ext cx="279715" cy="365153"/>
            </a:xfrm>
            <a:custGeom>
              <a:avLst/>
              <a:gdLst>
                <a:gd name="connsiteX0" fmla="*/ 241935 w 279715"/>
                <a:gd name="connsiteY0" fmla="*/ 34168 h 365153"/>
                <a:gd name="connsiteX1" fmla="*/ 78486 w 279715"/>
                <a:gd name="connsiteY1" fmla="*/ 926 h 365153"/>
                <a:gd name="connsiteX2" fmla="*/ 26566 w 279715"/>
                <a:gd name="connsiteY2" fmla="*/ 34993 h 365153"/>
                <a:gd name="connsiteX3" fmla="*/ 26194 w 279715"/>
                <a:gd name="connsiteY3" fmla="*/ 37025 h 365153"/>
                <a:gd name="connsiteX4" fmla="*/ 0 w 279715"/>
                <a:gd name="connsiteY4" fmla="*/ 186949 h 365153"/>
                <a:gd name="connsiteX5" fmla="*/ 94488 w 279715"/>
                <a:gd name="connsiteY5" fmla="*/ 255719 h 365153"/>
                <a:gd name="connsiteX6" fmla="*/ 111252 w 279715"/>
                <a:gd name="connsiteY6" fmla="*/ 347350 h 365153"/>
                <a:gd name="connsiteX7" fmla="*/ 107252 w 279715"/>
                <a:gd name="connsiteY7" fmla="*/ 355827 h 365153"/>
                <a:gd name="connsiteX8" fmla="*/ 150400 w 279715"/>
                <a:gd name="connsiteY8" fmla="*/ 364590 h 365153"/>
                <a:gd name="connsiteX9" fmla="*/ 182023 w 279715"/>
                <a:gd name="connsiteY9" fmla="*/ 344683 h 365153"/>
                <a:gd name="connsiteX10" fmla="*/ 188690 w 279715"/>
                <a:gd name="connsiteY10" fmla="*/ 346112 h 365153"/>
                <a:gd name="connsiteX11" fmla="*/ 240668 w 279715"/>
                <a:gd name="connsiteY11" fmla="*/ 311644 h 365153"/>
                <a:gd name="connsiteX12" fmla="*/ 240983 w 279715"/>
                <a:gd name="connsiteY12" fmla="*/ 309917 h 365153"/>
                <a:gd name="connsiteX13" fmla="*/ 279083 w 279715"/>
                <a:gd name="connsiteY13" fmla="*/ 88460 h 365153"/>
                <a:gd name="connsiteX14" fmla="*/ 241935 w 279715"/>
                <a:gd name="connsiteY14" fmla="*/ 34168 h 365153"/>
                <a:gd name="connsiteX15" fmla="*/ 64484 w 279715"/>
                <a:gd name="connsiteY15" fmla="*/ 199998 h 365153"/>
                <a:gd name="connsiteX16" fmla="*/ 46958 w 279715"/>
                <a:gd name="connsiteY16" fmla="*/ 196379 h 365153"/>
                <a:gd name="connsiteX17" fmla="*/ 39295 w 279715"/>
                <a:gd name="connsiteY17" fmla="*/ 185301 h 365153"/>
                <a:gd name="connsiteX18" fmla="*/ 39434 w 279715"/>
                <a:gd name="connsiteY18" fmla="*/ 184663 h 365153"/>
                <a:gd name="connsiteX19" fmla="*/ 50255 w 279715"/>
                <a:gd name="connsiteY19" fmla="*/ 176641 h 365153"/>
                <a:gd name="connsiteX20" fmla="*/ 50387 w 279715"/>
                <a:gd name="connsiteY20" fmla="*/ 176662 h 365153"/>
                <a:gd name="connsiteX21" fmla="*/ 67913 w 279715"/>
                <a:gd name="connsiteY21" fmla="*/ 180186 h 365153"/>
                <a:gd name="connsiteX22" fmla="*/ 75438 w 279715"/>
                <a:gd name="connsiteY22" fmla="*/ 191997 h 365153"/>
                <a:gd name="connsiteX23" fmla="*/ 64616 w 279715"/>
                <a:gd name="connsiteY23" fmla="*/ 200019 h 365153"/>
                <a:gd name="connsiteX24" fmla="*/ 64484 w 279715"/>
                <a:gd name="connsiteY24" fmla="*/ 199998 h 365153"/>
                <a:gd name="connsiteX25" fmla="*/ 71057 w 279715"/>
                <a:gd name="connsiteY25" fmla="*/ 161422 h 365153"/>
                <a:gd name="connsiteX26" fmla="*/ 53531 w 279715"/>
                <a:gd name="connsiteY26" fmla="*/ 157898 h 365153"/>
                <a:gd name="connsiteX27" fmla="*/ 45911 w 279715"/>
                <a:gd name="connsiteY27" fmla="*/ 146182 h 365153"/>
                <a:gd name="connsiteX28" fmla="*/ 56639 w 279715"/>
                <a:gd name="connsiteY28" fmla="*/ 138036 h 365153"/>
                <a:gd name="connsiteX29" fmla="*/ 56960 w 279715"/>
                <a:gd name="connsiteY29" fmla="*/ 138086 h 365153"/>
                <a:gd name="connsiteX30" fmla="*/ 74486 w 279715"/>
                <a:gd name="connsiteY30" fmla="*/ 141705 h 365153"/>
                <a:gd name="connsiteX31" fmla="*/ 81629 w 279715"/>
                <a:gd name="connsiteY31" fmla="*/ 152945 h 365153"/>
                <a:gd name="connsiteX32" fmla="*/ 71057 w 279715"/>
                <a:gd name="connsiteY32" fmla="*/ 160946 h 365153"/>
                <a:gd name="connsiteX33" fmla="*/ 77629 w 279715"/>
                <a:gd name="connsiteY33" fmla="*/ 123322 h 365153"/>
                <a:gd name="connsiteX34" fmla="*/ 60103 w 279715"/>
                <a:gd name="connsiteY34" fmla="*/ 119798 h 365153"/>
                <a:gd name="connsiteX35" fmla="*/ 52483 w 279715"/>
                <a:gd name="connsiteY35" fmla="*/ 107987 h 365153"/>
                <a:gd name="connsiteX36" fmla="*/ 63291 w 279715"/>
                <a:gd name="connsiteY36" fmla="*/ 99947 h 365153"/>
                <a:gd name="connsiteX37" fmla="*/ 63532 w 279715"/>
                <a:gd name="connsiteY37" fmla="*/ 99986 h 365153"/>
                <a:gd name="connsiteX38" fmla="*/ 81058 w 279715"/>
                <a:gd name="connsiteY38" fmla="*/ 103510 h 365153"/>
                <a:gd name="connsiteX39" fmla="*/ 88583 w 279715"/>
                <a:gd name="connsiteY39" fmla="*/ 114273 h 365153"/>
                <a:gd name="connsiteX40" fmla="*/ 77922 w 279715"/>
                <a:gd name="connsiteY40" fmla="*/ 122507 h 365153"/>
                <a:gd name="connsiteX41" fmla="*/ 77629 w 279715"/>
                <a:gd name="connsiteY41" fmla="*/ 122465 h 365153"/>
                <a:gd name="connsiteX42" fmla="*/ 84392 w 279715"/>
                <a:gd name="connsiteY42" fmla="*/ 83793 h 365153"/>
                <a:gd name="connsiteX43" fmla="*/ 66866 w 279715"/>
                <a:gd name="connsiteY43" fmla="*/ 80174 h 365153"/>
                <a:gd name="connsiteX44" fmla="*/ 59341 w 279715"/>
                <a:gd name="connsiteY44" fmla="*/ 68363 h 365153"/>
                <a:gd name="connsiteX45" fmla="*/ 70199 w 279715"/>
                <a:gd name="connsiteY45" fmla="*/ 60457 h 365153"/>
                <a:gd name="connsiteX46" fmla="*/ 87821 w 279715"/>
                <a:gd name="connsiteY46" fmla="*/ 63981 h 365153"/>
                <a:gd name="connsiteX47" fmla="*/ 95345 w 279715"/>
                <a:gd name="connsiteY47" fmla="*/ 75792 h 365153"/>
                <a:gd name="connsiteX48" fmla="*/ 84392 w 279715"/>
                <a:gd name="connsiteY48" fmla="*/ 82936 h 365153"/>
                <a:gd name="connsiteX49" fmla="*/ 208979 w 279715"/>
                <a:gd name="connsiteY49" fmla="*/ 227811 h 365153"/>
                <a:gd name="connsiteX50" fmla="*/ 98774 w 279715"/>
                <a:gd name="connsiteY50" fmla="*/ 205427 h 365153"/>
                <a:gd name="connsiteX51" fmla="*/ 92012 w 279715"/>
                <a:gd name="connsiteY51" fmla="*/ 194855 h 365153"/>
                <a:gd name="connsiteX52" fmla="*/ 101463 w 279715"/>
                <a:gd name="connsiteY52" fmla="*/ 187700 h 365153"/>
                <a:gd name="connsiteX53" fmla="*/ 101537 w 279715"/>
                <a:gd name="connsiteY53" fmla="*/ 187711 h 365153"/>
                <a:gd name="connsiteX54" fmla="*/ 211741 w 279715"/>
                <a:gd name="connsiteY54" fmla="*/ 210095 h 365153"/>
                <a:gd name="connsiteX55" fmla="*/ 218503 w 279715"/>
                <a:gd name="connsiteY55" fmla="*/ 220667 h 365153"/>
                <a:gd name="connsiteX56" fmla="*/ 209052 w 279715"/>
                <a:gd name="connsiteY56" fmla="*/ 227822 h 365153"/>
                <a:gd name="connsiteX57" fmla="*/ 208978 w 279715"/>
                <a:gd name="connsiteY57" fmla="*/ 227811 h 365153"/>
                <a:gd name="connsiteX58" fmla="*/ 215551 w 279715"/>
                <a:gd name="connsiteY58" fmla="*/ 189711 h 365153"/>
                <a:gd name="connsiteX59" fmla="*/ 105347 w 279715"/>
                <a:gd name="connsiteY59" fmla="*/ 166851 h 365153"/>
                <a:gd name="connsiteX60" fmla="*/ 98584 w 279715"/>
                <a:gd name="connsiteY60" fmla="*/ 156374 h 365153"/>
                <a:gd name="connsiteX61" fmla="*/ 108035 w 279715"/>
                <a:gd name="connsiteY61" fmla="*/ 149219 h 365153"/>
                <a:gd name="connsiteX62" fmla="*/ 108109 w 279715"/>
                <a:gd name="connsiteY62" fmla="*/ 149230 h 365153"/>
                <a:gd name="connsiteX63" fmla="*/ 218599 w 279715"/>
                <a:gd name="connsiteY63" fmla="*/ 171423 h 365153"/>
                <a:gd name="connsiteX64" fmla="*/ 225361 w 279715"/>
                <a:gd name="connsiteY64" fmla="*/ 181996 h 365153"/>
                <a:gd name="connsiteX65" fmla="*/ 216113 w 279715"/>
                <a:gd name="connsiteY65" fmla="*/ 189412 h 365153"/>
                <a:gd name="connsiteX66" fmla="*/ 215551 w 279715"/>
                <a:gd name="connsiteY66" fmla="*/ 189330 h 365153"/>
                <a:gd name="connsiteX67" fmla="*/ 222123 w 279715"/>
                <a:gd name="connsiteY67" fmla="*/ 151611 h 365153"/>
                <a:gd name="connsiteX68" fmla="*/ 112014 w 279715"/>
                <a:gd name="connsiteY68" fmla="*/ 128370 h 365153"/>
                <a:gd name="connsiteX69" fmla="*/ 105156 w 279715"/>
                <a:gd name="connsiteY69" fmla="*/ 117797 h 365153"/>
                <a:gd name="connsiteX70" fmla="*/ 114608 w 279715"/>
                <a:gd name="connsiteY70" fmla="*/ 110643 h 365153"/>
                <a:gd name="connsiteX71" fmla="*/ 114681 w 279715"/>
                <a:gd name="connsiteY71" fmla="*/ 110654 h 365153"/>
                <a:gd name="connsiteX72" fmla="*/ 225171 w 279715"/>
                <a:gd name="connsiteY72" fmla="*/ 133323 h 365153"/>
                <a:gd name="connsiteX73" fmla="*/ 231934 w 279715"/>
                <a:gd name="connsiteY73" fmla="*/ 143896 h 365153"/>
                <a:gd name="connsiteX74" fmla="*/ 222476 w 279715"/>
                <a:gd name="connsiteY74" fmla="*/ 150817 h 365153"/>
                <a:gd name="connsiteX75" fmla="*/ 222123 w 279715"/>
                <a:gd name="connsiteY75" fmla="*/ 150754 h 365153"/>
                <a:gd name="connsiteX76" fmla="*/ 229076 w 279715"/>
                <a:gd name="connsiteY76" fmla="*/ 111035 h 365153"/>
                <a:gd name="connsiteX77" fmla="*/ 118872 w 279715"/>
                <a:gd name="connsiteY77" fmla="*/ 87794 h 365153"/>
                <a:gd name="connsiteX78" fmla="*/ 112109 w 279715"/>
                <a:gd name="connsiteY78" fmla="*/ 77221 h 365153"/>
                <a:gd name="connsiteX79" fmla="*/ 121561 w 279715"/>
                <a:gd name="connsiteY79" fmla="*/ 70067 h 365153"/>
                <a:gd name="connsiteX80" fmla="*/ 121634 w 279715"/>
                <a:gd name="connsiteY80" fmla="*/ 70077 h 365153"/>
                <a:gd name="connsiteX81" fmla="*/ 232124 w 279715"/>
                <a:gd name="connsiteY81" fmla="*/ 92461 h 365153"/>
                <a:gd name="connsiteX82" fmla="*/ 238887 w 279715"/>
                <a:gd name="connsiteY82" fmla="*/ 103034 h 365153"/>
                <a:gd name="connsiteX83" fmla="*/ 229475 w 279715"/>
                <a:gd name="connsiteY83" fmla="*/ 110240 h 365153"/>
                <a:gd name="connsiteX84" fmla="*/ 229076 w 279715"/>
                <a:gd name="connsiteY84" fmla="*/ 110177 h 365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279715" h="365153">
                  <a:moveTo>
                    <a:pt x="241935" y="34168"/>
                  </a:moveTo>
                  <a:lnTo>
                    <a:pt x="78486" y="926"/>
                  </a:lnTo>
                  <a:cubicBezTo>
                    <a:pt x="54741" y="-4004"/>
                    <a:pt x="31496" y="11248"/>
                    <a:pt x="26566" y="34993"/>
                  </a:cubicBezTo>
                  <a:cubicBezTo>
                    <a:pt x="26426" y="35667"/>
                    <a:pt x="26302" y="36345"/>
                    <a:pt x="26194" y="37025"/>
                  </a:cubicBezTo>
                  <a:lnTo>
                    <a:pt x="0" y="186949"/>
                  </a:lnTo>
                  <a:cubicBezTo>
                    <a:pt x="36193" y="202605"/>
                    <a:pt x="68463" y="226092"/>
                    <a:pt x="94488" y="255719"/>
                  </a:cubicBezTo>
                  <a:cubicBezTo>
                    <a:pt x="122206" y="295724"/>
                    <a:pt x="117158" y="319251"/>
                    <a:pt x="111252" y="347350"/>
                  </a:cubicBezTo>
                  <a:cubicBezTo>
                    <a:pt x="110482" y="350409"/>
                    <a:pt x="109123" y="353288"/>
                    <a:pt x="107252" y="355827"/>
                  </a:cubicBezTo>
                  <a:lnTo>
                    <a:pt x="150400" y="364590"/>
                  </a:lnTo>
                  <a:cubicBezTo>
                    <a:pt x="164576" y="367523"/>
                    <a:pt x="178537" y="358734"/>
                    <a:pt x="182023" y="344683"/>
                  </a:cubicBezTo>
                  <a:lnTo>
                    <a:pt x="188690" y="346112"/>
                  </a:lnTo>
                  <a:cubicBezTo>
                    <a:pt x="212562" y="350947"/>
                    <a:pt x="235833" y="335515"/>
                    <a:pt x="240668" y="311644"/>
                  </a:cubicBezTo>
                  <a:cubicBezTo>
                    <a:pt x="240784" y="311070"/>
                    <a:pt x="240889" y="310494"/>
                    <a:pt x="240983" y="309917"/>
                  </a:cubicBezTo>
                  <a:lnTo>
                    <a:pt x="279083" y="88460"/>
                  </a:lnTo>
                  <a:cubicBezTo>
                    <a:pt x="283196" y="63344"/>
                    <a:pt x="266835" y="39432"/>
                    <a:pt x="241935" y="34168"/>
                  </a:cubicBezTo>
                  <a:close/>
                  <a:moveTo>
                    <a:pt x="64484" y="199998"/>
                  </a:moveTo>
                  <a:lnTo>
                    <a:pt x="46958" y="196379"/>
                  </a:lnTo>
                  <a:cubicBezTo>
                    <a:pt x="41783" y="195436"/>
                    <a:pt x="38352" y="190476"/>
                    <a:pt x="39295" y="185301"/>
                  </a:cubicBezTo>
                  <a:cubicBezTo>
                    <a:pt x="39334" y="185087"/>
                    <a:pt x="39380" y="184874"/>
                    <a:pt x="39434" y="184663"/>
                  </a:cubicBezTo>
                  <a:cubicBezTo>
                    <a:pt x="40207" y="179460"/>
                    <a:pt x="45052" y="175868"/>
                    <a:pt x="50255" y="176641"/>
                  </a:cubicBezTo>
                  <a:cubicBezTo>
                    <a:pt x="50299" y="176648"/>
                    <a:pt x="50343" y="176655"/>
                    <a:pt x="50387" y="176662"/>
                  </a:cubicBezTo>
                  <a:lnTo>
                    <a:pt x="67913" y="180186"/>
                  </a:lnTo>
                  <a:cubicBezTo>
                    <a:pt x="73188" y="181461"/>
                    <a:pt x="76511" y="186678"/>
                    <a:pt x="75438" y="191997"/>
                  </a:cubicBezTo>
                  <a:cubicBezTo>
                    <a:pt x="74665" y="197201"/>
                    <a:pt x="69820" y="200792"/>
                    <a:pt x="64616" y="200019"/>
                  </a:cubicBezTo>
                  <a:cubicBezTo>
                    <a:pt x="64572" y="200012"/>
                    <a:pt x="64528" y="200005"/>
                    <a:pt x="64484" y="199998"/>
                  </a:cubicBezTo>
                  <a:close/>
                  <a:moveTo>
                    <a:pt x="71057" y="161422"/>
                  </a:moveTo>
                  <a:lnTo>
                    <a:pt x="53531" y="157898"/>
                  </a:lnTo>
                  <a:cubicBezTo>
                    <a:pt x="48291" y="156623"/>
                    <a:pt x="44951" y="151488"/>
                    <a:pt x="45911" y="146182"/>
                  </a:cubicBezTo>
                  <a:cubicBezTo>
                    <a:pt x="46624" y="140970"/>
                    <a:pt x="51427" y="137323"/>
                    <a:pt x="56639" y="138036"/>
                  </a:cubicBezTo>
                  <a:cubicBezTo>
                    <a:pt x="56746" y="138051"/>
                    <a:pt x="56853" y="138067"/>
                    <a:pt x="56960" y="138086"/>
                  </a:cubicBezTo>
                  <a:lnTo>
                    <a:pt x="74486" y="141705"/>
                  </a:lnTo>
                  <a:cubicBezTo>
                    <a:pt x="79378" y="143091"/>
                    <a:pt x="82451" y="147927"/>
                    <a:pt x="81629" y="152945"/>
                  </a:cubicBezTo>
                  <a:cubicBezTo>
                    <a:pt x="80844" y="158029"/>
                    <a:pt x="76163" y="161572"/>
                    <a:pt x="71057" y="160946"/>
                  </a:cubicBezTo>
                  <a:close/>
                  <a:moveTo>
                    <a:pt x="77629" y="123322"/>
                  </a:moveTo>
                  <a:lnTo>
                    <a:pt x="60103" y="119798"/>
                  </a:lnTo>
                  <a:cubicBezTo>
                    <a:pt x="54879" y="118440"/>
                    <a:pt x="51566" y="113306"/>
                    <a:pt x="52483" y="107987"/>
                  </a:cubicBezTo>
                  <a:cubicBezTo>
                    <a:pt x="53247" y="102782"/>
                    <a:pt x="58086" y="99183"/>
                    <a:pt x="63291" y="99947"/>
                  </a:cubicBezTo>
                  <a:cubicBezTo>
                    <a:pt x="63371" y="99959"/>
                    <a:pt x="63452" y="99972"/>
                    <a:pt x="63532" y="99986"/>
                  </a:cubicBezTo>
                  <a:lnTo>
                    <a:pt x="81058" y="103510"/>
                  </a:lnTo>
                  <a:cubicBezTo>
                    <a:pt x="85875" y="104753"/>
                    <a:pt x="89069" y="109321"/>
                    <a:pt x="88583" y="114273"/>
                  </a:cubicBezTo>
                  <a:cubicBezTo>
                    <a:pt x="87912" y="119491"/>
                    <a:pt x="83139" y="123177"/>
                    <a:pt x="77922" y="122507"/>
                  </a:cubicBezTo>
                  <a:cubicBezTo>
                    <a:pt x="77824" y="122494"/>
                    <a:pt x="77726" y="122480"/>
                    <a:pt x="77629" y="122465"/>
                  </a:cubicBezTo>
                  <a:close/>
                  <a:moveTo>
                    <a:pt x="84392" y="83793"/>
                  </a:moveTo>
                  <a:lnTo>
                    <a:pt x="66866" y="80174"/>
                  </a:lnTo>
                  <a:cubicBezTo>
                    <a:pt x="61591" y="78899"/>
                    <a:pt x="58267" y="73682"/>
                    <a:pt x="59341" y="68363"/>
                  </a:cubicBezTo>
                  <a:cubicBezTo>
                    <a:pt x="60170" y="63190"/>
                    <a:pt x="65021" y="59657"/>
                    <a:pt x="70199" y="60457"/>
                  </a:cubicBezTo>
                  <a:lnTo>
                    <a:pt x="87821" y="63981"/>
                  </a:lnTo>
                  <a:cubicBezTo>
                    <a:pt x="93065" y="65299"/>
                    <a:pt x="96367" y="70482"/>
                    <a:pt x="95345" y="75792"/>
                  </a:cubicBezTo>
                  <a:cubicBezTo>
                    <a:pt x="94164" y="80700"/>
                    <a:pt x="89359" y="83833"/>
                    <a:pt x="84392" y="82936"/>
                  </a:cubicBezTo>
                  <a:close/>
                  <a:moveTo>
                    <a:pt x="208979" y="227811"/>
                  </a:moveTo>
                  <a:lnTo>
                    <a:pt x="98774" y="205427"/>
                  </a:lnTo>
                  <a:cubicBezTo>
                    <a:pt x="94189" y="204096"/>
                    <a:pt x="91297" y="199576"/>
                    <a:pt x="92012" y="194855"/>
                  </a:cubicBezTo>
                  <a:cubicBezTo>
                    <a:pt x="92646" y="190269"/>
                    <a:pt x="96878" y="187066"/>
                    <a:pt x="101463" y="187700"/>
                  </a:cubicBezTo>
                  <a:cubicBezTo>
                    <a:pt x="101488" y="187704"/>
                    <a:pt x="101512" y="187707"/>
                    <a:pt x="101537" y="187711"/>
                  </a:cubicBezTo>
                  <a:lnTo>
                    <a:pt x="211741" y="210095"/>
                  </a:lnTo>
                  <a:cubicBezTo>
                    <a:pt x="216326" y="211426"/>
                    <a:pt x="219218" y="215946"/>
                    <a:pt x="218503" y="220667"/>
                  </a:cubicBezTo>
                  <a:cubicBezTo>
                    <a:pt x="217869" y="225253"/>
                    <a:pt x="213637" y="228456"/>
                    <a:pt x="209052" y="227822"/>
                  </a:cubicBezTo>
                  <a:cubicBezTo>
                    <a:pt x="209027" y="227818"/>
                    <a:pt x="209003" y="227815"/>
                    <a:pt x="208978" y="227811"/>
                  </a:cubicBezTo>
                  <a:close/>
                  <a:moveTo>
                    <a:pt x="215551" y="189711"/>
                  </a:moveTo>
                  <a:lnTo>
                    <a:pt x="105347" y="166851"/>
                  </a:lnTo>
                  <a:cubicBezTo>
                    <a:pt x="100802" y="165525"/>
                    <a:pt x="97921" y="161062"/>
                    <a:pt x="98584" y="156374"/>
                  </a:cubicBezTo>
                  <a:cubicBezTo>
                    <a:pt x="99218" y="151788"/>
                    <a:pt x="103450" y="148585"/>
                    <a:pt x="108035" y="149219"/>
                  </a:cubicBezTo>
                  <a:cubicBezTo>
                    <a:pt x="108060" y="149223"/>
                    <a:pt x="108084" y="149226"/>
                    <a:pt x="108109" y="149230"/>
                  </a:cubicBezTo>
                  <a:lnTo>
                    <a:pt x="218599" y="171423"/>
                  </a:lnTo>
                  <a:cubicBezTo>
                    <a:pt x="223184" y="172754"/>
                    <a:pt x="226076" y="177275"/>
                    <a:pt x="225361" y="181996"/>
                  </a:cubicBezTo>
                  <a:cubicBezTo>
                    <a:pt x="224855" y="186597"/>
                    <a:pt x="220715" y="189918"/>
                    <a:pt x="216113" y="189412"/>
                  </a:cubicBezTo>
                  <a:cubicBezTo>
                    <a:pt x="215925" y="189391"/>
                    <a:pt x="215737" y="189364"/>
                    <a:pt x="215551" y="189330"/>
                  </a:cubicBezTo>
                  <a:close/>
                  <a:moveTo>
                    <a:pt x="222123" y="151611"/>
                  </a:moveTo>
                  <a:lnTo>
                    <a:pt x="112014" y="128370"/>
                  </a:lnTo>
                  <a:cubicBezTo>
                    <a:pt x="107390" y="127078"/>
                    <a:pt x="104451" y="122546"/>
                    <a:pt x="105156" y="117797"/>
                  </a:cubicBezTo>
                  <a:cubicBezTo>
                    <a:pt x="105790" y="113212"/>
                    <a:pt x="110022" y="110009"/>
                    <a:pt x="114608" y="110643"/>
                  </a:cubicBezTo>
                  <a:cubicBezTo>
                    <a:pt x="114632" y="110647"/>
                    <a:pt x="114657" y="110650"/>
                    <a:pt x="114681" y="110654"/>
                  </a:cubicBezTo>
                  <a:lnTo>
                    <a:pt x="225171" y="133323"/>
                  </a:lnTo>
                  <a:cubicBezTo>
                    <a:pt x="229757" y="134654"/>
                    <a:pt x="232648" y="139175"/>
                    <a:pt x="231934" y="143896"/>
                  </a:cubicBezTo>
                  <a:cubicBezTo>
                    <a:pt x="231233" y="148419"/>
                    <a:pt x="226999" y="151517"/>
                    <a:pt x="222476" y="150817"/>
                  </a:cubicBezTo>
                  <a:cubicBezTo>
                    <a:pt x="222358" y="150798"/>
                    <a:pt x="222240" y="150777"/>
                    <a:pt x="222123" y="150754"/>
                  </a:cubicBezTo>
                  <a:close/>
                  <a:moveTo>
                    <a:pt x="229076" y="111035"/>
                  </a:moveTo>
                  <a:lnTo>
                    <a:pt x="118872" y="87794"/>
                  </a:lnTo>
                  <a:cubicBezTo>
                    <a:pt x="114286" y="86463"/>
                    <a:pt x="111395" y="81942"/>
                    <a:pt x="112109" y="77221"/>
                  </a:cubicBezTo>
                  <a:cubicBezTo>
                    <a:pt x="112744" y="72635"/>
                    <a:pt x="116975" y="69432"/>
                    <a:pt x="121561" y="70067"/>
                  </a:cubicBezTo>
                  <a:cubicBezTo>
                    <a:pt x="121585" y="70070"/>
                    <a:pt x="121610" y="70074"/>
                    <a:pt x="121634" y="70077"/>
                  </a:cubicBezTo>
                  <a:lnTo>
                    <a:pt x="232124" y="92461"/>
                  </a:lnTo>
                  <a:cubicBezTo>
                    <a:pt x="236710" y="93792"/>
                    <a:pt x="239601" y="98313"/>
                    <a:pt x="238887" y="103034"/>
                  </a:cubicBezTo>
                  <a:cubicBezTo>
                    <a:pt x="238278" y="107623"/>
                    <a:pt x="234064" y="110849"/>
                    <a:pt x="229475" y="110240"/>
                  </a:cubicBezTo>
                  <a:cubicBezTo>
                    <a:pt x="229342" y="110222"/>
                    <a:pt x="229209" y="110202"/>
                    <a:pt x="229076" y="11017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0" name="Freihandform: Form 1862">
              <a:extLst>
                <a:ext uri="{FF2B5EF4-FFF2-40B4-BE49-F238E27FC236}">
                  <a16:creationId xmlns:a16="http://schemas.microsoft.com/office/drawing/2014/main" id="{78327AEF-AADB-412A-AE97-57E1E5E04DA2}"/>
                </a:ext>
              </a:extLst>
            </p:cNvPr>
            <p:cNvSpPr/>
            <p:nvPr/>
          </p:nvSpPr>
          <p:spPr>
            <a:xfrm>
              <a:off x="4695772" y="3648037"/>
              <a:ext cx="173569" cy="320516"/>
            </a:xfrm>
            <a:custGeom>
              <a:avLst/>
              <a:gdLst>
                <a:gd name="connsiteX0" fmla="*/ 7920 w 173569"/>
                <a:gd name="connsiteY0" fmla="*/ 0 h 320516"/>
                <a:gd name="connsiteX1" fmla="*/ 137555 w 173569"/>
                <a:gd name="connsiteY1" fmla="*/ 234029 h 320516"/>
                <a:gd name="connsiteX2" fmla="*/ 44210 w 173569"/>
                <a:gd name="connsiteY2" fmla="*/ 78105 h 320516"/>
                <a:gd name="connsiteX3" fmla="*/ 148985 w 173569"/>
                <a:gd name="connsiteY3" fmla="*/ 229267 h 320516"/>
                <a:gd name="connsiteX4" fmla="*/ 148985 w 173569"/>
                <a:gd name="connsiteY4" fmla="*/ 229267 h 320516"/>
                <a:gd name="connsiteX5" fmla="*/ 123839 w 173569"/>
                <a:gd name="connsiteY5" fmla="*/ 307753 h 320516"/>
                <a:gd name="connsiteX6" fmla="*/ 136984 w 173569"/>
                <a:gd name="connsiteY6" fmla="*/ 320516 h 320516"/>
                <a:gd name="connsiteX7" fmla="*/ 158320 w 173569"/>
                <a:gd name="connsiteY7" fmla="*/ 223647 h 320516"/>
                <a:gd name="connsiteX8" fmla="*/ 158320 w 173569"/>
                <a:gd name="connsiteY8" fmla="*/ 223647 h 320516"/>
                <a:gd name="connsiteX9" fmla="*/ 7920 w 173569"/>
                <a:gd name="connsiteY9" fmla="*/ 0 h 320516"/>
                <a:gd name="connsiteX10" fmla="*/ 157558 w 173569"/>
                <a:gd name="connsiteY10" fmla="*/ 221456 h 320516"/>
                <a:gd name="connsiteX11" fmla="*/ 158034 w 173569"/>
                <a:gd name="connsiteY11" fmla="*/ 222409 h 320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3569" h="320516">
                  <a:moveTo>
                    <a:pt x="7920" y="0"/>
                  </a:moveTo>
                  <a:cubicBezTo>
                    <a:pt x="681" y="62960"/>
                    <a:pt x="-34847" y="276225"/>
                    <a:pt x="137555" y="234029"/>
                  </a:cubicBezTo>
                  <a:cubicBezTo>
                    <a:pt x="124887" y="225838"/>
                    <a:pt x="49830" y="172784"/>
                    <a:pt x="44210" y="78105"/>
                  </a:cubicBezTo>
                  <a:cubicBezTo>
                    <a:pt x="48973" y="79915"/>
                    <a:pt x="63260" y="175450"/>
                    <a:pt x="148985" y="229267"/>
                  </a:cubicBezTo>
                  <a:lnTo>
                    <a:pt x="148985" y="229267"/>
                  </a:lnTo>
                  <a:cubicBezTo>
                    <a:pt x="175465" y="294418"/>
                    <a:pt x="126602" y="308420"/>
                    <a:pt x="123839" y="307753"/>
                  </a:cubicBezTo>
                  <a:cubicBezTo>
                    <a:pt x="121077" y="307086"/>
                    <a:pt x="136984" y="320516"/>
                    <a:pt x="136984" y="320516"/>
                  </a:cubicBezTo>
                  <a:cubicBezTo>
                    <a:pt x="182513" y="282416"/>
                    <a:pt x="166511" y="239268"/>
                    <a:pt x="158320" y="223647"/>
                  </a:cubicBezTo>
                  <a:lnTo>
                    <a:pt x="158320" y="223647"/>
                  </a:lnTo>
                  <a:cubicBezTo>
                    <a:pt x="207659" y="115157"/>
                    <a:pt x="131936" y="68294"/>
                    <a:pt x="7920" y="0"/>
                  </a:cubicBezTo>
                  <a:close/>
                  <a:moveTo>
                    <a:pt x="157558" y="221456"/>
                  </a:moveTo>
                  <a:cubicBezTo>
                    <a:pt x="158034" y="220790"/>
                    <a:pt x="158034" y="221456"/>
                    <a:pt x="158034" y="22240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101" name="Grafik 95">
            <a:extLst>
              <a:ext uri="{FF2B5EF4-FFF2-40B4-BE49-F238E27FC236}">
                <a16:creationId xmlns:a16="http://schemas.microsoft.com/office/drawing/2014/main" id="{E6E9DACC-933A-46DB-BABE-0CB441123F4B}"/>
              </a:ext>
            </a:extLst>
          </p:cNvPr>
          <p:cNvSpPr/>
          <p:nvPr/>
        </p:nvSpPr>
        <p:spPr>
          <a:xfrm>
            <a:off x="3583246" y="1322358"/>
            <a:ext cx="578983" cy="417618"/>
          </a:xfrm>
          <a:custGeom>
            <a:avLst/>
            <a:gdLst>
              <a:gd name="connsiteX0" fmla="*/ 428625 w 493394"/>
              <a:gd name="connsiteY0" fmla="*/ 102584 h 355883"/>
              <a:gd name="connsiteX1" fmla="*/ 320802 w 493394"/>
              <a:gd name="connsiteY1" fmla="*/ 310134 h 355883"/>
              <a:gd name="connsiteX2" fmla="*/ 0 w 493394"/>
              <a:gd name="connsiteY2" fmla="*/ 295275 h 355883"/>
              <a:gd name="connsiteX3" fmla="*/ 351473 w 493394"/>
              <a:gd name="connsiteY3" fmla="*/ 101632 h 355883"/>
              <a:gd name="connsiteX4" fmla="*/ 334042 w 493394"/>
              <a:gd name="connsiteY4" fmla="*/ 119444 h 355883"/>
              <a:gd name="connsiteX5" fmla="*/ 316516 w 493394"/>
              <a:gd name="connsiteY5" fmla="*/ 136398 h 355883"/>
              <a:gd name="connsiteX6" fmla="*/ 286226 w 493394"/>
              <a:gd name="connsiteY6" fmla="*/ 105728 h 355883"/>
              <a:gd name="connsiteX7" fmla="*/ 314325 w 493394"/>
              <a:gd name="connsiteY7" fmla="*/ 77153 h 355883"/>
              <a:gd name="connsiteX8" fmla="*/ 359093 w 493394"/>
              <a:gd name="connsiteY8" fmla="*/ 31623 h 355883"/>
              <a:gd name="connsiteX9" fmla="*/ 389382 w 493394"/>
              <a:gd name="connsiteY9" fmla="*/ 762 h 355883"/>
              <a:gd name="connsiteX10" fmla="*/ 389382 w 493394"/>
              <a:gd name="connsiteY10" fmla="*/ 0 h 355883"/>
              <a:gd name="connsiteX11" fmla="*/ 493395 w 493394"/>
              <a:gd name="connsiteY11" fmla="*/ 105728 h 355883"/>
              <a:gd name="connsiteX12" fmla="*/ 463010 w 493394"/>
              <a:gd name="connsiteY12" fmla="*/ 137351 h 3558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93394" h="355883">
                <a:moveTo>
                  <a:pt x="428625" y="102584"/>
                </a:moveTo>
                <a:cubicBezTo>
                  <a:pt x="424815" y="139637"/>
                  <a:pt x="405098" y="249174"/>
                  <a:pt x="320802" y="310134"/>
                </a:cubicBezTo>
                <a:cubicBezTo>
                  <a:pt x="217837" y="384239"/>
                  <a:pt x="75152" y="360331"/>
                  <a:pt x="0" y="295275"/>
                </a:cubicBezTo>
                <a:cubicBezTo>
                  <a:pt x="0" y="295275"/>
                  <a:pt x="283178" y="445008"/>
                  <a:pt x="351473" y="101632"/>
                </a:cubicBezTo>
                <a:lnTo>
                  <a:pt x="334042" y="119444"/>
                </a:lnTo>
                <a:lnTo>
                  <a:pt x="316516" y="136398"/>
                </a:lnTo>
                <a:lnTo>
                  <a:pt x="286226" y="105728"/>
                </a:lnTo>
                <a:lnTo>
                  <a:pt x="314325" y="77153"/>
                </a:lnTo>
                <a:lnTo>
                  <a:pt x="359093" y="31623"/>
                </a:lnTo>
                <a:lnTo>
                  <a:pt x="389382" y="762"/>
                </a:lnTo>
                <a:lnTo>
                  <a:pt x="389382" y="0"/>
                </a:lnTo>
                <a:lnTo>
                  <a:pt x="493395" y="105728"/>
                </a:lnTo>
                <a:lnTo>
                  <a:pt x="463010" y="137351"/>
                </a:ln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3" name="Grafik 104">
            <a:extLst>
              <a:ext uri="{FF2B5EF4-FFF2-40B4-BE49-F238E27FC236}">
                <a16:creationId xmlns:a16="http://schemas.microsoft.com/office/drawing/2014/main" id="{08A56995-46C5-48C5-BDF9-A1BC9C964F76}"/>
              </a:ext>
            </a:extLst>
          </p:cNvPr>
          <p:cNvSpPr/>
          <p:nvPr/>
        </p:nvSpPr>
        <p:spPr>
          <a:xfrm>
            <a:off x="4378593" y="1324380"/>
            <a:ext cx="575183" cy="413574"/>
          </a:xfrm>
          <a:custGeom>
            <a:avLst/>
            <a:gdLst>
              <a:gd name="connsiteX0" fmla="*/ 30861 w 490156"/>
              <a:gd name="connsiteY0" fmla="*/ 217182 h 352437"/>
              <a:gd name="connsiteX1" fmla="*/ 64484 w 490156"/>
              <a:gd name="connsiteY1" fmla="*/ 251377 h 352437"/>
              <a:gd name="connsiteX2" fmla="*/ 172022 w 490156"/>
              <a:gd name="connsiteY2" fmla="*/ 45256 h 352437"/>
              <a:gd name="connsiteX3" fmla="*/ 490157 w 490156"/>
              <a:gd name="connsiteY3" fmla="*/ 59829 h 352437"/>
              <a:gd name="connsiteX4" fmla="*/ 141161 w 490156"/>
              <a:gd name="connsiteY4" fmla="*/ 252139 h 352437"/>
              <a:gd name="connsiteX5" fmla="*/ 159068 w 490156"/>
              <a:gd name="connsiteY5" fmla="*/ 234613 h 352437"/>
              <a:gd name="connsiteX6" fmla="*/ 175546 w 490156"/>
              <a:gd name="connsiteY6" fmla="*/ 217944 h 352437"/>
              <a:gd name="connsiteX7" fmla="*/ 206407 w 490156"/>
              <a:gd name="connsiteY7" fmla="*/ 248519 h 352437"/>
              <a:gd name="connsiteX8" fmla="*/ 178403 w 490156"/>
              <a:gd name="connsiteY8" fmla="*/ 277094 h 352437"/>
              <a:gd name="connsiteX9" fmla="*/ 134017 w 490156"/>
              <a:gd name="connsiteY9" fmla="*/ 322243 h 352437"/>
              <a:gd name="connsiteX10" fmla="*/ 103918 w 490156"/>
              <a:gd name="connsiteY10" fmla="*/ 352437 h 352437"/>
              <a:gd name="connsiteX11" fmla="*/ 103156 w 490156"/>
              <a:gd name="connsiteY11" fmla="*/ 352437 h 352437"/>
              <a:gd name="connsiteX12" fmla="*/ 0 w 490156"/>
              <a:gd name="connsiteY12" fmla="*/ 247662 h 352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90156" h="352437">
                <a:moveTo>
                  <a:pt x="30861" y="217182"/>
                </a:moveTo>
                <a:lnTo>
                  <a:pt x="64484" y="251377"/>
                </a:lnTo>
                <a:cubicBezTo>
                  <a:pt x="68771" y="214991"/>
                  <a:pt x="87440" y="105740"/>
                  <a:pt x="172022" y="45256"/>
                </a:cubicBezTo>
                <a:cubicBezTo>
                  <a:pt x="273749" y="-27610"/>
                  <a:pt x="415671" y="-4941"/>
                  <a:pt x="490157" y="59829"/>
                </a:cubicBezTo>
                <a:cubicBezTo>
                  <a:pt x="490157" y="59829"/>
                  <a:pt x="209264" y="-88761"/>
                  <a:pt x="141161" y="252139"/>
                </a:cubicBezTo>
                <a:lnTo>
                  <a:pt x="159068" y="234613"/>
                </a:lnTo>
                <a:lnTo>
                  <a:pt x="175546" y="217944"/>
                </a:lnTo>
                <a:lnTo>
                  <a:pt x="206407" y="248519"/>
                </a:lnTo>
                <a:lnTo>
                  <a:pt x="178403" y="277094"/>
                </a:lnTo>
                <a:lnTo>
                  <a:pt x="134017" y="322243"/>
                </a:lnTo>
                <a:lnTo>
                  <a:pt x="103918" y="352437"/>
                </a:lnTo>
                <a:lnTo>
                  <a:pt x="103156" y="352437"/>
                </a:lnTo>
                <a:lnTo>
                  <a:pt x="0" y="247662"/>
                </a:ln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4" name="Grafik 3">
            <a:extLst>
              <a:ext uri="{FF2B5EF4-FFF2-40B4-BE49-F238E27FC236}">
                <a16:creationId xmlns:a16="http://schemas.microsoft.com/office/drawing/2014/main" id="{A589ABCD-C5A2-4E8F-834C-C3FD827307CC}"/>
              </a:ext>
            </a:extLst>
          </p:cNvPr>
          <p:cNvSpPr/>
          <p:nvPr/>
        </p:nvSpPr>
        <p:spPr>
          <a:xfrm>
            <a:off x="5170141" y="1295924"/>
            <a:ext cx="460058" cy="470485"/>
          </a:xfrm>
          <a:custGeom>
            <a:avLst/>
            <a:gdLst>
              <a:gd name="connsiteX0" fmla="*/ 392049 w 392049"/>
              <a:gd name="connsiteY0" fmla="*/ 210122 h 400935"/>
              <a:gd name="connsiteX1" fmla="*/ 392049 w 392049"/>
              <a:gd name="connsiteY1" fmla="*/ 286798 h 400935"/>
              <a:gd name="connsiteX2" fmla="*/ 360236 w 392049"/>
              <a:gd name="connsiteY2" fmla="*/ 296323 h 400935"/>
              <a:gd name="connsiteX3" fmla="*/ 339757 w 392049"/>
              <a:gd name="connsiteY3" fmla="*/ 326231 h 400935"/>
              <a:gd name="connsiteX4" fmla="*/ 288703 w 392049"/>
              <a:gd name="connsiteY4" fmla="*/ 395192 h 400935"/>
              <a:gd name="connsiteX5" fmla="*/ 187643 w 392049"/>
              <a:gd name="connsiteY5" fmla="*/ 400050 h 400935"/>
              <a:gd name="connsiteX6" fmla="*/ 149543 w 392049"/>
              <a:gd name="connsiteY6" fmla="*/ 391859 h 400935"/>
              <a:gd name="connsiteX7" fmla="*/ 130493 w 392049"/>
              <a:gd name="connsiteY7" fmla="*/ 388525 h 400935"/>
              <a:gd name="connsiteX8" fmla="*/ 100108 w 392049"/>
              <a:gd name="connsiteY8" fmla="*/ 376428 h 400935"/>
              <a:gd name="connsiteX9" fmla="*/ 90583 w 392049"/>
              <a:gd name="connsiteY9" fmla="*/ 365855 h 400935"/>
              <a:gd name="connsiteX10" fmla="*/ 93917 w 392049"/>
              <a:gd name="connsiteY10" fmla="*/ 358331 h 400935"/>
              <a:gd name="connsiteX11" fmla="*/ 112967 w 392049"/>
              <a:gd name="connsiteY11" fmla="*/ 353473 h 400935"/>
              <a:gd name="connsiteX12" fmla="*/ 146304 w 392049"/>
              <a:gd name="connsiteY12" fmla="*/ 362045 h 400935"/>
              <a:gd name="connsiteX13" fmla="*/ 191548 w 392049"/>
              <a:gd name="connsiteY13" fmla="*/ 360712 h 400935"/>
              <a:gd name="connsiteX14" fmla="*/ 213360 w 392049"/>
              <a:gd name="connsiteY14" fmla="*/ 357473 h 400935"/>
              <a:gd name="connsiteX15" fmla="*/ 215360 w 392049"/>
              <a:gd name="connsiteY15" fmla="*/ 374904 h 400935"/>
              <a:gd name="connsiteX16" fmla="*/ 227743 w 392049"/>
              <a:gd name="connsiteY16" fmla="*/ 382143 h 400935"/>
              <a:gd name="connsiteX17" fmla="*/ 238125 w 392049"/>
              <a:gd name="connsiteY17" fmla="*/ 379190 h 400935"/>
              <a:gd name="connsiteX18" fmla="*/ 260509 w 392049"/>
              <a:gd name="connsiteY18" fmla="*/ 363093 h 400935"/>
              <a:gd name="connsiteX19" fmla="*/ 307277 w 392049"/>
              <a:gd name="connsiteY19" fmla="*/ 325850 h 400935"/>
              <a:gd name="connsiteX20" fmla="*/ 284702 w 392049"/>
              <a:gd name="connsiteY20" fmla="*/ 343091 h 400935"/>
              <a:gd name="connsiteX21" fmla="*/ 264224 w 392049"/>
              <a:gd name="connsiteY21" fmla="*/ 357188 h 400935"/>
              <a:gd name="connsiteX22" fmla="*/ 243935 w 392049"/>
              <a:gd name="connsiteY22" fmla="*/ 370427 h 400935"/>
              <a:gd name="connsiteX23" fmla="*/ 216694 w 392049"/>
              <a:gd name="connsiteY23" fmla="*/ 369284 h 400935"/>
              <a:gd name="connsiteX24" fmla="*/ 229553 w 392049"/>
              <a:gd name="connsiteY24" fmla="*/ 333375 h 400935"/>
              <a:gd name="connsiteX25" fmla="*/ 273749 w 392049"/>
              <a:gd name="connsiteY25" fmla="*/ 277559 h 400935"/>
              <a:gd name="connsiteX26" fmla="*/ 293846 w 392049"/>
              <a:gd name="connsiteY26" fmla="*/ 228600 h 400935"/>
              <a:gd name="connsiteX27" fmla="*/ 349187 w 392049"/>
              <a:gd name="connsiteY27" fmla="*/ 210217 h 400935"/>
              <a:gd name="connsiteX28" fmla="*/ 392049 w 392049"/>
              <a:gd name="connsiteY28" fmla="*/ 210122 h 400935"/>
              <a:gd name="connsiteX29" fmla="*/ 98203 w 392049"/>
              <a:gd name="connsiteY29" fmla="*/ 172022 h 400935"/>
              <a:gd name="connsiteX30" fmla="*/ 118301 w 392049"/>
              <a:gd name="connsiteY30" fmla="*/ 123825 h 400935"/>
              <a:gd name="connsiteX31" fmla="*/ 162497 w 392049"/>
              <a:gd name="connsiteY31" fmla="*/ 68009 h 400935"/>
              <a:gd name="connsiteX32" fmla="*/ 175546 w 392049"/>
              <a:gd name="connsiteY32" fmla="*/ 31909 h 400935"/>
              <a:gd name="connsiteX33" fmla="*/ 148304 w 392049"/>
              <a:gd name="connsiteY33" fmla="*/ 30671 h 400935"/>
              <a:gd name="connsiteX34" fmla="*/ 128016 w 392049"/>
              <a:gd name="connsiteY34" fmla="*/ 43910 h 400935"/>
              <a:gd name="connsiteX35" fmla="*/ 107537 w 392049"/>
              <a:gd name="connsiteY35" fmla="*/ 58007 h 400935"/>
              <a:gd name="connsiteX36" fmla="*/ 84963 w 392049"/>
              <a:gd name="connsiteY36" fmla="*/ 75248 h 400935"/>
              <a:gd name="connsiteX37" fmla="*/ 131636 w 392049"/>
              <a:gd name="connsiteY37" fmla="*/ 38100 h 400935"/>
              <a:gd name="connsiteX38" fmla="*/ 154115 w 392049"/>
              <a:gd name="connsiteY38" fmla="*/ 21908 h 400935"/>
              <a:gd name="connsiteX39" fmla="*/ 164211 w 392049"/>
              <a:gd name="connsiteY39" fmla="*/ 19050 h 400935"/>
              <a:gd name="connsiteX40" fmla="*/ 176594 w 392049"/>
              <a:gd name="connsiteY40" fmla="*/ 26289 h 400935"/>
              <a:gd name="connsiteX41" fmla="*/ 178594 w 392049"/>
              <a:gd name="connsiteY41" fmla="*/ 43720 h 400935"/>
              <a:gd name="connsiteX42" fmla="*/ 200025 w 392049"/>
              <a:gd name="connsiteY42" fmla="*/ 40196 h 400935"/>
              <a:gd name="connsiteX43" fmla="*/ 245269 w 392049"/>
              <a:gd name="connsiteY43" fmla="*/ 38862 h 400935"/>
              <a:gd name="connsiteX44" fmla="*/ 278606 w 392049"/>
              <a:gd name="connsiteY44" fmla="*/ 47435 h 400935"/>
              <a:gd name="connsiteX45" fmla="*/ 297656 w 392049"/>
              <a:gd name="connsiteY45" fmla="*/ 42577 h 400935"/>
              <a:gd name="connsiteX46" fmla="*/ 301085 w 392049"/>
              <a:gd name="connsiteY46" fmla="*/ 35052 h 400935"/>
              <a:gd name="connsiteX47" fmla="*/ 291560 w 392049"/>
              <a:gd name="connsiteY47" fmla="*/ 24479 h 400935"/>
              <a:gd name="connsiteX48" fmla="*/ 261842 w 392049"/>
              <a:gd name="connsiteY48" fmla="*/ 12383 h 400935"/>
              <a:gd name="connsiteX49" fmla="*/ 242792 w 392049"/>
              <a:gd name="connsiteY49" fmla="*/ 9049 h 400935"/>
              <a:gd name="connsiteX50" fmla="*/ 204692 w 392049"/>
              <a:gd name="connsiteY50" fmla="*/ 857 h 400935"/>
              <a:gd name="connsiteX51" fmla="*/ 103632 w 392049"/>
              <a:gd name="connsiteY51" fmla="*/ 5715 h 400935"/>
              <a:gd name="connsiteX52" fmla="*/ 52292 w 392049"/>
              <a:gd name="connsiteY52" fmla="*/ 74676 h 400935"/>
              <a:gd name="connsiteX53" fmla="*/ 31814 w 392049"/>
              <a:gd name="connsiteY53" fmla="*/ 104775 h 400935"/>
              <a:gd name="connsiteX54" fmla="*/ 0 w 392049"/>
              <a:gd name="connsiteY54" fmla="*/ 114300 h 400935"/>
              <a:gd name="connsiteX55" fmla="*/ 0 w 392049"/>
              <a:gd name="connsiteY55" fmla="*/ 190500 h 400935"/>
              <a:gd name="connsiteX56" fmla="*/ 42863 w 392049"/>
              <a:gd name="connsiteY56" fmla="*/ 190500 h 400935"/>
              <a:gd name="connsiteX57" fmla="*/ 98203 w 392049"/>
              <a:gd name="connsiteY57" fmla="*/ 172403 h 400935"/>
              <a:gd name="connsiteX58" fmla="*/ 241078 w 392049"/>
              <a:gd name="connsiteY58" fmla="*/ 208693 h 400935"/>
              <a:gd name="connsiteX59" fmla="*/ 241078 w 392049"/>
              <a:gd name="connsiteY59" fmla="*/ 148685 h 400935"/>
              <a:gd name="connsiteX60" fmla="*/ 219973 w 392049"/>
              <a:gd name="connsiteY60" fmla="*/ 122789 h 400935"/>
              <a:gd name="connsiteX61" fmla="*/ 218408 w 392049"/>
              <a:gd name="connsiteY61" fmla="*/ 122682 h 400935"/>
              <a:gd name="connsiteX62" fmla="*/ 174403 w 392049"/>
              <a:gd name="connsiteY62" fmla="*/ 122682 h 400935"/>
              <a:gd name="connsiteX63" fmla="*/ 150844 w 392049"/>
              <a:gd name="connsiteY63" fmla="*/ 148049 h 400935"/>
              <a:gd name="connsiteX64" fmla="*/ 150876 w 392049"/>
              <a:gd name="connsiteY64" fmla="*/ 148685 h 400935"/>
              <a:gd name="connsiteX65" fmla="*/ 150876 w 392049"/>
              <a:gd name="connsiteY65" fmla="*/ 209550 h 400935"/>
              <a:gd name="connsiteX66" fmla="*/ 158048 w 392049"/>
              <a:gd name="connsiteY66" fmla="*/ 218476 h 400935"/>
              <a:gd name="connsiteX67" fmla="*/ 166973 w 392049"/>
              <a:gd name="connsiteY67" fmla="*/ 211304 h 400935"/>
              <a:gd name="connsiteX68" fmla="*/ 166973 w 392049"/>
              <a:gd name="connsiteY68" fmla="*/ 209550 h 400935"/>
              <a:gd name="connsiteX69" fmla="*/ 166973 w 392049"/>
              <a:gd name="connsiteY69" fmla="*/ 149733 h 400935"/>
              <a:gd name="connsiteX70" fmla="*/ 172212 w 392049"/>
              <a:gd name="connsiteY70" fmla="*/ 149733 h 400935"/>
              <a:gd name="connsiteX71" fmla="*/ 172212 w 392049"/>
              <a:gd name="connsiteY71" fmla="*/ 310706 h 400935"/>
              <a:gd name="connsiteX72" fmla="*/ 182007 w 392049"/>
              <a:gd name="connsiteY72" fmla="*/ 322532 h 400935"/>
              <a:gd name="connsiteX73" fmla="*/ 193834 w 392049"/>
              <a:gd name="connsiteY73" fmla="*/ 312737 h 400935"/>
              <a:gd name="connsiteX74" fmla="*/ 193834 w 392049"/>
              <a:gd name="connsiteY74" fmla="*/ 310706 h 400935"/>
              <a:gd name="connsiteX75" fmla="*/ 193834 w 392049"/>
              <a:gd name="connsiteY75" fmla="*/ 217837 h 400935"/>
              <a:gd name="connsiteX76" fmla="*/ 199263 w 392049"/>
              <a:gd name="connsiteY76" fmla="*/ 217837 h 400935"/>
              <a:gd name="connsiteX77" fmla="*/ 199263 w 392049"/>
              <a:gd name="connsiteY77" fmla="*/ 310706 h 400935"/>
              <a:gd name="connsiteX78" fmla="*/ 208967 w 392049"/>
              <a:gd name="connsiteY78" fmla="*/ 322433 h 400935"/>
              <a:gd name="connsiteX79" fmla="*/ 220694 w 392049"/>
              <a:gd name="connsiteY79" fmla="*/ 312728 h 400935"/>
              <a:gd name="connsiteX80" fmla="*/ 220694 w 392049"/>
              <a:gd name="connsiteY80" fmla="*/ 310706 h 400935"/>
              <a:gd name="connsiteX81" fmla="*/ 220694 w 392049"/>
              <a:gd name="connsiteY81" fmla="*/ 149733 h 400935"/>
              <a:gd name="connsiteX82" fmla="*/ 226124 w 392049"/>
              <a:gd name="connsiteY82" fmla="*/ 149733 h 400935"/>
              <a:gd name="connsiteX83" fmla="*/ 226124 w 392049"/>
              <a:gd name="connsiteY83" fmla="*/ 209550 h 400935"/>
              <a:gd name="connsiteX84" fmla="*/ 232447 w 392049"/>
              <a:gd name="connsiteY84" fmla="*/ 218276 h 400935"/>
              <a:gd name="connsiteX85" fmla="*/ 241173 w 392049"/>
              <a:gd name="connsiteY85" fmla="*/ 211952 h 400935"/>
              <a:gd name="connsiteX86" fmla="*/ 241173 w 392049"/>
              <a:gd name="connsiteY86" fmla="*/ 209550 h 400935"/>
              <a:gd name="connsiteX87" fmla="*/ 215932 w 392049"/>
              <a:gd name="connsiteY87" fmla="*/ 98393 h 400935"/>
              <a:gd name="connsiteX88" fmla="*/ 196025 w 392049"/>
              <a:gd name="connsiteY88" fmla="*/ 78296 h 400935"/>
              <a:gd name="connsiteX89" fmla="*/ 175927 w 392049"/>
              <a:gd name="connsiteY89" fmla="*/ 98203 h 400935"/>
              <a:gd name="connsiteX90" fmla="*/ 195834 w 392049"/>
              <a:gd name="connsiteY90" fmla="*/ 118301 h 400935"/>
              <a:gd name="connsiteX91" fmla="*/ 196025 w 392049"/>
              <a:gd name="connsiteY91" fmla="*/ 118301 h 400935"/>
              <a:gd name="connsiteX92" fmla="*/ 215932 w 392049"/>
              <a:gd name="connsiteY92" fmla="*/ 98393 h 4009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</a:cxnLst>
            <a:rect l="l" t="t" r="r" b="b"/>
            <a:pathLst>
              <a:path w="392049" h="400935">
                <a:moveTo>
                  <a:pt x="392049" y="210122"/>
                </a:moveTo>
                <a:lnTo>
                  <a:pt x="392049" y="286798"/>
                </a:lnTo>
                <a:cubicBezTo>
                  <a:pt x="380946" y="287972"/>
                  <a:pt x="370157" y="291202"/>
                  <a:pt x="360236" y="296323"/>
                </a:cubicBezTo>
                <a:cubicBezTo>
                  <a:pt x="350345" y="303806"/>
                  <a:pt x="343157" y="314304"/>
                  <a:pt x="339757" y="326231"/>
                </a:cubicBezTo>
                <a:cubicBezTo>
                  <a:pt x="339757" y="326231"/>
                  <a:pt x="316325" y="392906"/>
                  <a:pt x="288703" y="395192"/>
                </a:cubicBezTo>
                <a:cubicBezTo>
                  <a:pt x="261080" y="397478"/>
                  <a:pt x="194501" y="403098"/>
                  <a:pt x="187643" y="400050"/>
                </a:cubicBezTo>
                <a:cubicBezTo>
                  <a:pt x="175237" y="396094"/>
                  <a:pt x="162478" y="393351"/>
                  <a:pt x="149543" y="391859"/>
                </a:cubicBezTo>
                <a:cubicBezTo>
                  <a:pt x="143121" y="391202"/>
                  <a:pt x="136755" y="390088"/>
                  <a:pt x="130493" y="388525"/>
                </a:cubicBezTo>
                <a:cubicBezTo>
                  <a:pt x="130493" y="388525"/>
                  <a:pt x="107156" y="379000"/>
                  <a:pt x="100108" y="376428"/>
                </a:cubicBezTo>
                <a:cubicBezTo>
                  <a:pt x="93059" y="373856"/>
                  <a:pt x="90583" y="369380"/>
                  <a:pt x="90583" y="365855"/>
                </a:cubicBezTo>
                <a:cubicBezTo>
                  <a:pt x="91132" y="363134"/>
                  <a:pt x="92270" y="360566"/>
                  <a:pt x="93917" y="358331"/>
                </a:cubicBezTo>
                <a:cubicBezTo>
                  <a:pt x="99463" y="354446"/>
                  <a:pt x="106237" y="352719"/>
                  <a:pt x="112967" y="353473"/>
                </a:cubicBezTo>
                <a:cubicBezTo>
                  <a:pt x="124420" y="354787"/>
                  <a:pt x="135637" y="357672"/>
                  <a:pt x="146304" y="362045"/>
                </a:cubicBezTo>
                <a:cubicBezTo>
                  <a:pt x="161321" y="360324"/>
                  <a:pt x="176456" y="359878"/>
                  <a:pt x="191548" y="360712"/>
                </a:cubicBezTo>
                <a:cubicBezTo>
                  <a:pt x="198566" y="358334"/>
                  <a:pt x="205954" y="357237"/>
                  <a:pt x="213360" y="357473"/>
                </a:cubicBezTo>
                <a:cubicBezTo>
                  <a:pt x="211169" y="370237"/>
                  <a:pt x="215360" y="374904"/>
                  <a:pt x="215360" y="374904"/>
                </a:cubicBezTo>
                <a:cubicBezTo>
                  <a:pt x="218587" y="378604"/>
                  <a:pt x="222936" y="381147"/>
                  <a:pt x="227743" y="382143"/>
                </a:cubicBezTo>
                <a:cubicBezTo>
                  <a:pt x="231444" y="382424"/>
                  <a:pt x="235125" y="381377"/>
                  <a:pt x="238125" y="379190"/>
                </a:cubicBezTo>
                <a:cubicBezTo>
                  <a:pt x="245144" y="373235"/>
                  <a:pt x="252629" y="367852"/>
                  <a:pt x="260509" y="363093"/>
                </a:cubicBezTo>
                <a:cubicBezTo>
                  <a:pt x="270034" y="357664"/>
                  <a:pt x="307277" y="325850"/>
                  <a:pt x="307277" y="325850"/>
                </a:cubicBezTo>
                <a:cubicBezTo>
                  <a:pt x="307277" y="325850"/>
                  <a:pt x="286703" y="341090"/>
                  <a:pt x="284702" y="343091"/>
                </a:cubicBezTo>
                <a:cubicBezTo>
                  <a:pt x="278130" y="348148"/>
                  <a:pt x="271294" y="352854"/>
                  <a:pt x="264224" y="357188"/>
                </a:cubicBezTo>
                <a:cubicBezTo>
                  <a:pt x="261366" y="358712"/>
                  <a:pt x="243935" y="370427"/>
                  <a:pt x="243935" y="370427"/>
                </a:cubicBezTo>
                <a:cubicBezTo>
                  <a:pt x="237649" y="377857"/>
                  <a:pt x="222218" y="386334"/>
                  <a:pt x="216694" y="369284"/>
                </a:cubicBezTo>
                <a:cubicBezTo>
                  <a:pt x="211169" y="352235"/>
                  <a:pt x="229553" y="333375"/>
                  <a:pt x="229553" y="333375"/>
                </a:cubicBezTo>
                <a:cubicBezTo>
                  <a:pt x="229553" y="333375"/>
                  <a:pt x="268700" y="316230"/>
                  <a:pt x="273749" y="277559"/>
                </a:cubicBezTo>
                <a:cubicBezTo>
                  <a:pt x="278797" y="238887"/>
                  <a:pt x="293846" y="228600"/>
                  <a:pt x="293846" y="228600"/>
                </a:cubicBezTo>
                <a:cubicBezTo>
                  <a:pt x="293846" y="228600"/>
                  <a:pt x="317945" y="203454"/>
                  <a:pt x="349187" y="210217"/>
                </a:cubicBezTo>
                <a:cubicBezTo>
                  <a:pt x="380429" y="216980"/>
                  <a:pt x="392049" y="210122"/>
                  <a:pt x="392049" y="210122"/>
                </a:cubicBezTo>
                <a:close/>
                <a:moveTo>
                  <a:pt x="98203" y="172022"/>
                </a:moveTo>
                <a:cubicBezTo>
                  <a:pt x="98203" y="172022"/>
                  <a:pt x="113252" y="161925"/>
                  <a:pt x="118301" y="123825"/>
                </a:cubicBezTo>
                <a:cubicBezTo>
                  <a:pt x="123349" y="85725"/>
                  <a:pt x="162497" y="68009"/>
                  <a:pt x="162497" y="68009"/>
                </a:cubicBezTo>
                <a:cubicBezTo>
                  <a:pt x="162497" y="68009"/>
                  <a:pt x="181547" y="48959"/>
                  <a:pt x="175546" y="31909"/>
                </a:cubicBezTo>
                <a:cubicBezTo>
                  <a:pt x="169545" y="14859"/>
                  <a:pt x="154591" y="23241"/>
                  <a:pt x="148304" y="30671"/>
                </a:cubicBezTo>
                <a:cubicBezTo>
                  <a:pt x="148304" y="30671"/>
                  <a:pt x="130874" y="42386"/>
                  <a:pt x="128016" y="43910"/>
                </a:cubicBezTo>
                <a:cubicBezTo>
                  <a:pt x="120945" y="48244"/>
                  <a:pt x="114110" y="52950"/>
                  <a:pt x="107537" y="58007"/>
                </a:cubicBezTo>
                <a:cubicBezTo>
                  <a:pt x="105537" y="60008"/>
                  <a:pt x="84963" y="75248"/>
                  <a:pt x="84963" y="75248"/>
                </a:cubicBezTo>
                <a:cubicBezTo>
                  <a:pt x="84963" y="75248"/>
                  <a:pt x="121920" y="43244"/>
                  <a:pt x="131636" y="38100"/>
                </a:cubicBezTo>
                <a:cubicBezTo>
                  <a:pt x="139527" y="33278"/>
                  <a:pt x="147041" y="27865"/>
                  <a:pt x="154115" y="21908"/>
                </a:cubicBezTo>
                <a:cubicBezTo>
                  <a:pt x="157039" y="19797"/>
                  <a:pt x="160614" y="18786"/>
                  <a:pt x="164211" y="19050"/>
                </a:cubicBezTo>
                <a:cubicBezTo>
                  <a:pt x="169003" y="20085"/>
                  <a:pt x="173341" y="22621"/>
                  <a:pt x="176594" y="26289"/>
                </a:cubicBezTo>
                <a:cubicBezTo>
                  <a:pt x="176594" y="26289"/>
                  <a:pt x="180785" y="30956"/>
                  <a:pt x="178594" y="43720"/>
                </a:cubicBezTo>
                <a:cubicBezTo>
                  <a:pt x="185890" y="43827"/>
                  <a:pt x="193147" y="42634"/>
                  <a:pt x="200025" y="40196"/>
                </a:cubicBezTo>
                <a:cubicBezTo>
                  <a:pt x="215117" y="41029"/>
                  <a:pt x="230252" y="40583"/>
                  <a:pt x="245269" y="38862"/>
                </a:cubicBezTo>
                <a:cubicBezTo>
                  <a:pt x="255924" y="43268"/>
                  <a:pt x="267147" y="46154"/>
                  <a:pt x="278606" y="47435"/>
                </a:cubicBezTo>
                <a:cubicBezTo>
                  <a:pt x="285338" y="48215"/>
                  <a:pt x="292121" y="46486"/>
                  <a:pt x="297656" y="42577"/>
                </a:cubicBezTo>
                <a:cubicBezTo>
                  <a:pt x="299336" y="40350"/>
                  <a:pt x="300507" y="37781"/>
                  <a:pt x="301085" y="35052"/>
                </a:cubicBezTo>
                <a:cubicBezTo>
                  <a:pt x="301085" y="31528"/>
                  <a:pt x="298514" y="27146"/>
                  <a:pt x="291560" y="24479"/>
                </a:cubicBezTo>
                <a:cubicBezTo>
                  <a:pt x="284607" y="21812"/>
                  <a:pt x="261842" y="12383"/>
                  <a:pt x="261842" y="12383"/>
                </a:cubicBezTo>
                <a:cubicBezTo>
                  <a:pt x="255580" y="10819"/>
                  <a:pt x="249214" y="9705"/>
                  <a:pt x="242792" y="9049"/>
                </a:cubicBezTo>
                <a:cubicBezTo>
                  <a:pt x="229850" y="7602"/>
                  <a:pt x="217086" y="4858"/>
                  <a:pt x="204692" y="857"/>
                </a:cubicBezTo>
                <a:cubicBezTo>
                  <a:pt x="197834" y="-2191"/>
                  <a:pt x="131255" y="3715"/>
                  <a:pt x="103632" y="5715"/>
                </a:cubicBezTo>
                <a:cubicBezTo>
                  <a:pt x="76010" y="7715"/>
                  <a:pt x="52292" y="74676"/>
                  <a:pt x="52292" y="74676"/>
                </a:cubicBezTo>
                <a:cubicBezTo>
                  <a:pt x="48929" y="86673"/>
                  <a:pt x="41738" y="97243"/>
                  <a:pt x="31814" y="104775"/>
                </a:cubicBezTo>
                <a:cubicBezTo>
                  <a:pt x="21892" y="109896"/>
                  <a:pt x="11103" y="113126"/>
                  <a:pt x="0" y="114300"/>
                </a:cubicBezTo>
                <a:lnTo>
                  <a:pt x="0" y="190500"/>
                </a:lnTo>
                <a:cubicBezTo>
                  <a:pt x="0" y="190500"/>
                  <a:pt x="11716" y="183642"/>
                  <a:pt x="42863" y="190500"/>
                </a:cubicBezTo>
                <a:cubicBezTo>
                  <a:pt x="74009" y="197358"/>
                  <a:pt x="98203" y="172403"/>
                  <a:pt x="98203" y="172403"/>
                </a:cubicBezTo>
                <a:close/>
                <a:moveTo>
                  <a:pt x="241078" y="208693"/>
                </a:moveTo>
                <a:lnTo>
                  <a:pt x="241078" y="148685"/>
                </a:lnTo>
                <a:cubicBezTo>
                  <a:pt x="242401" y="135707"/>
                  <a:pt x="232952" y="124112"/>
                  <a:pt x="219973" y="122789"/>
                </a:cubicBezTo>
                <a:cubicBezTo>
                  <a:pt x="219453" y="122736"/>
                  <a:pt x="218931" y="122700"/>
                  <a:pt x="218408" y="122682"/>
                </a:cubicBezTo>
                <a:lnTo>
                  <a:pt x="174403" y="122682"/>
                </a:lnTo>
                <a:cubicBezTo>
                  <a:pt x="160892" y="123181"/>
                  <a:pt x="150345" y="134538"/>
                  <a:pt x="150844" y="148049"/>
                </a:cubicBezTo>
                <a:cubicBezTo>
                  <a:pt x="150852" y="148261"/>
                  <a:pt x="150863" y="148473"/>
                  <a:pt x="150876" y="148685"/>
                </a:cubicBezTo>
                <a:lnTo>
                  <a:pt x="150876" y="209550"/>
                </a:lnTo>
                <a:cubicBezTo>
                  <a:pt x="150392" y="213995"/>
                  <a:pt x="153603" y="217991"/>
                  <a:pt x="158048" y="218476"/>
                </a:cubicBezTo>
                <a:cubicBezTo>
                  <a:pt x="162493" y="218960"/>
                  <a:pt x="166489" y="215749"/>
                  <a:pt x="166973" y="211304"/>
                </a:cubicBezTo>
                <a:cubicBezTo>
                  <a:pt x="167037" y="210721"/>
                  <a:pt x="167037" y="210133"/>
                  <a:pt x="166973" y="209550"/>
                </a:cubicBezTo>
                <a:lnTo>
                  <a:pt x="166973" y="149733"/>
                </a:lnTo>
                <a:lnTo>
                  <a:pt x="172212" y="149733"/>
                </a:lnTo>
                <a:lnTo>
                  <a:pt x="172212" y="310706"/>
                </a:lnTo>
                <a:cubicBezTo>
                  <a:pt x="171651" y="316676"/>
                  <a:pt x="176036" y="321971"/>
                  <a:pt x="182007" y="322532"/>
                </a:cubicBezTo>
                <a:cubicBezTo>
                  <a:pt x="187978" y="323093"/>
                  <a:pt x="193273" y="318708"/>
                  <a:pt x="193834" y="312737"/>
                </a:cubicBezTo>
                <a:cubicBezTo>
                  <a:pt x="193897" y="312062"/>
                  <a:pt x="193897" y="311381"/>
                  <a:pt x="193834" y="310706"/>
                </a:cubicBezTo>
                <a:lnTo>
                  <a:pt x="193834" y="217837"/>
                </a:lnTo>
                <a:lnTo>
                  <a:pt x="199263" y="217837"/>
                </a:lnTo>
                <a:lnTo>
                  <a:pt x="199263" y="310706"/>
                </a:lnTo>
                <a:cubicBezTo>
                  <a:pt x="198704" y="316624"/>
                  <a:pt x="203049" y="321874"/>
                  <a:pt x="208967" y="322433"/>
                </a:cubicBezTo>
                <a:cubicBezTo>
                  <a:pt x="214885" y="322991"/>
                  <a:pt x="220136" y="318646"/>
                  <a:pt x="220694" y="312728"/>
                </a:cubicBezTo>
                <a:cubicBezTo>
                  <a:pt x="220758" y="312056"/>
                  <a:pt x="220758" y="311378"/>
                  <a:pt x="220694" y="310706"/>
                </a:cubicBezTo>
                <a:lnTo>
                  <a:pt x="220694" y="149733"/>
                </a:lnTo>
                <a:lnTo>
                  <a:pt x="226124" y="149733"/>
                </a:lnTo>
                <a:lnTo>
                  <a:pt x="226124" y="209550"/>
                </a:lnTo>
                <a:cubicBezTo>
                  <a:pt x="225460" y="213706"/>
                  <a:pt x="228291" y="217613"/>
                  <a:pt x="232447" y="218276"/>
                </a:cubicBezTo>
                <a:cubicBezTo>
                  <a:pt x="236603" y="218939"/>
                  <a:pt x="240510" y="216108"/>
                  <a:pt x="241173" y="211952"/>
                </a:cubicBezTo>
                <a:cubicBezTo>
                  <a:pt x="241300" y="211157"/>
                  <a:pt x="241300" y="210346"/>
                  <a:pt x="241173" y="209550"/>
                </a:cubicBezTo>
                <a:close/>
                <a:moveTo>
                  <a:pt x="215932" y="98393"/>
                </a:moveTo>
                <a:cubicBezTo>
                  <a:pt x="215984" y="87346"/>
                  <a:pt x="207071" y="78348"/>
                  <a:pt x="196025" y="78296"/>
                </a:cubicBezTo>
                <a:cubicBezTo>
                  <a:pt x="184978" y="78244"/>
                  <a:pt x="175980" y="87156"/>
                  <a:pt x="175927" y="98203"/>
                </a:cubicBezTo>
                <a:cubicBezTo>
                  <a:pt x="175875" y="109250"/>
                  <a:pt x="184788" y="118248"/>
                  <a:pt x="195834" y="118301"/>
                </a:cubicBezTo>
                <a:cubicBezTo>
                  <a:pt x="195898" y="118301"/>
                  <a:pt x="195961" y="118301"/>
                  <a:pt x="196025" y="118301"/>
                </a:cubicBezTo>
                <a:cubicBezTo>
                  <a:pt x="207019" y="118301"/>
                  <a:pt x="215932" y="109388"/>
                  <a:pt x="215932" y="98393"/>
                </a:cubicBez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2" name="Grafik 16">
            <a:extLst>
              <a:ext uri="{FF2B5EF4-FFF2-40B4-BE49-F238E27FC236}">
                <a16:creationId xmlns:a16="http://schemas.microsoft.com/office/drawing/2014/main" id="{959FF57E-B3F1-46AA-9795-3586A90D376C}"/>
              </a:ext>
            </a:extLst>
          </p:cNvPr>
          <p:cNvSpPr/>
          <p:nvPr/>
        </p:nvSpPr>
        <p:spPr>
          <a:xfrm>
            <a:off x="5846563" y="1374684"/>
            <a:ext cx="469446" cy="312964"/>
          </a:xfrm>
          <a:custGeom>
            <a:avLst/>
            <a:gdLst>
              <a:gd name="connsiteX0" fmla="*/ 323850 w 400050"/>
              <a:gd name="connsiteY0" fmla="*/ 0 h 266700"/>
              <a:gd name="connsiteX1" fmla="*/ 76200 w 400050"/>
              <a:gd name="connsiteY1" fmla="*/ 0 h 266700"/>
              <a:gd name="connsiteX2" fmla="*/ 0 w 400050"/>
              <a:gd name="connsiteY2" fmla="*/ 76200 h 266700"/>
              <a:gd name="connsiteX3" fmla="*/ 206978 w 400050"/>
              <a:gd name="connsiteY3" fmla="*/ 266700 h 266700"/>
              <a:gd name="connsiteX4" fmla="*/ 400050 w 400050"/>
              <a:gd name="connsiteY4" fmla="*/ 74200 h 266700"/>
              <a:gd name="connsiteX5" fmla="*/ 360236 w 400050"/>
              <a:gd name="connsiteY5" fmla="*/ 72771 h 266700"/>
              <a:gd name="connsiteX6" fmla="*/ 294513 w 400050"/>
              <a:gd name="connsiteY6" fmla="*/ 72771 h 266700"/>
              <a:gd name="connsiteX7" fmla="*/ 327755 w 400050"/>
              <a:gd name="connsiteY7" fmla="*/ 40862 h 266700"/>
              <a:gd name="connsiteX8" fmla="*/ 304800 w 400050"/>
              <a:gd name="connsiteY8" fmla="*/ 26575 h 266700"/>
              <a:gd name="connsiteX9" fmla="*/ 262985 w 400050"/>
              <a:gd name="connsiteY9" fmla="*/ 66675 h 266700"/>
              <a:gd name="connsiteX10" fmla="*/ 230886 w 400050"/>
              <a:gd name="connsiteY10" fmla="*/ 26575 h 266700"/>
              <a:gd name="connsiteX11" fmla="*/ 161925 w 400050"/>
              <a:gd name="connsiteY11" fmla="*/ 99822 h 266700"/>
              <a:gd name="connsiteX12" fmla="*/ 242983 w 400050"/>
              <a:gd name="connsiteY12" fmla="*/ 99822 h 266700"/>
              <a:gd name="connsiteX13" fmla="*/ 205645 w 400050"/>
              <a:gd name="connsiteY13" fmla="*/ 210217 h 266700"/>
              <a:gd name="connsiteX14" fmla="*/ 172974 w 400050"/>
              <a:gd name="connsiteY14" fmla="*/ 200025 h 266700"/>
              <a:gd name="connsiteX15" fmla="*/ 64580 w 400050"/>
              <a:gd name="connsiteY15" fmla="*/ 99822 h 266700"/>
              <a:gd name="connsiteX16" fmla="*/ 133350 w 400050"/>
              <a:gd name="connsiteY16" fmla="*/ 99822 h 266700"/>
              <a:gd name="connsiteX17" fmla="*/ 168593 w 400050"/>
              <a:gd name="connsiteY17" fmla="*/ 72771 h 266700"/>
              <a:gd name="connsiteX18" fmla="*/ 200025 w 400050"/>
              <a:gd name="connsiteY18" fmla="*/ 31052 h 266700"/>
              <a:gd name="connsiteX19" fmla="*/ 233839 w 400050"/>
              <a:gd name="connsiteY19" fmla="*/ 72771 h 266700"/>
              <a:gd name="connsiteX20" fmla="*/ 170498 w 400050"/>
              <a:gd name="connsiteY20" fmla="*/ 26575 h 266700"/>
              <a:gd name="connsiteX21" fmla="*/ 140780 w 400050"/>
              <a:gd name="connsiteY21" fmla="*/ 65913 h 266700"/>
              <a:gd name="connsiteX22" fmla="*/ 99727 w 400050"/>
              <a:gd name="connsiteY22" fmla="*/ 26575 h 266700"/>
              <a:gd name="connsiteX23" fmla="*/ 74581 w 400050"/>
              <a:gd name="connsiteY23" fmla="*/ 39148 h 266700"/>
              <a:gd name="connsiteX24" fmla="*/ 110014 w 400050"/>
              <a:gd name="connsiteY24" fmla="*/ 72771 h 266700"/>
              <a:gd name="connsiteX25" fmla="*/ 40481 w 400050"/>
              <a:gd name="connsiteY25" fmla="*/ 72771 h 266700"/>
              <a:gd name="connsiteX26" fmla="*/ 237363 w 400050"/>
              <a:gd name="connsiteY26" fmla="*/ 199263 h 266700"/>
              <a:gd name="connsiteX27" fmla="*/ 271177 w 400050"/>
              <a:gd name="connsiteY27" fmla="*/ 99822 h 266700"/>
              <a:gd name="connsiteX28" fmla="*/ 337852 w 400050"/>
              <a:gd name="connsiteY28" fmla="*/ 99822 h 26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400050" h="266700">
                <a:moveTo>
                  <a:pt x="323850" y="0"/>
                </a:moveTo>
                <a:lnTo>
                  <a:pt x="76200" y="0"/>
                </a:lnTo>
                <a:lnTo>
                  <a:pt x="0" y="76200"/>
                </a:lnTo>
                <a:lnTo>
                  <a:pt x="206978" y="266700"/>
                </a:lnTo>
                <a:lnTo>
                  <a:pt x="400050" y="74200"/>
                </a:lnTo>
                <a:close/>
                <a:moveTo>
                  <a:pt x="360236" y="72771"/>
                </a:moveTo>
                <a:lnTo>
                  <a:pt x="294513" y="72771"/>
                </a:lnTo>
                <a:lnTo>
                  <a:pt x="327755" y="40862"/>
                </a:lnTo>
                <a:close/>
                <a:moveTo>
                  <a:pt x="304800" y="26575"/>
                </a:moveTo>
                <a:lnTo>
                  <a:pt x="262985" y="66675"/>
                </a:lnTo>
                <a:lnTo>
                  <a:pt x="230886" y="26575"/>
                </a:lnTo>
                <a:close/>
                <a:moveTo>
                  <a:pt x="161925" y="99822"/>
                </a:moveTo>
                <a:lnTo>
                  <a:pt x="242983" y="99822"/>
                </a:lnTo>
                <a:lnTo>
                  <a:pt x="205645" y="210217"/>
                </a:lnTo>
                <a:close/>
                <a:moveTo>
                  <a:pt x="172974" y="200025"/>
                </a:moveTo>
                <a:lnTo>
                  <a:pt x="64580" y="99822"/>
                </a:lnTo>
                <a:lnTo>
                  <a:pt x="133350" y="99822"/>
                </a:lnTo>
                <a:close/>
                <a:moveTo>
                  <a:pt x="168593" y="72771"/>
                </a:moveTo>
                <a:lnTo>
                  <a:pt x="200025" y="31052"/>
                </a:lnTo>
                <a:lnTo>
                  <a:pt x="233839" y="72771"/>
                </a:lnTo>
                <a:close/>
                <a:moveTo>
                  <a:pt x="170498" y="26575"/>
                </a:moveTo>
                <a:lnTo>
                  <a:pt x="140780" y="65913"/>
                </a:lnTo>
                <a:lnTo>
                  <a:pt x="99727" y="26575"/>
                </a:lnTo>
                <a:close/>
                <a:moveTo>
                  <a:pt x="74581" y="39148"/>
                </a:moveTo>
                <a:lnTo>
                  <a:pt x="110014" y="72771"/>
                </a:lnTo>
                <a:lnTo>
                  <a:pt x="40481" y="72771"/>
                </a:lnTo>
                <a:close/>
                <a:moveTo>
                  <a:pt x="237363" y="199263"/>
                </a:moveTo>
                <a:lnTo>
                  <a:pt x="271177" y="99822"/>
                </a:lnTo>
                <a:lnTo>
                  <a:pt x="337852" y="99822"/>
                </a:ln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4" name="Grafik 1859">
            <a:extLst>
              <a:ext uri="{FF2B5EF4-FFF2-40B4-BE49-F238E27FC236}">
                <a16:creationId xmlns:a16="http://schemas.microsoft.com/office/drawing/2014/main" id="{9799EBFB-D17E-4340-8E05-D8CED69670B6}"/>
              </a:ext>
            </a:extLst>
          </p:cNvPr>
          <p:cNvSpPr/>
          <p:nvPr/>
        </p:nvSpPr>
        <p:spPr>
          <a:xfrm>
            <a:off x="6532373" y="1316690"/>
            <a:ext cx="507896" cy="428954"/>
          </a:xfrm>
          <a:custGeom>
            <a:avLst/>
            <a:gdLst>
              <a:gd name="connsiteX0" fmla="*/ 189929 w 432816"/>
              <a:gd name="connsiteY0" fmla="*/ 351923 h 365543"/>
              <a:gd name="connsiteX1" fmla="*/ 197834 w 432816"/>
              <a:gd name="connsiteY1" fmla="*/ 354304 h 365543"/>
              <a:gd name="connsiteX2" fmla="*/ 189929 w 432816"/>
              <a:gd name="connsiteY2" fmla="*/ 357542 h 365543"/>
              <a:gd name="connsiteX3" fmla="*/ 144780 w 432816"/>
              <a:gd name="connsiteY3" fmla="*/ 365543 h 365543"/>
              <a:gd name="connsiteX4" fmla="*/ 140018 w 432816"/>
              <a:gd name="connsiteY4" fmla="*/ 365543 h 365543"/>
              <a:gd name="connsiteX5" fmla="*/ 95250 w 432816"/>
              <a:gd name="connsiteY5" fmla="*/ 345446 h 365543"/>
              <a:gd name="connsiteX6" fmla="*/ 95250 w 432816"/>
              <a:gd name="connsiteY6" fmla="*/ 344684 h 365543"/>
              <a:gd name="connsiteX7" fmla="*/ 69628 w 432816"/>
              <a:gd name="connsiteY7" fmla="*/ 319728 h 365543"/>
              <a:gd name="connsiteX8" fmla="*/ 88678 w 432816"/>
              <a:gd name="connsiteY8" fmla="*/ 330206 h 365543"/>
              <a:gd name="connsiteX9" fmla="*/ 124968 w 432816"/>
              <a:gd name="connsiteY9" fmla="*/ 343064 h 365543"/>
              <a:gd name="connsiteX10" fmla="*/ 105918 w 432816"/>
              <a:gd name="connsiteY10" fmla="*/ 318966 h 365543"/>
              <a:gd name="connsiteX11" fmla="*/ 98012 w 432816"/>
              <a:gd name="connsiteY11" fmla="*/ 306107 h 365543"/>
              <a:gd name="connsiteX12" fmla="*/ 111443 w 432816"/>
              <a:gd name="connsiteY12" fmla="*/ 314966 h 365543"/>
              <a:gd name="connsiteX13" fmla="*/ 113062 w 432816"/>
              <a:gd name="connsiteY13" fmla="*/ 316585 h 365543"/>
              <a:gd name="connsiteX14" fmla="*/ 149543 w 432816"/>
              <a:gd name="connsiteY14" fmla="*/ 332587 h 365543"/>
              <a:gd name="connsiteX15" fmla="*/ 150305 w 432816"/>
              <a:gd name="connsiteY15" fmla="*/ 332587 h 365543"/>
              <a:gd name="connsiteX16" fmla="*/ 189929 w 432816"/>
              <a:gd name="connsiteY16" fmla="*/ 351637 h 365543"/>
              <a:gd name="connsiteX17" fmla="*/ 106775 w 432816"/>
              <a:gd name="connsiteY17" fmla="*/ 329158 h 365543"/>
              <a:gd name="connsiteX18" fmla="*/ 102108 w 432816"/>
              <a:gd name="connsiteY18" fmla="*/ 321919 h 365543"/>
              <a:gd name="connsiteX19" fmla="*/ 79915 w 432816"/>
              <a:gd name="connsiteY19" fmla="*/ 283247 h 365543"/>
              <a:gd name="connsiteX20" fmla="*/ 79153 w 432816"/>
              <a:gd name="connsiteY20" fmla="*/ 282485 h 365543"/>
              <a:gd name="connsiteX21" fmla="*/ 58579 w 432816"/>
              <a:gd name="connsiteY21" fmla="*/ 247814 h 365543"/>
              <a:gd name="connsiteX22" fmla="*/ 45911 w 432816"/>
              <a:gd name="connsiteY22" fmla="*/ 234479 h 365543"/>
              <a:gd name="connsiteX23" fmla="*/ 47435 w 432816"/>
              <a:gd name="connsiteY23" fmla="*/ 244004 h 365543"/>
              <a:gd name="connsiteX24" fmla="*/ 56960 w 432816"/>
              <a:gd name="connsiteY24" fmla="*/ 280199 h 365543"/>
              <a:gd name="connsiteX25" fmla="*/ 34004 w 432816"/>
              <a:gd name="connsiteY25" fmla="*/ 260197 h 365543"/>
              <a:gd name="connsiteX26" fmla="*/ 21336 w 432816"/>
              <a:gd name="connsiteY26" fmla="*/ 246576 h 365543"/>
              <a:gd name="connsiteX27" fmla="*/ 28575 w 432816"/>
              <a:gd name="connsiteY27" fmla="*/ 263435 h 365543"/>
              <a:gd name="connsiteX28" fmla="*/ 53816 w 432816"/>
              <a:gd name="connsiteY28" fmla="*/ 304964 h 365543"/>
              <a:gd name="connsiteX29" fmla="*/ 54578 w 432816"/>
              <a:gd name="connsiteY29" fmla="*/ 305726 h 365543"/>
              <a:gd name="connsiteX30" fmla="*/ 98870 w 432816"/>
              <a:gd name="connsiteY30" fmla="*/ 327443 h 365543"/>
              <a:gd name="connsiteX31" fmla="*/ 39529 w 432816"/>
              <a:gd name="connsiteY31" fmla="*/ 257339 h 365543"/>
              <a:gd name="connsiteX32" fmla="*/ 46673 w 432816"/>
              <a:gd name="connsiteY32" fmla="*/ 262102 h 365543"/>
              <a:gd name="connsiteX33" fmla="*/ 44291 w 432816"/>
              <a:gd name="connsiteY33" fmla="*/ 254101 h 365543"/>
              <a:gd name="connsiteX34" fmla="*/ 38767 w 432816"/>
              <a:gd name="connsiteY34" fmla="*/ 209714 h 365543"/>
              <a:gd name="connsiteX35" fmla="*/ 38767 w 432816"/>
              <a:gd name="connsiteY35" fmla="*/ 208762 h 365543"/>
              <a:gd name="connsiteX36" fmla="*/ 33242 w 432816"/>
              <a:gd name="connsiteY36" fmla="*/ 167804 h 365543"/>
              <a:gd name="connsiteX37" fmla="*/ 29242 w 432816"/>
              <a:gd name="connsiteY37" fmla="*/ 147611 h 365543"/>
              <a:gd name="connsiteX38" fmla="*/ 26099 w 432816"/>
              <a:gd name="connsiteY38" fmla="*/ 161327 h 365543"/>
              <a:gd name="connsiteX39" fmla="*/ 20574 w 432816"/>
              <a:gd name="connsiteY39" fmla="*/ 197522 h 365543"/>
              <a:gd name="connsiteX40" fmla="*/ 5525 w 432816"/>
              <a:gd name="connsiteY40" fmla="*/ 166185 h 365543"/>
              <a:gd name="connsiteX41" fmla="*/ 0 w 432816"/>
              <a:gd name="connsiteY41" fmla="*/ 148469 h 365543"/>
              <a:gd name="connsiteX42" fmla="*/ 0 w 432816"/>
              <a:gd name="connsiteY42" fmla="*/ 168566 h 365543"/>
              <a:gd name="connsiteX43" fmla="*/ 7144 w 432816"/>
              <a:gd name="connsiteY43" fmla="*/ 218382 h 365543"/>
              <a:gd name="connsiteX44" fmla="*/ 7144 w 432816"/>
              <a:gd name="connsiteY44" fmla="*/ 218382 h 365543"/>
              <a:gd name="connsiteX45" fmla="*/ 39529 w 432816"/>
              <a:gd name="connsiteY45" fmla="*/ 257339 h 365543"/>
              <a:gd name="connsiteX46" fmla="*/ 11906 w 432816"/>
              <a:gd name="connsiteY46" fmla="*/ 164852 h 365543"/>
              <a:gd name="connsiteX47" fmla="*/ 15050 w 432816"/>
              <a:gd name="connsiteY47" fmla="*/ 172853 h 365543"/>
              <a:gd name="connsiteX48" fmla="*/ 17431 w 432816"/>
              <a:gd name="connsiteY48" fmla="*/ 164852 h 365543"/>
              <a:gd name="connsiteX49" fmla="*/ 33242 w 432816"/>
              <a:gd name="connsiteY49" fmla="*/ 123989 h 365543"/>
              <a:gd name="connsiteX50" fmla="*/ 34766 w 432816"/>
              <a:gd name="connsiteY50" fmla="*/ 122370 h 365543"/>
              <a:gd name="connsiteX51" fmla="*/ 34766 w 432816"/>
              <a:gd name="connsiteY51" fmla="*/ 121132 h 365543"/>
              <a:gd name="connsiteX52" fmla="*/ 37148 w 432816"/>
              <a:gd name="connsiteY52" fmla="*/ 109892 h 365543"/>
              <a:gd name="connsiteX53" fmla="*/ 37148 w 432816"/>
              <a:gd name="connsiteY53" fmla="*/ 109035 h 365543"/>
              <a:gd name="connsiteX54" fmla="*/ 37148 w 432816"/>
              <a:gd name="connsiteY54" fmla="*/ 109035 h 365543"/>
              <a:gd name="connsiteX55" fmla="*/ 38100 w 432816"/>
              <a:gd name="connsiteY55" fmla="*/ 87318 h 365543"/>
              <a:gd name="connsiteX56" fmla="*/ 40386 w 432816"/>
              <a:gd name="connsiteY56" fmla="*/ 63982 h 365543"/>
              <a:gd name="connsiteX57" fmla="*/ 41148 w 432816"/>
              <a:gd name="connsiteY57" fmla="*/ 55981 h 365543"/>
              <a:gd name="connsiteX58" fmla="*/ 34766 w 432816"/>
              <a:gd name="connsiteY58" fmla="*/ 60839 h 365543"/>
              <a:gd name="connsiteX59" fmla="*/ 4763 w 432816"/>
              <a:gd name="connsiteY59" fmla="*/ 101034 h 365543"/>
              <a:gd name="connsiteX60" fmla="*/ 1619 w 432816"/>
              <a:gd name="connsiteY60" fmla="*/ 122751 h 365543"/>
              <a:gd name="connsiteX61" fmla="*/ 1619 w 432816"/>
              <a:gd name="connsiteY61" fmla="*/ 122751 h 365543"/>
              <a:gd name="connsiteX62" fmla="*/ 11906 w 432816"/>
              <a:gd name="connsiteY62" fmla="*/ 164566 h 365543"/>
              <a:gd name="connsiteX63" fmla="*/ 271367 w 432816"/>
              <a:gd name="connsiteY63" fmla="*/ 343064 h 365543"/>
              <a:gd name="connsiteX64" fmla="*/ 289560 w 432816"/>
              <a:gd name="connsiteY64" fmla="*/ 318966 h 365543"/>
              <a:gd name="connsiteX65" fmla="*/ 298323 w 432816"/>
              <a:gd name="connsiteY65" fmla="*/ 306107 h 365543"/>
              <a:gd name="connsiteX66" fmla="*/ 284798 w 432816"/>
              <a:gd name="connsiteY66" fmla="*/ 314966 h 365543"/>
              <a:gd name="connsiteX67" fmla="*/ 283274 w 432816"/>
              <a:gd name="connsiteY67" fmla="*/ 316585 h 365543"/>
              <a:gd name="connsiteX68" fmla="*/ 246888 w 432816"/>
              <a:gd name="connsiteY68" fmla="*/ 332587 h 365543"/>
              <a:gd name="connsiteX69" fmla="*/ 246031 w 432816"/>
              <a:gd name="connsiteY69" fmla="*/ 332587 h 365543"/>
              <a:gd name="connsiteX70" fmla="*/ 205740 w 432816"/>
              <a:gd name="connsiteY70" fmla="*/ 351637 h 365543"/>
              <a:gd name="connsiteX71" fmla="*/ 197834 w 432816"/>
              <a:gd name="connsiteY71" fmla="*/ 354018 h 365543"/>
              <a:gd name="connsiteX72" fmla="*/ 205740 w 432816"/>
              <a:gd name="connsiteY72" fmla="*/ 357257 h 365543"/>
              <a:gd name="connsiteX73" fmla="*/ 251651 w 432816"/>
              <a:gd name="connsiteY73" fmla="*/ 365258 h 365543"/>
              <a:gd name="connsiteX74" fmla="*/ 255556 w 432816"/>
              <a:gd name="connsiteY74" fmla="*/ 365258 h 365543"/>
              <a:gd name="connsiteX75" fmla="*/ 300704 w 432816"/>
              <a:gd name="connsiteY75" fmla="*/ 345160 h 365543"/>
              <a:gd name="connsiteX76" fmla="*/ 301466 w 432816"/>
              <a:gd name="connsiteY76" fmla="*/ 344398 h 365543"/>
              <a:gd name="connsiteX77" fmla="*/ 325946 w 432816"/>
              <a:gd name="connsiteY77" fmla="*/ 319442 h 365543"/>
              <a:gd name="connsiteX78" fmla="*/ 307753 w 432816"/>
              <a:gd name="connsiteY78" fmla="*/ 329920 h 365543"/>
              <a:gd name="connsiteX79" fmla="*/ 271367 w 432816"/>
              <a:gd name="connsiteY79" fmla="*/ 343064 h 365543"/>
              <a:gd name="connsiteX80" fmla="*/ 338614 w 432816"/>
              <a:gd name="connsiteY80" fmla="*/ 280390 h 365543"/>
              <a:gd name="connsiteX81" fmla="*/ 348901 w 432816"/>
              <a:gd name="connsiteY81" fmla="*/ 244195 h 365543"/>
              <a:gd name="connsiteX82" fmla="*/ 350520 w 432816"/>
              <a:gd name="connsiteY82" fmla="*/ 234670 h 365543"/>
              <a:gd name="connsiteX83" fmla="*/ 337852 w 432816"/>
              <a:gd name="connsiteY83" fmla="*/ 247814 h 365543"/>
              <a:gd name="connsiteX84" fmla="*/ 316516 w 432816"/>
              <a:gd name="connsiteY84" fmla="*/ 282390 h 365543"/>
              <a:gd name="connsiteX85" fmla="*/ 315659 w 432816"/>
              <a:gd name="connsiteY85" fmla="*/ 283152 h 365543"/>
              <a:gd name="connsiteX86" fmla="*/ 293561 w 432816"/>
              <a:gd name="connsiteY86" fmla="*/ 321824 h 365543"/>
              <a:gd name="connsiteX87" fmla="*/ 288798 w 432816"/>
              <a:gd name="connsiteY87" fmla="*/ 329063 h 365543"/>
              <a:gd name="connsiteX88" fmla="*/ 297466 w 432816"/>
              <a:gd name="connsiteY88" fmla="*/ 326586 h 365543"/>
              <a:gd name="connsiteX89" fmla="*/ 341757 w 432816"/>
              <a:gd name="connsiteY89" fmla="*/ 304964 h 365543"/>
              <a:gd name="connsiteX90" fmla="*/ 342900 w 432816"/>
              <a:gd name="connsiteY90" fmla="*/ 304964 h 365543"/>
              <a:gd name="connsiteX91" fmla="*/ 367379 w 432816"/>
              <a:gd name="connsiteY91" fmla="*/ 263912 h 365543"/>
              <a:gd name="connsiteX92" fmla="*/ 375285 w 432816"/>
              <a:gd name="connsiteY92" fmla="*/ 247052 h 365543"/>
              <a:gd name="connsiteX93" fmla="*/ 361950 w 432816"/>
              <a:gd name="connsiteY93" fmla="*/ 260197 h 365543"/>
              <a:gd name="connsiteX94" fmla="*/ 338233 w 432816"/>
              <a:gd name="connsiteY94" fmla="*/ 280390 h 365543"/>
              <a:gd name="connsiteX95" fmla="*/ 389668 w 432816"/>
              <a:gd name="connsiteY95" fmla="*/ 166090 h 365543"/>
              <a:gd name="connsiteX96" fmla="*/ 375476 w 432816"/>
              <a:gd name="connsiteY96" fmla="*/ 197427 h 365543"/>
              <a:gd name="connsiteX97" fmla="*/ 369856 w 432816"/>
              <a:gd name="connsiteY97" fmla="*/ 161232 h 365543"/>
              <a:gd name="connsiteX98" fmla="*/ 366713 w 432816"/>
              <a:gd name="connsiteY98" fmla="*/ 147516 h 365543"/>
              <a:gd name="connsiteX99" fmla="*/ 362807 w 432816"/>
              <a:gd name="connsiteY99" fmla="*/ 167709 h 365543"/>
              <a:gd name="connsiteX100" fmla="*/ 356426 w 432816"/>
              <a:gd name="connsiteY100" fmla="*/ 208667 h 365543"/>
              <a:gd name="connsiteX101" fmla="*/ 356426 w 432816"/>
              <a:gd name="connsiteY101" fmla="*/ 209714 h 365543"/>
              <a:gd name="connsiteX102" fmla="*/ 350901 w 432816"/>
              <a:gd name="connsiteY102" fmla="*/ 253910 h 365543"/>
              <a:gd name="connsiteX103" fmla="*/ 349282 w 432816"/>
              <a:gd name="connsiteY103" fmla="*/ 261911 h 365543"/>
              <a:gd name="connsiteX104" fmla="*/ 355664 w 432816"/>
              <a:gd name="connsiteY104" fmla="*/ 257149 h 365543"/>
              <a:gd name="connsiteX105" fmla="*/ 388144 w 432816"/>
              <a:gd name="connsiteY105" fmla="*/ 218477 h 365543"/>
              <a:gd name="connsiteX106" fmla="*/ 388906 w 432816"/>
              <a:gd name="connsiteY106" fmla="*/ 218477 h 365543"/>
              <a:gd name="connsiteX107" fmla="*/ 396050 w 432816"/>
              <a:gd name="connsiteY107" fmla="*/ 168662 h 365543"/>
              <a:gd name="connsiteX108" fmla="*/ 396050 w 432816"/>
              <a:gd name="connsiteY108" fmla="*/ 148469 h 365543"/>
              <a:gd name="connsiteX109" fmla="*/ 358045 w 432816"/>
              <a:gd name="connsiteY109" fmla="*/ 108940 h 365543"/>
              <a:gd name="connsiteX110" fmla="*/ 358045 w 432816"/>
              <a:gd name="connsiteY110" fmla="*/ 109797 h 365543"/>
              <a:gd name="connsiteX111" fmla="*/ 360426 w 432816"/>
              <a:gd name="connsiteY111" fmla="*/ 121037 h 365543"/>
              <a:gd name="connsiteX112" fmla="*/ 360426 w 432816"/>
              <a:gd name="connsiteY112" fmla="*/ 121799 h 365543"/>
              <a:gd name="connsiteX113" fmla="*/ 361950 w 432816"/>
              <a:gd name="connsiteY113" fmla="*/ 123989 h 365543"/>
              <a:gd name="connsiteX114" fmla="*/ 377857 w 432816"/>
              <a:gd name="connsiteY114" fmla="*/ 165042 h 365543"/>
              <a:gd name="connsiteX115" fmla="*/ 380143 w 432816"/>
              <a:gd name="connsiteY115" fmla="*/ 173043 h 365543"/>
              <a:gd name="connsiteX116" fmla="*/ 384143 w 432816"/>
              <a:gd name="connsiteY116" fmla="*/ 165042 h 365543"/>
              <a:gd name="connsiteX117" fmla="*/ 393668 w 432816"/>
              <a:gd name="connsiteY117" fmla="*/ 123227 h 365543"/>
              <a:gd name="connsiteX118" fmla="*/ 393668 w 432816"/>
              <a:gd name="connsiteY118" fmla="*/ 123227 h 365543"/>
              <a:gd name="connsiteX119" fmla="*/ 390525 w 432816"/>
              <a:gd name="connsiteY119" fmla="*/ 101034 h 365543"/>
              <a:gd name="connsiteX120" fmla="*/ 360521 w 432816"/>
              <a:gd name="connsiteY120" fmla="*/ 60839 h 365543"/>
              <a:gd name="connsiteX121" fmla="*/ 354140 w 432816"/>
              <a:gd name="connsiteY121" fmla="*/ 55981 h 365543"/>
              <a:gd name="connsiteX122" fmla="*/ 355759 w 432816"/>
              <a:gd name="connsiteY122" fmla="*/ 63982 h 365543"/>
              <a:gd name="connsiteX123" fmla="*/ 358140 w 432816"/>
              <a:gd name="connsiteY123" fmla="*/ 87318 h 365543"/>
              <a:gd name="connsiteX124" fmla="*/ 358140 w 432816"/>
              <a:gd name="connsiteY124" fmla="*/ 109035 h 365543"/>
              <a:gd name="connsiteX125" fmla="*/ 432816 w 432816"/>
              <a:gd name="connsiteY125" fmla="*/ 6165 h 365543"/>
              <a:gd name="connsiteX126" fmla="*/ 429578 w 432816"/>
              <a:gd name="connsiteY126" fmla="*/ 1307 h 365543"/>
              <a:gd name="connsiteX127" fmla="*/ 424910 w 432816"/>
              <a:gd name="connsiteY127" fmla="*/ 164 h 365543"/>
              <a:gd name="connsiteX128" fmla="*/ 165354 w 432816"/>
              <a:gd name="connsiteY128" fmla="*/ 190664 h 365543"/>
              <a:gd name="connsiteX129" fmla="*/ 117729 w 432816"/>
              <a:gd name="connsiteY129" fmla="*/ 160946 h 365543"/>
              <a:gd name="connsiteX130" fmla="*/ 108966 w 432816"/>
              <a:gd name="connsiteY130" fmla="*/ 162470 h 365543"/>
              <a:gd name="connsiteX131" fmla="*/ 94202 w 432816"/>
              <a:gd name="connsiteY131" fmla="*/ 186283 h 365543"/>
              <a:gd name="connsiteX132" fmla="*/ 93345 w 432816"/>
              <a:gd name="connsiteY132" fmla="*/ 191045 h 365543"/>
              <a:gd name="connsiteX133" fmla="*/ 96488 w 432816"/>
              <a:gd name="connsiteY133" fmla="*/ 195141 h 365543"/>
              <a:gd name="connsiteX134" fmla="*/ 174022 w 432816"/>
              <a:gd name="connsiteY134" fmla="*/ 244957 h 365543"/>
              <a:gd name="connsiteX135" fmla="*/ 177260 w 432816"/>
              <a:gd name="connsiteY135" fmla="*/ 245719 h 365543"/>
              <a:gd name="connsiteX136" fmla="*/ 182785 w 432816"/>
              <a:gd name="connsiteY136" fmla="*/ 242576 h 365543"/>
              <a:gd name="connsiteX137" fmla="*/ 198596 w 432816"/>
              <a:gd name="connsiteY137" fmla="*/ 216001 h 365543"/>
              <a:gd name="connsiteX138" fmla="*/ 240506 w 432816"/>
              <a:gd name="connsiteY138" fmla="*/ 152564 h 365543"/>
              <a:gd name="connsiteX139" fmla="*/ 428625 w 432816"/>
              <a:gd name="connsiteY139" fmla="*/ 13404 h 365543"/>
              <a:gd name="connsiteX140" fmla="*/ 432626 w 432816"/>
              <a:gd name="connsiteY140" fmla="*/ 6927 h 3655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</a:cxnLst>
            <a:rect l="l" t="t" r="r" b="b"/>
            <a:pathLst>
              <a:path w="432816" h="365543">
                <a:moveTo>
                  <a:pt x="189929" y="351923"/>
                </a:moveTo>
                <a:lnTo>
                  <a:pt x="197834" y="354304"/>
                </a:lnTo>
                <a:lnTo>
                  <a:pt x="189929" y="357542"/>
                </a:lnTo>
                <a:cubicBezTo>
                  <a:pt x="175460" y="362817"/>
                  <a:pt x="160181" y="365524"/>
                  <a:pt x="144780" y="365543"/>
                </a:cubicBezTo>
                <a:lnTo>
                  <a:pt x="140018" y="365543"/>
                </a:lnTo>
                <a:cubicBezTo>
                  <a:pt x="124270" y="360860"/>
                  <a:pt x="109215" y="354101"/>
                  <a:pt x="95250" y="345446"/>
                </a:cubicBezTo>
                <a:lnTo>
                  <a:pt x="95250" y="344684"/>
                </a:lnTo>
                <a:lnTo>
                  <a:pt x="69628" y="319728"/>
                </a:lnTo>
                <a:lnTo>
                  <a:pt x="88678" y="330206"/>
                </a:lnTo>
                <a:cubicBezTo>
                  <a:pt x="99924" y="336594"/>
                  <a:pt x="112209" y="340947"/>
                  <a:pt x="124968" y="343064"/>
                </a:cubicBezTo>
                <a:cubicBezTo>
                  <a:pt x="117666" y="335832"/>
                  <a:pt x="111270" y="327740"/>
                  <a:pt x="105918" y="318966"/>
                </a:cubicBezTo>
                <a:lnTo>
                  <a:pt x="98012" y="306107"/>
                </a:lnTo>
                <a:lnTo>
                  <a:pt x="111443" y="314966"/>
                </a:lnTo>
                <a:cubicBezTo>
                  <a:pt x="111443" y="315728"/>
                  <a:pt x="112300" y="315728"/>
                  <a:pt x="113062" y="316585"/>
                </a:cubicBezTo>
                <a:cubicBezTo>
                  <a:pt x="124616" y="323206"/>
                  <a:pt x="136846" y="328571"/>
                  <a:pt x="149543" y="332587"/>
                </a:cubicBezTo>
                <a:lnTo>
                  <a:pt x="150305" y="332587"/>
                </a:lnTo>
                <a:cubicBezTo>
                  <a:pt x="162709" y="340489"/>
                  <a:pt x="176011" y="346884"/>
                  <a:pt x="189929" y="351637"/>
                </a:cubicBezTo>
                <a:moveTo>
                  <a:pt x="106775" y="329158"/>
                </a:moveTo>
                <a:lnTo>
                  <a:pt x="102108" y="321919"/>
                </a:lnTo>
                <a:cubicBezTo>
                  <a:pt x="93321" y="309877"/>
                  <a:pt x="85879" y="296909"/>
                  <a:pt x="79915" y="283247"/>
                </a:cubicBezTo>
                <a:lnTo>
                  <a:pt x="79153" y="282485"/>
                </a:lnTo>
                <a:cubicBezTo>
                  <a:pt x="71094" y="271685"/>
                  <a:pt x="64198" y="260063"/>
                  <a:pt x="58579" y="247814"/>
                </a:cubicBezTo>
                <a:lnTo>
                  <a:pt x="45911" y="234479"/>
                </a:lnTo>
                <a:lnTo>
                  <a:pt x="47435" y="244004"/>
                </a:lnTo>
                <a:cubicBezTo>
                  <a:pt x="49432" y="256349"/>
                  <a:pt x="52622" y="268471"/>
                  <a:pt x="56960" y="280199"/>
                </a:cubicBezTo>
                <a:cubicBezTo>
                  <a:pt x="48585" y="274410"/>
                  <a:pt x="40885" y="267701"/>
                  <a:pt x="34004" y="260197"/>
                </a:cubicBezTo>
                <a:lnTo>
                  <a:pt x="21336" y="246576"/>
                </a:lnTo>
                <a:lnTo>
                  <a:pt x="28575" y="263435"/>
                </a:lnTo>
                <a:cubicBezTo>
                  <a:pt x="35051" y="278367"/>
                  <a:pt x="43544" y="292340"/>
                  <a:pt x="53816" y="304964"/>
                </a:cubicBezTo>
                <a:lnTo>
                  <a:pt x="54578" y="305726"/>
                </a:lnTo>
                <a:cubicBezTo>
                  <a:pt x="67863" y="315657"/>
                  <a:pt x="82884" y="323022"/>
                  <a:pt x="98870" y="327443"/>
                </a:cubicBezTo>
                <a:close/>
                <a:moveTo>
                  <a:pt x="39529" y="257339"/>
                </a:moveTo>
                <a:lnTo>
                  <a:pt x="46673" y="262102"/>
                </a:lnTo>
                <a:lnTo>
                  <a:pt x="44291" y="254101"/>
                </a:lnTo>
                <a:cubicBezTo>
                  <a:pt x="41185" y="239491"/>
                  <a:pt x="39336" y="224641"/>
                  <a:pt x="38767" y="209714"/>
                </a:cubicBezTo>
                <a:lnTo>
                  <a:pt x="38767" y="208762"/>
                </a:lnTo>
                <a:cubicBezTo>
                  <a:pt x="35331" y="195372"/>
                  <a:pt x="33477" y="181626"/>
                  <a:pt x="33242" y="167804"/>
                </a:cubicBezTo>
                <a:lnTo>
                  <a:pt x="29242" y="147611"/>
                </a:lnTo>
                <a:lnTo>
                  <a:pt x="26099" y="161327"/>
                </a:lnTo>
                <a:cubicBezTo>
                  <a:pt x="22853" y="173136"/>
                  <a:pt x="20999" y="185283"/>
                  <a:pt x="20574" y="197522"/>
                </a:cubicBezTo>
                <a:cubicBezTo>
                  <a:pt x="14041" y="187875"/>
                  <a:pt x="8969" y="177316"/>
                  <a:pt x="5525" y="166185"/>
                </a:cubicBezTo>
                <a:lnTo>
                  <a:pt x="0" y="148469"/>
                </a:lnTo>
                <a:lnTo>
                  <a:pt x="0" y="168566"/>
                </a:lnTo>
                <a:cubicBezTo>
                  <a:pt x="-25" y="185429"/>
                  <a:pt x="2381" y="202206"/>
                  <a:pt x="7144" y="218382"/>
                </a:cubicBezTo>
                <a:lnTo>
                  <a:pt x="7144" y="218382"/>
                </a:lnTo>
                <a:cubicBezTo>
                  <a:pt x="15551" y="233181"/>
                  <a:pt x="26515" y="246371"/>
                  <a:pt x="39529" y="257339"/>
                </a:cubicBezTo>
                <a:moveTo>
                  <a:pt x="11906" y="164852"/>
                </a:moveTo>
                <a:lnTo>
                  <a:pt x="15050" y="172853"/>
                </a:lnTo>
                <a:lnTo>
                  <a:pt x="17431" y="164852"/>
                </a:lnTo>
                <a:cubicBezTo>
                  <a:pt x="21268" y="150719"/>
                  <a:pt x="26567" y="137024"/>
                  <a:pt x="33242" y="123989"/>
                </a:cubicBezTo>
                <a:lnTo>
                  <a:pt x="34766" y="122370"/>
                </a:lnTo>
                <a:lnTo>
                  <a:pt x="34766" y="121132"/>
                </a:lnTo>
                <a:cubicBezTo>
                  <a:pt x="35624" y="116274"/>
                  <a:pt x="36386" y="113036"/>
                  <a:pt x="37148" y="109892"/>
                </a:cubicBezTo>
                <a:lnTo>
                  <a:pt x="37148" y="109035"/>
                </a:lnTo>
                <a:lnTo>
                  <a:pt x="37148" y="109035"/>
                </a:lnTo>
                <a:cubicBezTo>
                  <a:pt x="37053" y="101784"/>
                  <a:pt x="37371" y="94533"/>
                  <a:pt x="38100" y="87318"/>
                </a:cubicBezTo>
                <a:cubicBezTo>
                  <a:pt x="38180" y="79488"/>
                  <a:pt x="38945" y="71679"/>
                  <a:pt x="40386" y="63982"/>
                </a:cubicBezTo>
                <a:lnTo>
                  <a:pt x="41148" y="55981"/>
                </a:lnTo>
                <a:lnTo>
                  <a:pt x="34766" y="60839"/>
                </a:lnTo>
                <a:cubicBezTo>
                  <a:pt x="22235" y="72148"/>
                  <a:pt x="12041" y="85804"/>
                  <a:pt x="4763" y="101034"/>
                </a:cubicBezTo>
                <a:lnTo>
                  <a:pt x="1619" y="122751"/>
                </a:lnTo>
                <a:lnTo>
                  <a:pt x="1619" y="122751"/>
                </a:lnTo>
                <a:cubicBezTo>
                  <a:pt x="2622" y="137177"/>
                  <a:pt x="6102" y="151322"/>
                  <a:pt x="11906" y="164566"/>
                </a:cubicBezTo>
                <a:moveTo>
                  <a:pt x="271367" y="343064"/>
                </a:moveTo>
                <a:cubicBezTo>
                  <a:pt x="278178" y="335623"/>
                  <a:pt x="284269" y="327554"/>
                  <a:pt x="289560" y="318966"/>
                </a:cubicBezTo>
                <a:lnTo>
                  <a:pt x="298323" y="306107"/>
                </a:lnTo>
                <a:lnTo>
                  <a:pt x="284798" y="314966"/>
                </a:lnTo>
                <a:cubicBezTo>
                  <a:pt x="284036" y="315728"/>
                  <a:pt x="283274" y="315728"/>
                  <a:pt x="283274" y="316585"/>
                </a:cubicBezTo>
                <a:cubicBezTo>
                  <a:pt x="271672" y="323045"/>
                  <a:pt x="259490" y="328403"/>
                  <a:pt x="246888" y="332587"/>
                </a:cubicBezTo>
                <a:lnTo>
                  <a:pt x="246031" y="332587"/>
                </a:lnTo>
                <a:cubicBezTo>
                  <a:pt x="233295" y="340311"/>
                  <a:pt x="219792" y="346696"/>
                  <a:pt x="205740" y="351637"/>
                </a:cubicBezTo>
                <a:lnTo>
                  <a:pt x="197834" y="354018"/>
                </a:lnTo>
                <a:lnTo>
                  <a:pt x="205740" y="357257"/>
                </a:lnTo>
                <a:cubicBezTo>
                  <a:pt x="220455" y="362598"/>
                  <a:pt x="235996" y="365306"/>
                  <a:pt x="251651" y="365258"/>
                </a:cubicBezTo>
                <a:lnTo>
                  <a:pt x="255556" y="365258"/>
                </a:lnTo>
                <a:cubicBezTo>
                  <a:pt x="271426" y="360580"/>
                  <a:pt x="286608" y="353822"/>
                  <a:pt x="300704" y="345160"/>
                </a:cubicBezTo>
                <a:lnTo>
                  <a:pt x="301466" y="344398"/>
                </a:lnTo>
                <a:lnTo>
                  <a:pt x="325946" y="319442"/>
                </a:lnTo>
                <a:lnTo>
                  <a:pt x="307753" y="329920"/>
                </a:lnTo>
                <a:cubicBezTo>
                  <a:pt x="296451" y="336319"/>
                  <a:pt x="284149" y="340763"/>
                  <a:pt x="271367" y="343064"/>
                </a:cubicBezTo>
                <a:moveTo>
                  <a:pt x="338614" y="280390"/>
                </a:moveTo>
                <a:cubicBezTo>
                  <a:pt x="342818" y="268559"/>
                  <a:pt x="346254" y="256469"/>
                  <a:pt x="348901" y="244195"/>
                </a:cubicBezTo>
                <a:lnTo>
                  <a:pt x="350520" y="234670"/>
                </a:lnTo>
                <a:lnTo>
                  <a:pt x="337852" y="247814"/>
                </a:lnTo>
                <a:cubicBezTo>
                  <a:pt x="332248" y="260205"/>
                  <a:pt x="325078" y="271825"/>
                  <a:pt x="316516" y="282390"/>
                </a:cubicBezTo>
                <a:lnTo>
                  <a:pt x="315659" y="283152"/>
                </a:lnTo>
                <a:cubicBezTo>
                  <a:pt x="309732" y="296814"/>
                  <a:pt x="302322" y="309782"/>
                  <a:pt x="293561" y="321824"/>
                </a:cubicBezTo>
                <a:lnTo>
                  <a:pt x="288798" y="329063"/>
                </a:lnTo>
                <a:lnTo>
                  <a:pt x="297466" y="326586"/>
                </a:lnTo>
                <a:cubicBezTo>
                  <a:pt x="313338" y="321913"/>
                  <a:pt x="328310" y="314604"/>
                  <a:pt x="341757" y="304964"/>
                </a:cubicBezTo>
                <a:lnTo>
                  <a:pt x="342900" y="304964"/>
                </a:lnTo>
                <a:cubicBezTo>
                  <a:pt x="352894" y="292461"/>
                  <a:pt x="361131" y="278649"/>
                  <a:pt x="367379" y="263912"/>
                </a:cubicBezTo>
                <a:lnTo>
                  <a:pt x="375285" y="247052"/>
                </a:lnTo>
                <a:lnTo>
                  <a:pt x="361950" y="260197"/>
                </a:lnTo>
                <a:cubicBezTo>
                  <a:pt x="354648" y="267606"/>
                  <a:pt x="346712" y="274363"/>
                  <a:pt x="338233" y="280390"/>
                </a:cubicBezTo>
                <a:moveTo>
                  <a:pt x="389668" y="166090"/>
                </a:moveTo>
                <a:cubicBezTo>
                  <a:pt x="386217" y="177069"/>
                  <a:pt x="381451" y="187591"/>
                  <a:pt x="375476" y="197427"/>
                </a:cubicBezTo>
                <a:cubicBezTo>
                  <a:pt x="374599" y="185228"/>
                  <a:pt x="372719" y="173123"/>
                  <a:pt x="369856" y="161232"/>
                </a:cubicBezTo>
                <a:lnTo>
                  <a:pt x="366713" y="147516"/>
                </a:lnTo>
                <a:lnTo>
                  <a:pt x="362807" y="167709"/>
                </a:lnTo>
                <a:cubicBezTo>
                  <a:pt x="362288" y="181564"/>
                  <a:pt x="360146" y="195310"/>
                  <a:pt x="356426" y="208667"/>
                </a:cubicBezTo>
                <a:lnTo>
                  <a:pt x="356426" y="209714"/>
                </a:lnTo>
                <a:cubicBezTo>
                  <a:pt x="356274" y="224609"/>
                  <a:pt x="354421" y="239437"/>
                  <a:pt x="350901" y="253910"/>
                </a:cubicBezTo>
                <a:lnTo>
                  <a:pt x="349282" y="261911"/>
                </a:lnTo>
                <a:lnTo>
                  <a:pt x="355664" y="257149"/>
                </a:lnTo>
                <a:cubicBezTo>
                  <a:pt x="369091" y="246687"/>
                  <a:pt x="380159" y="233510"/>
                  <a:pt x="388144" y="218477"/>
                </a:cubicBezTo>
                <a:lnTo>
                  <a:pt x="388906" y="218477"/>
                </a:lnTo>
                <a:cubicBezTo>
                  <a:pt x="393669" y="202302"/>
                  <a:pt x="396075" y="185524"/>
                  <a:pt x="396050" y="168662"/>
                </a:cubicBezTo>
                <a:lnTo>
                  <a:pt x="396050" y="148469"/>
                </a:lnTo>
                <a:close/>
                <a:moveTo>
                  <a:pt x="358045" y="108940"/>
                </a:moveTo>
                <a:lnTo>
                  <a:pt x="358045" y="109797"/>
                </a:lnTo>
                <a:cubicBezTo>
                  <a:pt x="358807" y="112940"/>
                  <a:pt x="359569" y="116179"/>
                  <a:pt x="360426" y="121037"/>
                </a:cubicBezTo>
                <a:lnTo>
                  <a:pt x="360426" y="121799"/>
                </a:lnTo>
                <a:lnTo>
                  <a:pt x="361950" y="123989"/>
                </a:lnTo>
                <a:cubicBezTo>
                  <a:pt x="369040" y="136912"/>
                  <a:pt x="374389" y="150716"/>
                  <a:pt x="377857" y="165042"/>
                </a:cubicBezTo>
                <a:lnTo>
                  <a:pt x="380143" y="173043"/>
                </a:lnTo>
                <a:lnTo>
                  <a:pt x="384143" y="165042"/>
                </a:lnTo>
                <a:cubicBezTo>
                  <a:pt x="389593" y="151721"/>
                  <a:pt x="392811" y="137594"/>
                  <a:pt x="393668" y="123227"/>
                </a:cubicBezTo>
                <a:lnTo>
                  <a:pt x="393668" y="123227"/>
                </a:lnTo>
                <a:lnTo>
                  <a:pt x="390525" y="101034"/>
                </a:lnTo>
                <a:cubicBezTo>
                  <a:pt x="383543" y="85627"/>
                  <a:pt x="373307" y="71914"/>
                  <a:pt x="360521" y="60839"/>
                </a:cubicBezTo>
                <a:lnTo>
                  <a:pt x="354140" y="55981"/>
                </a:lnTo>
                <a:lnTo>
                  <a:pt x="355759" y="63982"/>
                </a:lnTo>
                <a:cubicBezTo>
                  <a:pt x="356521" y="73507"/>
                  <a:pt x="357378" y="80079"/>
                  <a:pt x="358140" y="87318"/>
                </a:cubicBezTo>
                <a:lnTo>
                  <a:pt x="358140" y="109035"/>
                </a:lnTo>
                <a:close/>
                <a:moveTo>
                  <a:pt x="432816" y="6165"/>
                </a:moveTo>
                <a:cubicBezTo>
                  <a:pt x="431959" y="3689"/>
                  <a:pt x="431197" y="2069"/>
                  <a:pt x="429578" y="1307"/>
                </a:cubicBezTo>
                <a:cubicBezTo>
                  <a:pt x="428315" y="163"/>
                  <a:pt x="426559" y="-267"/>
                  <a:pt x="424910" y="164"/>
                </a:cubicBezTo>
                <a:cubicBezTo>
                  <a:pt x="336233" y="23024"/>
                  <a:pt x="219932" y="75317"/>
                  <a:pt x="165354" y="190664"/>
                </a:cubicBezTo>
                <a:lnTo>
                  <a:pt x="117729" y="160946"/>
                </a:lnTo>
                <a:cubicBezTo>
                  <a:pt x="115348" y="158470"/>
                  <a:pt x="111347" y="160089"/>
                  <a:pt x="108966" y="162470"/>
                </a:cubicBezTo>
                <a:lnTo>
                  <a:pt x="94202" y="186283"/>
                </a:lnTo>
                <a:cubicBezTo>
                  <a:pt x="93511" y="187770"/>
                  <a:pt x="93216" y="189411"/>
                  <a:pt x="93345" y="191045"/>
                </a:cubicBezTo>
                <a:cubicBezTo>
                  <a:pt x="93735" y="192809"/>
                  <a:pt x="94886" y="194309"/>
                  <a:pt x="96488" y="195141"/>
                </a:cubicBezTo>
                <a:lnTo>
                  <a:pt x="174022" y="244957"/>
                </a:lnTo>
                <a:cubicBezTo>
                  <a:pt x="174879" y="244957"/>
                  <a:pt x="175641" y="245719"/>
                  <a:pt x="177260" y="245719"/>
                </a:cubicBezTo>
                <a:cubicBezTo>
                  <a:pt x="179392" y="245293"/>
                  <a:pt x="181330" y="244191"/>
                  <a:pt x="182785" y="242576"/>
                </a:cubicBezTo>
                <a:lnTo>
                  <a:pt x="198596" y="216001"/>
                </a:lnTo>
                <a:cubicBezTo>
                  <a:pt x="210705" y="193683"/>
                  <a:pt x="224728" y="172458"/>
                  <a:pt x="240506" y="152564"/>
                </a:cubicBezTo>
                <a:cubicBezTo>
                  <a:pt x="276225" y="104939"/>
                  <a:pt x="344996" y="54362"/>
                  <a:pt x="428625" y="13404"/>
                </a:cubicBezTo>
                <a:cubicBezTo>
                  <a:pt x="430919" y="12010"/>
                  <a:pt x="432406" y="9602"/>
                  <a:pt x="432626" y="6927"/>
                </a:cubicBez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6" name="Grafik 3">
            <a:extLst>
              <a:ext uri="{FF2B5EF4-FFF2-40B4-BE49-F238E27FC236}">
                <a16:creationId xmlns:a16="http://schemas.microsoft.com/office/drawing/2014/main" id="{19967DBD-9731-4120-99D9-9272D6A4F283}"/>
              </a:ext>
            </a:extLst>
          </p:cNvPr>
          <p:cNvSpPr/>
          <p:nvPr/>
        </p:nvSpPr>
        <p:spPr>
          <a:xfrm>
            <a:off x="7256634" y="1281354"/>
            <a:ext cx="499625" cy="499625"/>
          </a:xfrm>
          <a:custGeom>
            <a:avLst/>
            <a:gdLst>
              <a:gd name="connsiteX0" fmla="*/ 212979 w 425767"/>
              <a:gd name="connsiteY0" fmla="*/ 0 h 425767"/>
              <a:gd name="connsiteX1" fmla="*/ 0 w 425767"/>
              <a:gd name="connsiteY1" fmla="*/ 212789 h 425767"/>
              <a:gd name="connsiteX2" fmla="*/ 212789 w 425767"/>
              <a:gd name="connsiteY2" fmla="*/ 425768 h 425767"/>
              <a:gd name="connsiteX3" fmla="*/ 425767 w 425767"/>
              <a:gd name="connsiteY3" fmla="*/ 212979 h 425767"/>
              <a:gd name="connsiteX4" fmla="*/ 425768 w 425767"/>
              <a:gd name="connsiteY4" fmla="*/ 212884 h 425767"/>
              <a:gd name="connsiteX5" fmla="*/ 212979 w 425767"/>
              <a:gd name="connsiteY5" fmla="*/ 0 h 425767"/>
              <a:gd name="connsiteX6" fmla="*/ 409670 w 425767"/>
              <a:gd name="connsiteY6" fmla="*/ 204407 h 425767"/>
              <a:gd name="connsiteX7" fmla="*/ 406908 w 425767"/>
              <a:gd name="connsiteY7" fmla="*/ 204407 h 425767"/>
              <a:gd name="connsiteX8" fmla="*/ 393764 w 425767"/>
              <a:gd name="connsiteY8" fmla="*/ 216218 h 425767"/>
              <a:gd name="connsiteX9" fmla="*/ 390620 w 425767"/>
              <a:gd name="connsiteY9" fmla="*/ 225743 h 425767"/>
              <a:gd name="connsiteX10" fmla="*/ 389763 w 425767"/>
              <a:gd name="connsiteY10" fmla="*/ 234410 h 425767"/>
              <a:gd name="connsiteX11" fmla="*/ 376428 w 425767"/>
              <a:gd name="connsiteY11" fmla="*/ 219075 h 425767"/>
              <a:gd name="connsiteX12" fmla="*/ 370713 w 425767"/>
              <a:gd name="connsiteY12" fmla="*/ 200597 h 425767"/>
              <a:gd name="connsiteX13" fmla="*/ 364998 w 425767"/>
              <a:gd name="connsiteY13" fmla="*/ 200597 h 425767"/>
              <a:gd name="connsiteX14" fmla="*/ 354521 w 425767"/>
              <a:gd name="connsiteY14" fmla="*/ 192024 h 425767"/>
              <a:gd name="connsiteX15" fmla="*/ 343567 w 425767"/>
              <a:gd name="connsiteY15" fmla="*/ 194501 h 425767"/>
              <a:gd name="connsiteX16" fmla="*/ 332804 w 425767"/>
              <a:gd name="connsiteY16" fmla="*/ 191262 h 425767"/>
              <a:gd name="connsiteX17" fmla="*/ 320897 w 425767"/>
              <a:gd name="connsiteY17" fmla="*/ 189929 h 425767"/>
              <a:gd name="connsiteX18" fmla="*/ 314420 w 425767"/>
              <a:gd name="connsiteY18" fmla="*/ 183071 h 425767"/>
              <a:gd name="connsiteX19" fmla="*/ 308229 w 425767"/>
              <a:gd name="connsiteY19" fmla="*/ 186023 h 425767"/>
              <a:gd name="connsiteX20" fmla="*/ 322326 w 425767"/>
              <a:gd name="connsiteY20" fmla="*/ 201073 h 425767"/>
              <a:gd name="connsiteX21" fmla="*/ 334328 w 425767"/>
              <a:gd name="connsiteY21" fmla="*/ 199073 h 425767"/>
              <a:gd name="connsiteX22" fmla="*/ 339852 w 425767"/>
              <a:gd name="connsiteY22" fmla="*/ 207264 h 425767"/>
              <a:gd name="connsiteX23" fmla="*/ 330327 w 425767"/>
              <a:gd name="connsiteY23" fmla="*/ 223361 h 425767"/>
              <a:gd name="connsiteX24" fmla="*/ 310706 w 425767"/>
              <a:gd name="connsiteY24" fmla="*/ 230410 h 425767"/>
              <a:gd name="connsiteX25" fmla="*/ 302705 w 425767"/>
              <a:gd name="connsiteY25" fmla="*/ 217551 h 425767"/>
              <a:gd name="connsiteX26" fmla="*/ 290798 w 425767"/>
              <a:gd name="connsiteY26" fmla="*/ 206597 h 425767"/>
              <a:gd name="connsiteX27" fmla="*/ 283559 w 425767"/>
              <a:gd name="connsiteY27" fmla="*/ 195167 h 425767"/>
              <a:gd name="connsiteX28" fmla="*/ 283559 w 425767"/>
              <a:gd name="connsiteY28" fmla="*/ 210979 h 425767"/>
              <a:gd name="connsiteX29" fmla="*/ 312134 w 425767"/>
              <a:gd name="connsiteY29" fmla="*/ 239554 h 425767"/>
              <a:gd name="connsiteX30" fmla="*/ 326612 w 425767"/>
              <a:gd name="connsiteY30" fmla="*/ 234601 h 425767"/>
              <a:gd name="connsiteX31" fmla="*/ 327279 w 425767"/>
              <a:gd name="connsiteY31" fmla="*/ 245555 h 425767"/>
              <a:gd name="connsiteX32" fmla="*/ 312134 w 425767"/>
              <a:gd name="connsiteY32" fmla="*/ 281845 h 425767"/>
              <a:gd name="connsiteX33" fmla="*/ 314039 w 425767"/>
              <a:gd name="connsiteY33" fmla="*/ 314420 h 425767"/>
              <a:gd name="connsiteX34" fmla="*/ 303086 w 425767"/>
              <a:gd name="connsiteY34" fmla="*/ 320993 h 425767"/>
              <a:gd name="connsiteX35" fmla="*/ 310039 w 425767"/>
              <a:gd name="connsiteY35" fmla="*/ 336423 h 425767"/>
              <a:gd name="connsiteX36" fmla="*/ 302133 w 425767"/>
              <a:gd name="connsiteY36" fmla="*/ 349758 h 425767"/>
              <a:gd name="connsiteX37" fmla="*/ 291370 w 425767"/>
              <a:gd name="connsiteY37" fmla="*/ 369284 h 425767"/>
              <a:gd name="connsiteX38" fmla="*/ 275749 w 425767"/>
              <a:gd name="connsiteY38" fmla="*/ 374333 h 425767"/>
              <a:gd name="connsiteX39" fmla="*/ 267081 w 425767"/>
              <a:gd name="connsiteY39" fmla="*/ 344138 h 425767"/>
              <a:gd name="connsiteX40" fmla="*/ 254984 w 425767"/>
              <a:gd name="connsiteY40" fmla="*/ 320993 h 425767"/>
              <a:gd name="connsiteX41" fmla="*/ 254984 w 425767"/>
              <a:gd name="connsiteY41" fmla="*/ 304229 h 425767"/>
              <a:gd name="connsiteX42" fmla="*/ 240411 w 425767"/>
              <a:gd name="connsiteY42" fmla="*/ 282512 h 425767"/>
              <a:gd name="connsiteX43" fmla="*/ 241554 w 425767"/>
              <a:gd name="connsiteY43" fmla="*/ 269272 h 425767"/>
              <a:gd name="connsiteX44" fmla="*/ 233077 w 425767"/>
              <a:gd name="connsiteY44" fmla="*/ 271558 h 425767"/>
              <a:gd name="connsiteX45" fmla="*/ 227362 w 425767"/>
              <a:gd name="connsiteY45" fmla="*/ 265176 h 425767"/>
              <a:gd name="connsiteX46" fmla="*/ 201358 w 425767"/>
              <a:gd name="connsiteY46" fmla="*/ 276225 h 425767"/>
              <a:gd name="connsiteX47" fmla="*/ 189357 w 425767"/>
              <a:gd name="connsiteY47" fmla="*/ 262604 h 425767"/>
              <a:gd name="connsiteX48" fmla="*/ 181070 w 425767"/>
              <a:gd name="connsiteY48" fmla="*/ 252317 h 425767"/>
              <a:gd name="connsiteX49" fmla="*/ 181070 w 425767"/>
              <a:gd name="connsiteY49" fmla="*/ 238125 h 425767"/>
              <a:gd name="connsiteX50" fmla="*/ 178118 w 425767"/>
              <a:gd name="connsiteY50" fmla="*/ 228600 h 425767"/>
              <a:gd name="connsiteX51" fmla="*/ 190595 w 425767"/>
              <a:gd name="connsiteY51" fmla="*/ 204978 h 425767"/>
              <a:gd name="connsiteX52" fmla="*/ 189643 w 425767"/>
              <a:gd name="connsiteY52" fmla="*/ 198596 h 425767"/>
              <a:gd name="connsiteX53" fmla="*/ 194120 w 425767"/>
              <a:gd name="connsiteY53" fmla="*/ 194501 h 425767"/>
              <a:gd name="connsiteX54" fmla="*/ 194882 w 425767"/>
              <a:gd name="connsiteY54" fmla="*/ 188309 h 425767"/>
              <a:gd name="connsiteX55" fmla="*/ 205835 w 425767"/>
              <a:gd name="connsiteY55" fmla="*/ 187547 h 425767"/>
              <a:gd name="connsiteX56" fmla="*/ 218313 w 425767"/>
              <a:gd name="connsiteY56" fmla="*/ 180975 h 425767"/>
              <a:gd name="connsiteX57" fmla="*/ 229457 w 425767"/>
              <a:gd name="connsiteY57" fmla="*/ 183928 h 425767"/>
              <a:gd name="connsiteX58" fmla="*/ 237268 w 425767"/>
              <a:gd name="connsiteY58" fmla="*/ 192024 h 425767"/>
              <a:gd name="connsiteX59" fmla="*/ 249745 w 425767"/>
              <a:gd name="connsiteY59" fmla="*/ 194405 h 425767"/>
              <a:gd name="connsiteX60" fmla="*/ 254889 w 425767"/>
              <a:gd name="connsiteY60" fmla="*/ 187928 h 425767"/>
              <a:gd name="connsiteX61" fmla="*/ 284988 w 425767"/>
              <a:gd name="connsiteY61" fmla="*/ 181832 h 425767"/>
              <a:gd name="connsiteX62" fmla="*/ 283464 w 425767"/>
              <a:gd name="connsiteY62" fmla="*/ 172307 h 425767"/>
              <a:gd name="connsiteX63" fmla="*/ 273272 w 425767"/>
              <a:gd name="connsiteY63" fmla="*/ 172307 h 425767"/>
              <a:gd name="connsiteX64" fmla="*/ 274511 w 425767"/>
              <a:gd name="connsiteY64" fmla="*/ 156020 h 425767"/>
              <a:gd name="connsiteX65" fmla="*/ 291465 w 425767"/>
              <a:gd name="connsiteY65" fmla="*/ 156496 h 425767"/>
              <a:gd name="connsiteX66" fmla="*/ 295847 w 425767"/>
              <a:gd name="connsiteY66" fmla="*/ 154781 h 425767"/>
              <a:gd name="connsiteX67" fmla="*/ 288417 w 425767"/>
              <a:gd name="connsiteY67" fmla="*/ 147733 h 425767"/>
              <a:gd name="connsiteX68" fmla="*/ 286226 w 425767"/>
              <a:gd name="connsiteY68" fmla="*/ 138208 h 425767"/>
              <a:gd name="connsiteX69" fmla="*/ 280130 w 425767"/>
              <a:gd name="connsiteY69" fmla="*/ 149066 h 425767"/>
              <a:gd name="connsiteX70" fmla="*/ 273177 w 425767"/>
              <a:gd name="connsiteY70" fmla="*/ 145542 h 425767"/>
              <a:gd name="connsiteX71" fmla="*/ 265748 w 425767"/>
              <a:gd name="connsiteY71" fmla="*/ 146876 h 425767"/>
              <a:gd name="connsiteX72" fmla="*/ 265748 w 425767"/>
              <a:gd name="connsiteY72" fmla="*/ 159068 h 425767"/>
              <a:gd name="connsiteX73" fmla="*/ 262128 w 425767"/>
              <a:gd name="connsiteY73" fmla="*/ 167735 h 425767"/>
              <a:gd name="connsiteX74" fmla="*/ 260128 w 425767"/>
              <a:gd name="connsiteY74" fmla="*/ 172593 h 425767"/>
              <a:gd name="connsiteX75" fmla="*/ 249269 w 425767"/>
              <a:gd name="connsiteY75" fmla="*/ 169736 h 425767"/>
              <a:gd name="connsiteX76" fmla="*/ 239078 w 425767"/>
              <a:gd name="connsiteY76" fmla="*/ 160211 h 425767"/>
              <a:gd name="connsiteX77" fmla="*/ 242411 w 425767"/>
              <a:gd name="connsiteY77" fmla="*/ 173069 h 425767"/>
              <a:gd name="connsiteX78" fmla="*/ 238030 w 425767"/>
              <a:gd name="connsiteY78" fmla="*/ 176213 h 425767"/>
              <a:gd name="connsiteX79" fmla="*/ 240125 w 425767"/>
              <a:gd name="connsiteY79" fmla="*/ 170498 h 425767"/>
              <a:gd name="connsiteX80" fmla="*/ 222123 w 425767"/>
              <a:gd name="connsiteY80" fmla="*/ 158591 h 425767"/>
              <a:gd name="connsiteX81" fmla="*/ 211741 w 425767"/>
              <a:gd name="connsiteY81" fmla="*/ 165449 h 425767"/>
              <a:gd name="connsiteX82" fmla="*/ 204026 w 425767"/>
              <a:gd name="connsiteY82" fmla="*/ 170212 h 425767"/>
              <a:gd name="connsiteX83" fmla="*/ 201358 w 425767"/>
              <a:gd name="connsiteY83" fmla="*/ 184023 h 425767"/>
              <a:gd name="connsiteX84" fmla="*/ 185738 w 425767"/>
              <a:gd name="connsiteY84" fmla="*/ 181928 h 425767"/>
              <a:gd name="connsiteX85" fmla="*/ 189452 w 425767"/>
              <a:gd name="connsiteY85" fmla="*/ 164116 h 425767"/>
              <a:gd name="connsiteX86" fmla="*/ 201740 w 425767"/>
              <a:gd name="connsiteY86" fmla="*/ 161925 h 425767"/>
              <a:gd name="connsiteX87" fmla="*/ 192215 w 425767"/>
              <a:gd name="connsiteY87" fmla="*/ 147542 h 425767"/>
              <a:gd name="connsiteX88" fmla="*/ 205169 w 425767"/>
              <a:gd name="connsiteY88" fmla="*/ 138779 h 425767"/>
              <a:gd name="connsiteX89" fmla="*/ 212693 w 425767"/>
              <a:gd name="connsiteY89" fmla="*/ 128588 h 425767"/>
              <a:gd name="connsiteX90" fmla="*/ 209645 w 425767"/>
              <a:gd name="connsiteY90" fmla="*/ 117920 h 425767"/>
              <a:gd name="connsiteX91" fmla="*/ 214217 w 425767"/>
              <a:gd name="connsiteY91" fmla="*/ 117920 h 425767"/>
              <a:gd name="connsiteX92" fmla="*/ 221075 w 425767"/>
              <a:gd name="connsiteY92" fmla="*/ 124968 h 425767"/>
              <a:gd name="connsiteX93" fmla="*/ 241364 w 425767"/>
              <a:gd name="connsiteY93" fmla="*/ 117920 h 425767"/>
              <a:gd name="connsiteX94" fmla="*/ 243650 w 425767"/>
              <a:gd name="connsiteY94" fmla="*/ 109157 h 425767"/>
              <a:gd name="connsiteX95" fmla="*/ 251555 w 425767"/>
              <a:gd name="connsiteY95" fmla="*/ 95250 h 425767"/>
              <a:gd name="connsiteX96" fmla="*/ 239078 w 425767"/>
              <a:gd name="connsiteY96" fmla="*/ 88202 h 425767"/>
              <a:gd name="connsiteX97" fmla="*/ 230600 w 425767"/>
              <a:gd name="connsiteY97" fmla="*/ 94298 h 425767"/>
              <a:gd name="connsiteX98" fmla="*/ 234506 w 425767"/>
              <a:gd name="connsiteY98" fmla="*/ 106013 h 425767"/>
              <a:gd name="connsiteX99" fmla="*/ 229648 w 425767"/>
              <a:gd name="connsiteY99" fmla="*/ 116777 h 425767"/>
              <a:gd name="connsiteX100" fmla="*/ 211741 w 425767"/>
              <a:gd name="connsiteY100" fmla="*/ 113252 h 425767"/>
              <a:gd name="connsiteX101" fmla="*/ 205835 w 425767"/>
              <a:gd name="connsiteY101" fmla="*/ 101251 h 425767"/>
              <a:gd name="connsiteX102" fmla="*/ 224409 w 425767"/>
              <a:gd name="connsiteY102" fmla="*/ 76200 h 425767"/>
              <a:gd name="connsiteX103" fmla="*/ 242697 w 425767"/>
              <a:gd name="connsiteY103" fmla="*/ 55626 h 425767"/>
              <a:gd name="connsiteX104" fmla="*/ 257270 w 425767"/>
              <a:gd name="connsiteY104" fmla="*/ 57150 h 425767"/>
              <a:gd name="connsiteX105" fmla="*/ 270986 w 425767"/>
              <a:gd name="connsiteY105" fmla="*/ 60103 h 425767"/>
              <a:gd name="connsiteX106" fmla="*/ 277844 w 425767"/>
              <a:gd name="connsiteY106" fmla="*/ 64008 h 425767"/>
              <a:gd name="connsiteX107" fmla="*/ 270034 w 425767"/>
              <a:gd name="connsiteY107" fmla="*/ 70104 h 425767"/>
              <a:gd name="connsiteX108" fmla="*/ 274034 w 425767"/>
              <a:gd name="connsiteY108" fmla="*/ 79153 h 425767"/>
              <a:gd name="connsiteX109" fmla="*/ 286607 w 425767"/>
              <a:gd name="connsiteY109" fmla="*/ 68866 h 425767"/>
              <a:gd name="connsiteX110" fmla="*/ 291370 w 425767"/>
              <a:gd name="connsiteY110" fmla="*/ 57531 h 425767"/>
              <a:gd name="connsiteX111" fmla="*/ 293561 w 425767"/>
              <a:gd name="connsiteY111" fmla="*/ 59627 h 425767"/>
              <a:gd name="connsiteX112" fmla="*/ 296132 w 425767"/>
              <a:gd name="connsiteY112" fmla="*/ 66675 h 425767"/>
              <a:gd name="connsiteX113" fmla="*/ 317945 w 425767"/>
              <a:gd name="connsiteY113" fmla="*/ 53626 h 425767"/>
              <a:gd name="connsiteX114" fmla="*/ 322231 w 425767"/>
              <a:gd name="connsiteY114" fmla="*/ 49054 h 425767"/>
              <a:gd name="connsiteX115" fmla="*/ 409670 w 425767"/>
              <a:gd name="connsiteY115" fmla="*/ 204407 h 425767"/>
              <a:gd name="connsiteX116" fmla="*/ 162496 w 425767"/>
              <a:gd name="connsiteY116" fmla="*/ 132779 h 425767"/>
              <a:gd name="connsiteX117" fmla="*/ 169640 w 425767"/>
              <a:gd name="connsiteY117" fmla="*/ 132779 h 425767"/>
              <a:gd name="connsiteX118" fmla="*/ 174974 w 425767"/>
              <a:gd name="connsiteY118" fmla="*/ 138113 h 425767"/>
              <a:gd name="connsiteX119" fmla="*/ 184499 w 425767"/>
              <a:gd name="connsiteY119" fmla="*/ 160782 h 425767"/>
              <a:gd name="connsiteX120" fmla="*/ 169640 w 425767"/>
              <a:gd name="connsiteY120" fmla="*/ 160782 h 425767"/>
              <a:gd name="connsiteX121" fmla="*/ 169640 w 425767"/>
              <a:gd name="connsiteY121" fmla="*/ 148304 h 425767"/>
              <a:gd name="connsiteX122" fmla="*/ 113157 w 425767"/>
              <a:gd name="connsiteY122" fmla="*/ 94107 h 425767"/>
              <a:gd name="connsiteX123" fmla="*/ 117729 w 425767"/>
              <a:gd name="connsiteY123" fmla="*/ 85725 h 425767"/>
              <a:gd name="connsiteX124" fmla="*/ 113538 w 425767"/>
              <a:gd name="connsiteY124" fmla="*/ 77629 h 425767"/>
              <a:gd name="connsiteX125" fmla="*/ 104870 w 425767"/>
              <a:gd name="connsiteY125" fmla="*/ 80486 h 425767"/>
              <a:gd name="connsiteX126" fmla="*/ 104870 w 425767"/>
              <a:gd name="connsiteY126" fmla="*/ 71914 h 425767"/>
              <a:gd name="connsiteX127" fmla="*/ 87535 w 425767"/>
              <a:gd name="connsiteY127" fmla="*/ 61246 h 425767"/>
              <a:gd name="connsiteX128" fmla="*/ 155448 w 425767"/>
              <a:gd name="connsiteY128" fmla="*/ 24670 h 425767"/>
              <a:gd name="connsiteX129" fmla="*/ 166878 w 425767"/>
              <a:gd name="connsiteY129" fmla="*/ 26575 h 425767"/>
              <a:gd name="connsiteX130" fmla="*/ 181070 w 425767"/>
              <a:gd name="connsiteY130" fmla="*/ 21717 h 425767"/>
              <a:gd name="connsiteX131" fmla="*/ 190595 w 425767"/>
              <a:gd name="connsiteY131" fmla="*/ 21717 h 425767"/>
              <a:gd name="connsiteX132" fmla="*/ 177165 w 425767"/>
              <a:gd name="connsiteY132" fmla="*/ 33147 h 425767"/>
              <a:gd name="connsiteX133" fmla="*/ 173927 w 425767"/>
              <a:gd name="connsiteY133" fmla="*/ 40958 h 425767"/>
              <a:gd name="connsiteX134" fmla="*/ 178975 w 425767"/>
              <a:gd name="connsiteY134" fmla="*/ 44482 h 425767"/>
              <a:gd name="connsiteX135" fmla="*/ 175546 w 425767"/>
              <a:gd name="connsiteY135" fmla="*/ 49054 h 425767"/>
              <a:gd name="connsiteX136" fmla="*/ 175546 w 425767"/>
              <a:gd name="connsiteY136" fmla="*/ 57150 h 425767"/>
              <a:gd name="connsiteX137" fmla="*/ 177927 w 425767"/>
              <a:gd name="connsiteY137" fmla="*/ 70295 h 425767"/>
              <a:gd name="connsiteX138" fmla="*/ 165068 w 425767"/>
              <a:gd name="connsiteY138" fmla="*/ 66675 h 425767"/>
              <a:gd name="connsiteX139" fmla="*/ 169355 w 425767"/>
              <a:gd name="connsiteY139" fmla="*/ 79534 h 425767"/>
              <a:gd name="connsiteX140" fmla="*/ 158591 w 425767"/>
              <a:gd name="connsiteY140" fmla="*/ 86392 h 425767"/>
              <a:gd name="connsiteX141" fmla="*/ 147447 w 425767"/>
              <a:gd name="connsiteY141" fmla="*/ 95250 h 425767"/>
              <a:gd name="connsiteX142" fmla="*/ 136684 w 425767"/>
              <a:gd name="connsiteY142" fmla="*/ 104775 h 425767"/>
              <a:gd name="connsiteX143" fmla="*/ 133445 w 425767"/>
              <a:gd name="connsiteY143" fmla="*/ 117920 h 425767"/>
              <a:gd name="connsiteX144" fmla="*/ 118872 w 425767"/>
              <a:gd name="connsiteY144" fmla="*/ 109347 h 425767"/>
              <a:gd name="connsiteX145" fmla="*/ 113062 w 425767"/>
              <a:gd name="connsiteY145" fmla="*/ 99822 h 425767"/>
              <a:gd name="connsiteX146" fmla="*/ 116205 w 425767"/>
              <a:gd name="connsiteY146" fmla="*/ 97346 h 425767"/>
              <a:gd name="connsiteX147" fmla="*/ 29337 w 425767"/>
              <a:gd name="connsiteY147" fmla="*/ 142875 h 425767"/>
              <a:gd name="connsiteX148" fmla="*/ 34480 w 425767"/>
              <a:gd name="connsiteY148" fmla="*/ 148971 h 425767"/>
              <a:gd name="connsiteX149" fmla="*/ 40195 w 425767"/>
              <a:gd name="connsiteY149" fmla="*/ 145542 h 425767"/>
              <a:gd name="connsiteX150" fmla="*/ 59245 w 425767"/>
              <a:gd name="connsiteY150" fmla="*/ 156972 h 425767"/>
              <a:gd name="connsiteX151" fmla="*/ 67818 w 425767"/>
              <a:gd name="connsiteY151" fmla="*/ 163830 h 425767"/>
              <a:gd name="connsiteX152" fmla="*/ 63056 w 425767"/>
              <a:gd name="connsiteY152" fmla="*/ 152400 h 425767"/>
              <a:gd name="connsiteX153" fmla="*/ 67628 w 425767"/>
              <a:gd name="connsiteY153" fmla="*/ 141542 h 425767"/>
              <a:gd name="connsiteX154" fmla="*/ 59626 w 425767"/>
              <a:gd name="connsiteY154" fmla="*/ 134588 h 425767"/>
              <a:gd name="connsiteX155" fmla="*/ 65341 w 425767"/>
              <a:gd name="connsiteY155" fmla="*/ 122587 h 425767"/>
              <a:gd name="connsiteX156" fmla="*/ 81343 w 425767"/>
              <a:gd name="connsiteY156" fmla="*/ 126683 h 425767"/>
              <a:gd name="connsiteX157" fmla="*/ 80296 w 425767"/>
              <a:gd name="connsiteY157" fmla="*/ 131445 h 425767"/>
              <a:gd name="connsiteX158" fmla="*/ 90964 w 425767"/>
              <a:gd name="connsiteY158" fmla="*/ 127159 h 425767"/>
              <a:gd name="connsiteX159" fmla="*/ 101727 w 425767"/>
              <a:gd name="connsiteY159" fmla="*/ 138684 h 425767"/>
              <a:gd name="connsiteX160" fmla="*/ 111252 w 425767"/>
              <a:gd name="connsiteY160" fmla="*/ 144399 h 425767"/>
              <a:gd name="connsiteX161" fmla="*/ 108394 w 425767"/>
              <a:gd name="connsiteY161" fmla="*/ 161925 h 425767"/>
              <a:gd name="connsiteX162" fmla="*/ 89344 w 425767"/>
              <a:gd name="connsiteY162" fmla="*/ 165926 h 425767"/>
              <a:gd name="connsiteX163" fmla="*/ 101632 w 425767"/>
              <a:gd name="connsiteY163" fmla="*/ 175451 h 425767"/>
              <a:gd name="connsiteX164" fmla="*/ 104013 w 425767"/>
              <a:gd name="connsiteY164" fmla="*/ 185928 h 425767"/>
              <a:gd name="connsiteX165" fmla="*/ 96965 w 425767"/>
              <a:gd name="connsiteY165" fmla="*/ 184118 h 425767"/>
              <a:gd name="connsiteX166" fmla="*/ 89630 w 425767"/>
              <a:gd name="connsiteY166" fmla="*/ 186309 h 425767"/>
              <a:gd name="connsiteX167" fmla="*/ 83820 w 425767"/>
              <a:gd name="connsiteY167" fmla="*/ 191167 h 425767"/>
              <a:gd name="connsiteX168" fmla="*/ 78772 w 425767"/>
              <a:gd name="connsiteY168" fmla="*/ 201263 h 425767"/>
              <a:gd name="connsiteX169" fmla="*/ 80010 w 425767"/>
              <a:gd name="connsiteY169" fmla="*/ 211931 h 425767"/>
              <a:gd name="connsiteX170" fmla="*/ 70485 w 425767"/>
              <a:gd name="connsiteY170" fmla="*/ 226695 h 425767"/>
              <a:gd name="connsiteX171" fmla="*/ 73152 w 425767"/>
              <a:gd name="connsiteY171" fmla="*/ 237363 h 425767"/>
              <a:gd name="connsiteX172" fmla="*/ 71247 w 425767"/>
              <a:gd name="connsiteY172" fmla="*/ 239459 h 425767"/>
              <a:gd name="connsiteX173" fmla="*/ 61722 w 425767"/>
              <a:gd name="connsiteY173" fmla="*/ 234696 h 425767"/>
              <a:gd name="connsiteX174" fmla="*/ 50959 w 425767"/>
              <a:gd name="connsiteY174" fmla="*/ 236696 h 425767"/>
              <a:gd name="connsiteX175" fmla="*/ 48292 w 425767"/>
              <a:gd name="connsiteY175" fmla="*/ 244031 h 425767"/>
              <a:gd name="connsiteX176" fmla="*/ 41148 w 425767"/>
              <a:gd name="connsiteY176" fmla="*/ 260985 h 425767"/>
              <a:gd name="connsiteX177" fmla="*/ 48768 w 425767"/>
              <a:gd name="connsiteY177" fmla="*/ 265081 h 425767"/>
              <a:gd name="connsiteX178" fmla="*/ 53531 w 425767"/>
              <a:gd name="connsiteY178" fmla="*/ 256985 h 425767"/>
              <a:gd name="connsiteX179" fmla="*/ 59626 w 425767"/>
              <a:gd name="connsiteY179" fmla="*/ 255937 h 425767"/>
              <a:gd name="connsiteX180" fmla="*/ 59626 w 425767"/>
              <a:gd name="connsiteY180" fmla="*/ 268510 h 425767"/>
              <a:gd name="connsiteX181" fmla="*/ 66866 w 425767"/>
              <a:gd name="connsiteY181" fmla="*/ 268510 h 425767"/>
              <a:gd name="connsiteX182" fmla="*/ 70866 w 425767"/>
              <a:gd name="connsiteY182" fmla="*/ 274796 h 425767"/>
              <a:gd name="connsiteX183" fmla="*/ 80391 w 425767"/>
              <a:gd name="connsiteY183" fmla="*/ 278321 h 425767"/>
              <a:gd name="connsiteX184" fmla="*/ 89916 w 425767"/>
              <a:gd name="connsiteY184" fmla="*/ 286512 h 425767"/>
              <a:gd name="connsiteX185" fmla="*/ 92488 w 425767"/>
              <a:gd name="connsiteY185" fmla="*/ 280702 h 425767"/>
              <a:gd name="connsiteX186" fmla="*/ 112586 w 425767"/>
              <a:gd name="connsiteY186" fmla="*/ 278321 h 425767"/>
              <a:gd name="connsiteX187" fmla="*/ 138017 w 425767"/>
              <a:gd name="connsiteY187" fmla="*/ 286131 h 425767"/>
              <a:gd name="connsiteX188" fmla="*/ 148781 w 425767"/>
              <a:gd name="connsiteY188" fmla="*/ 305753 h 425767"/>
              <a:gd name="connsiteX189" fmla="*/ 181737 w 425767"/>
              <a:gd name="connsiteY189" fmla="*/ 309658 h 425767"/>
              <a:gd name="connsiteX190" fmla="*/ 185261 w 425767"/>
              <a:gd name="connsiteY190" fmla="*/ 320421 h 425767"/>
              <a:gd name="connsiteX191" fmla="*/ 179165 w 425767"/>
              <a:gd name="connsiteY191" fmla="*/ 358521 h 425767"/>
              <a:gd name="connsiteX192" fmla="*/ 162211 w 425767"/>
              <a:gd name="connsiteY192" fmla="*/ 383381 h 425767"/>
              <a:gd name="connsiteX193" fmla="*/ 156591 w 425767"/>
              <a:gd name="connsiteY193" fmla="*/ 401384 h 425767"/>
              <a:gd name="connsiteX194" fmla="*/ 116872 w 425767"/>
              <a:gd name="connsiteY194" fmla="*/ 384620 h 425767"/>
              <a:gd name="connsiteX195" fmla="*/ 116872 w 425767"/>
              <a:gd name="connsiteY195" fmla="*/ 361093 h 425767"/>
              <a:gd name="connsiteX196" fmla="*/ 97250 w 425767"/>
              <a:gd name="connsiteY196" fmla="*/ 350711 h 425767"/>
              <a:gd name="connsiteX197" fmla="*/ 84487 w 425767"/>
              <a:gd name="connsiteY197" fmla="*/ 329184 h 425767"/>
              <a:gd name="connsiteX198" fmla="*/ 84487 w 425767"/>
              <a:gd name="connsiteY198" fmla="*/ 300133 h 425767"/>
              <a:gd name="connsiteX199" fmla="*/ 87916 w 425767"/>
              <a:gd name="connsiteY199" fmla="*/ 292418 h 425767"/>
              <a:gd name="connsiteX200" fmla="*/ 84487 w 425767"/>
              <a:gd name="connsiteY200" fmla="*/ 287750 h 425767"/>
              <a:gd name="connsiteX201" fmla="*/ 69723 w 425767"/>
              <a:gd name="connsiteY201" fmla="*/ 283845 h 425767"/>
              <a:gd name="connsiteX202" fmla="*/ 64198 w 425767"/>
              <a:gd name="connsiteY202" fmla="*/ 278892 h 425767"/>
              <a:gd name="connsiteX203" fmla="*/ 45148 w 425767"/>
              <a:gd name="connsiteY203" fmla="*/ 271748 h 425767"/>
              <a:gd name="connsiteX204" fmla="*/ 23717 w 425767"/>
              <a:gd name="connsiteY204" fmla="*/ 265462 h 425767"/>
              <a:gd name="connsiteX205" fmla="*/ 29337 w 425767"/>
              <a:gd name="connsiteY205" fmla="*/ 142875 h 425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</a:cxnLst>
            <a:rect l="l" t="t" r="r" b="b"/>
            <a:pathLst>
              <a:path w="425767" h="425767">
                <a:moveTo>
                  <a:pt x="212979" y="0"/>
                </a:moveTo>
                <a:cubicBezTo>
                  <a:pt x="95407" y="-53"/>
                  <a:pt x="53" y="95216"/>
                  <a:pt x="0" y="212789"/>
                </a:cubicBezTo>
                <a:cubicBezTo>
                  <a:pt x="-53" y="330361"/>
                  <a:pt x="95216" y="425715"/>
                  <a:pt x="212789" y="425768"/>
                </a:cubicBezTo>
                <a:cubicBezTo>
                  <a:pt x="330361" y="425820"/>
                  <a:pt x="425715" y="330551"/>
                  <a:pt x="425767" y="212979"/>
                </a:cubicBezTo>
                <a:cubicBezTo>
                  <a:pt x="425767" y="212947"/>
                  <a:pt x="425768" y="212916"/>
                  <a:pt x="425768" y="212884"/>
                </a:cubicBezTo>
                <a:cubicBezTo>
                  <a:pt x="425663" y="95392"/>
                  <a:pt x="330471" y="158"/>
                  <a:pt x="212979" y="0"/>
                </a:cubicBezTo>
                <a:close/>
                <a:moveTo>
                  <a:pt x="409670" y="204407"/>
                </a:moveTo>
                <a:lnTo>
                  <a:pt x="406908" y="204407"/>
                </a:lnTo>
                <a:lnTo>
                  <a:pt x="393764" y="216218"/>
                </a:lnTo>
                <a:lnTo>
                  <a:pt x="390620" y="225743"/>
                </a:lnTo>
                <a:lnTo>
                  <a:pt x="389763" y="234410"/>
                </a:lnTo>
                <a:lnTo>
                  <a:pt x="376428" y="219075"/>
                </a:lnTo>
                <a:lnTo>
                  <a:pt x="370713" y="200597"/>
                </a:lnTo>
                <a:lnTo>
                  <a:pt x="364998" y="200597"/>
                </a:lnTo>
                <a:lnTo>
                  <a:pt x="354521" y="192024"/>
                </a:lnTo>
                <a:lnTo>
                  <a:pt x="343567" y="194501"/>
                </a:lnTo>
                <a:lnTo>
                  <a:pt x="332804" y="191262"/>
                </a:lnTo>
                <a:lnTo>
                  <a:pt x="320897" y="189929"/>
                </a:lnTo>
                <a:lnTo>
                  <a:pt x="314420" y="183071"/>
                </a:lnTo>
                <a:lnTo>
                  <a:pt x="308229" y="186023"/>
                </a:lnTo>
                <a:lnTo>
                  <a:pt x="322326" y="201073"/>
                </a:lnTo>
                <a:lnTo>
                  <a:pt x="334328" y="199073"/>
                </a:lnTo>
                <a:lnTo>
                  <a:pt x="339852" y="207264"/>
                </a:lnTo>
                <a:lnTo>
                  <a:pt x="330327" y="223361"/>
                </a:lnTo>
                <a:lnTo>
                  <a:pt x="310706" y="230410"/>
                </a:lnTo>
                <a:lnTo>
                  <a:pt x="302705" y="217551"/>
                </a:lnTo>
                <a:lnTo>
                  <a:pt x="290798" y="206597"/>
                </a:lnTo>
                <a:lnTo>
                  <a:pt x="283559" y="195167"/>
                </a:lnTo>
                <a:lnTo>
                  <a:pt x="283559" y="210979"/>
                </a:lnTo>
                <a:lnTo>
                  <a:pt x="312134" y="239554"/>
                </a:lnTo>
                <a:lnTo>
                  <a:pt x="326612" y="234601"/>
                </a:lnTo>
                <a:lnTo>
                  <a:pt x="327279" y="245555"/>
                </a:lnTo>
                <a:lnTo>
                  <a:pt x="312134" y="281845"/>
                </a:lnTo>
                <a:lnTo>
                  <a:pt x="314039" y="314420"/>
                </a:lnTo>
                <a:lnTo>
                  <a:pt x="303086" y="320993"/>
                </a:lnTo>
                <a:lnTo>
                  <a:pt x="310039" y="336423"/>
                </a:lnTo>
                <a:lnTo>
                  <a:pt x="302133" y="349758"/>
                </a:lnTo>
                <a:lnTo>
                  <a:pt x="291370" y="369284"/>
                </a:lnTo>
                <a:lnTo>
                  <a:pt x="275749" y="374333"/>
                </a:lnTo>
                <a:lnTo>
                  <a:pt x="267081" y="344138"/>
                </a:lnTo>
                <a:lnTo>
                  <a:pt x="254984" y="320993"/>
                </a:lnTo>
                <a:lnTo>
                  <a:pt x="254984" y="304229"/>
                </a:lnTo>
                <a:lnTo>
                  <a:pt x="240411" y="282512"/>
                </a:lnTo>
                <a:lnTo>
                  <a:pt x="241554" y="269272"/>
                </a:lnTo>
                <a:lnTo>
                  <a:pt x="233077" y="271558"/>
                </a:lnTo>
                <a:lnTo>
                  <a:pt x="227362" y="265176"/>
                </a:lnTo>
                <a:lnTo>
                  <a:pt x="201358" y="276225"/>
                </a:lnTo>
                <a:lnTo>
                  <a:pt x="189357" y="262604"/>
                </a:lnTo>
                <a:lnTo>
                  <a:pt x="181070" y="252317"/>
                </a:lnTo>
                <a:lnTo>
                  <a:pt x="181070" y="238125"/>
                </a:lnTo>
                <a:lnTo>
                  <a:pt x="178118" y="228600"/>
                </a:lnTo>
                <a:lnTo>
                  <a:pt x="190595" y="204978"/>
                </a:lnTo>
                <a:lnTo>
                  <a:pt x="189643" y="198596"/>
                </a:lnTo>
                <a:lnTo>
                  <a:pt x="194120" y="194501"/>
                </a:lnTo>
                <a:lnTo>
                  <a:pt x="194882" y="188309"/>
                </a:lnTo>
                <a:lnTo>
                  <a:pt x="205835" y="187547"/>
                </a:lnTo>
                <a:lnTo>
                  <a:pt x="218313" y="180975"/>
                </a:lnTo>
                <a:lnTo>
                  <a:pt x="229457" y="183928"/>
                </a:lnTo>
                <a:lnTo>
                  <a:pt x="237268" y="192024"/>
                </a:lnTo>
                <a:lnTo>
                  <a:pt x="249745" y="194405"/>
                </a:lnTo>
                <a:lnTo>
                  <a:pt x="254889" y="187928"/>
                </a:lnTo>
                <a:lnTo>
                  <a:pt x="284988" y="181832"/>
                </a:lnTo>
                <a:lnTo>
                  <a:pt x="283464" y="172307"/>
                </a:lnTo>
                <a:lnTo>
                  <a:pt x="273272" y="172307"/>
                </a:lnTo>
                <a:lnTo>
                  <a:pt x="274511" y="156020"/>
                </a:lnTo>
                <a:lnTo>
                  <a:pt x="291465" y="156496"/>
                </a:lnTo>
                <a:lnTo>
                  <a:pt x="295847" y="154781"/>
                </a:lnTo>
                <a:lnTo>
                  <a:pt x="288417" y="147733"/>
                </a:lnTo>
                <a:lnTo>
                  <a:pt x="286226" y="138208"/>
                </a:lnTo>
                <a:lnTo>
                  <a:pt x="280130" y="149066"/>
                </a:lnTo>
                <a:lnTo>
                  <a:pt x="273177" y="145542"/>
                </a:lnTo>
                <a:lnTo>
                  <a:pt x="265748" y="146876"/>
                </a:lnTo>
                <a:lnTo>
                  <a:pt x="265748" y="159068"/>
                </a:lnTo>
                <a:lnTo>
                  <a:pt x="262128" y="167735"/>
                </a:lnTo>
                <a:lnTo>
                  <a:pt x="260128" y="172593"/>
                </a:lnTo>
                <a:lnTo>
                  <a:pt x="249269" y="169736"/>
                </a:lnTo>
                <a:lnTo>
                  <a:pt x="239078" y="160211"/>
                </a:lnTo>
                <a:lnTo>
                  <a:pt x="242411" y="173069"/>
                </a:lnTo>
                <a:lnTo>
                  <a:pt x="238030" y="176213"/>
                </a:lnTo>
                <a:lnTo>
                  <a:pt x="240125" y="170498"/>
                </a:lnTo>
                <a:lnTo>
                  <a:pt x="222123" y="158591"/>
                </a:lnTo>
                <a:lnTo>
                  <a:pt x="211741" y="165449"/>
                </a:lnTo>
                <a:lnTo>
                  <a:pt x="204026" y="170212"/>
                </a:lnTo>
                <a:lnTo>
                  <a:pt x="201358" y="184023"/>
                </a:lnTo>
                <a:lnTo>
                  <a:pt x="185738" y="181928"/>
                </a:lnTo>
                <a:lnTo>
                  <a:pt x="189452" y="164116"/>
                </a:lnTo>
                <a:lnTo>
                  <a:pt x="201740" y="161925"/>
                </a:lnTo>
                <a:lnTo>
                  <a:pt x="192215" y="147542"/>
                </a:lnTo>
                <a:lnTo>
                  <a:pt x="205169" y="138779"/>
                </a:lnTo>
                <a:lnTo>
                  <a:pt x="212693" y="128588"/>
                </a:lnTo>
                <a:lnTo>
                  <a:pt x="209645" y="117920"/>
                </a:lnTo>
                <a:lnTo>
                  <a:pt x="214217" y="117920"/>
                </a:lnTo>
                <a:lnTo>
                  <a:pt x="221075" y="124968"/>
                </a:lnTo>
                <a:lnTo>
                  <a:pt x="241364" y="117920"/>
                </a:lnTo>
                <a:lnTo>
                  <a:pt x="243650" y="109157"/>
                </a:lnTo>
                <a:lnTo>
                  <a:pt x="251555" y="95250"/>
                </a:lnTo>
                <a:lnTo>
                  <a:pt x="239078" y="88202"/>
                </a:lnTo>
                <a:lnTo>
                  <a:pt x="230600" y="94298"/>
                </a:lnTo>
                <a:lnTo>
                  <a:pt x="234506" y="106013"/>
                </a:lnTo>
                <a:lnTo>
                  <a:pt x="229648" y="116777"/>
                </a:lnTo>
                <a:lnTo>
                  <a:pt x="211741" y="113252"/>
                </a:lnTo>
                <a:lnTo>
                  <a:pt x="205835" y="101251"/>
                </a:lnTo>
                <a:lnTo>
                  <a:pt x="224409" y="76200"/>
                </a:lnTo>
                <a:lnTo>
                  <a:pt x="242697" y="55626"/>
                </a:lnTo>
                <a:lnTo>
                  <a:pt x="257270" y="57150"/>
                </a:lnTo>
                <a:lnTo>
                  <a:pt x="270986" y="60103"/>
                </a:lnTo>
                <a:lnTo>
                  <a:pt x="277844" y="64008"/>
                </a:lnTo>
                <a:lnTo>
                  <a:pt x="270034" y="70104"/>
                </a:lnTo>
                <a:lnTo>
                  <a:pt x="274034" y="79153"/>
                </a:lnTo>
                <a:lnTo>
                  <a:pt x="286607" y="68866"/>
                </a:lnTo>
                <a:lnTo>
                  <a:pt x="291370" y="57531"/>
                </a:lnTo>
                <a:lnTo>
                  <a:pt x="293561" y="59627"/>
                </a:lnTo>
                <a:lnTo>
                  <a:pt x="296132" y="66675"/>
                </a:lnTo>
                <a:lnTo>
                  <a:pt x="317945" y="53626"/>
                </a:lnTo>
                <a:lnTo>
                  <a:pt x="322231" y="49054"/>
                </a:lnTo>
                <a:cubicBezTo>
                  <a:pt x="374565" y="83855"/>
                  <a:pt x="407073" y="141611"/>
                  <a:pt x="409670" y="204407"/>
                </a:cubicBezTo>
                <a:close/>
                <a:moveTo>
                  <a:pt x="162496" y="132779"/>
                </a:moveTo>
                <a:lnTo>
                  <a:pt x="169640" y="132779"/>
                </a:lnTo>
                <a:lnTo>
                  <a:pt x="174974" y="138113"/>
                </a:lnTo>
                <a:lnTo>
                  <a:pt x="184499" y="160782"/>
                </a:lnTo>
                <a:lnTo>
                  <a:pt x="169640" y="160782"/>
                </a:lnTo>
                <a:lnTo>
                  <a:pt x="169640" y="148304"/>
                </a:lnTo>
                <a:close/>
                <a:moveTo>
                  <a:pt x="113157" y="94107"/>
                </a:moveTo>
                <a:lnTo>
                  <a:pt x="117729" y="85725"/>
                </a:lnTo>
                <a:lnTo>
                  <a:pt x="113538" y="77629"/>
                </a:lnTo>
                <a:lnTo>
                  <a:pt x="104870" y="80486"/>
                </a:lnTo>
                <a:lnTo>
                  <a:pt x="104870" y="71914"/>
                </a:lnTo>
                <a:lnTo>
                  <a:pt x="87535" y="61246"/>
                </a:lnTo>
                <a:cubicBezTo>
                  <a:pt x="107566" y="44734"/>
                  <a:pt x="130638" y="32308"/>
                  <a:pt x="155448" y="24670"/>
                </a:cubicBezTo>
                <a:lnTo>
                  <a:pt x="166878" y="26575"/>
                </a:lnTo>
                <a:lnTo>
                  <a:pt x="181070" y="21717"/>
                </a:lnTo>
                <a:lnTo>
                  <a:pt x="190595" y="21717"/>
                </a:lnTo>
                <a:lnTo>
                  <a:pt x="177165" y="33147"/>
                </a:lnTo>
                <a:lnTo>
                  <a:pt x="173927" y="40958"/>
                </a:lnTo>
                <a:lnTo>
                  <a:pt x="178975" y="44482"/>
                </a:lnTo>
                <a:lnTo>
                  <a:pt x="175546" y="49054"/>
                </a:lnTo>
                <a:lnTo>
                  <a:pt x="175546" y="57150"/>
                </a:lnTo>
                <a:lnTo>
                  <a:pt x="177927" y="70295"/>
                </a:lnTo>
                <a:lnTo>
                  <a:pt x="165068" y="66675"/>
                </a:lnTo>
                <a:lnTo>
                  <a:pt x="169355" y="79534"/>
                </a:lnTo>
                <a:lnTo>
                  <a:pt x="158591" y="86392"/>
                </a:lnTo>
                <a:lnTo>
                  <a:pt x="147447" y="95250"/>
                </a:lnTo>
                <a:lnTo>
                  <a:pt x="136684" y="104775"/>
                </a:lnTo>
                <a:lnTo>
                  <a:pt x="133445" y="117920"/>
                </a:lnTo>
                <a:lnTo>
                  <a:pt x="118872" y="109347"/>
                </a:lnTo>
                <a:lnTo>
                  <a:pt x="113062" y="99822"/>
                </a:lnTo>
                <a:lnTo>
                  <a:pt x="116205" y="97346"/>
                </a:lnTo>
                <a:close/>
                <a:moveTo>
                  <a:pt x="29337" y="142875"/>
                </a:moveTo>
                <a:lnTo>
                  <a:pt x="34480" y="148971"/>
                </a:lnTo>
                <a:lnTo>
                  <a:pt x="40195" y="145542"/>
                </a:lnTo>
                <a:lnTo>
                  <a:pt x="59245" y="156972"/>
                </a:lnTo>
                <a:lnTo>
                  <a:pt x="67818" y="163830"/>
                </a:lnTo>
                <a:lnTo>
                  <a:pt x="63056" y="152400"/>
                </a:lnTo>
                <a:lnTo>
                  <a:pt x="67628" y="141542"/>
                </a:lnTo>
                <a:lnTo>
                  <a:pt x="59626" y="134588"/>
                </a:lnTo>
                <a:lnTo>
                  <a:pt x="65341" y="122587"/>
                </a:lnTo>
                <a:lnTo>
                  <a:pt x="81343" y="126683"/>
                </a:lnTo>
                <a:lnTo>
                  <a:pt x="80296" y="131445"/>
                </a:lnTo>
                <a:lnTo>
                  <a:pt x="90964" y="127159"/>
                </a:lnTo>
                <a:lnTo>
                  <a:pt x="101727" y="138684"/>
                </a:lnTo>
                <a:lnTo>
                  <a:pt x="111252" y="144399"/>
                </a:lnTo>
                <a:lnTo>
                  <a:pt x="108394" y="161925"/>
                </a:lnTo>
                <a:lnTo>
                  <a:pt x="89344" y="165926"/>
                </a:lnTo>
                <a:lnTo>
                  <a:pt x="101632" y="175451"/>
                </a:lnTo>
                <a:lnTo>
                  <a:pt x="104013" y="185928"/>
                </a:lnTo>
                <a:lnTo>
                  <a:pt x="96965" y="184118"/>
                </a:lnTo>
                <a:lnTo>
                  <a:pt x="89630" y="186309"/>
                </a:lnTo>
                <a:lnTo>
                  <a:pt x="83820" y="191167"/>
                </a:lnTo>
                <a:lnTo>
                  <a:pt x="78772" y="201263"/>
                </a:lnTo>
                <a:lnTo>
                  <a:pt x="80010" y="211931"/>
                </a:lnTo>
                <a:lnTo>
                  <a:pt x="70485" y="226695"/>
                </a:lnTo>
                <a:lnTo>
                  <a:pt x="73152" y="237363"/>
                </a:lnTo>
                <a:lnTo>
                  <a:pt x="71247" y="239459"/>
                </a:lnTo>
                <a:lnTo>
                  <a:pt x="61722" y="234696"/>
                </a:lnTo>
                <a:lnTo>
                  <a:pt x="50959" y="236696"/>
                </a:lnTo>
                <a:lnTo>
                  <a:pt x="48292" y="244031"/>
                </a:lnTo>
                <a:lnTo>
                  <a:pt x="41148" y="260985"/>
                </a:lnTo>
                <a:lnTo>
                  <a:pt x="48768" y="265081"/>
                </a:lnTo>
                <a:lnTo>
                  <a:pt x="53531" y="256985"/>
                </a:lnTo>
                <a:lnTo>
                  <a:pt x="59626" y="255937"/>
                </a:lnTo>
                <a:lnTo>
                  <a:pt x="59626" y="268510"/>
                </a:lnTo>
                <a:lnTo>
                  <a:pt x="66866" y="268510"/>
                </a:lnTo>
                <a:lnTo>
                  <a:pt x="70866" y="274796"/>
                </a:lnTo>
                <a:lnTo>
                  <a:pt x="80391" y="278321"/>
                </a:lnTo>
                <a:lnTo>
                  <a:pt x="89916" y="286512"/>
                </a:lnTo>
                <a:lnTo>
                  <a:pt x="92488" y="280702"/>
                </a:lnTo>
                <a:lnTo>
                  <a:pt x="112586" y="278321"/>
                </a:lnTo>
                <a:lnTo>
                  <a:pt x="138017" y="286131"/>
                </a:lnTo>
                <a:lnTo>
                  <a:pt x="148781" y="305753"/>
                </a:lnTo>
                <a:lnTo>
                  <a:pt x="181737" y="309658"/>
                </a:lnTo>
                <a:lnTo>
                  <a:pt x="185261" y="320421"/>
                </a:lnTo>
                <a:lnTo>
                  <a:pt x="179165" y="358521"/>
                </a:lnTo>
                <a:lnTo>
                  <a:pt x="162211" y="383381"/>
                </a:lnTo>
                <a:lnTo>
                  <a:pt x="156591" y="401384"/>
                </a:lnTo>
                <a:cubicBezTo>
                  <a:pt x="142772" y="397282"/>
                  <a:pt x="129451" y="391659"/>
                  <a:pt x="116872" y="384620"/>
                </a:cubicBezTo>
                <a:lnTo>
                  <a:pt x="116872" y="361093"/>
                </a:lnTo>
                <a:lnTo>
                  <a:pt x="97250" y="350711"/>
                </a:lnTo>
                <a:lnTo>
                  <a:pt x="84487" y="329184"/>
                </a:lnTo>
                <a:lnTo>
                  <a:pt x="84487" y="300133"/>
                </a:lnTo>
                <a:lnTo>
                  <a:pt x="87916" y="292418"/>
                </a:lnTo>
                <a:lnTo>
                  <a:pt x="84487" y="287750"/>
                </a:lnTo>
                <a:lnTo>
                  <a:pt x="69723" y="283845"/>
                </a:lnTo>
                <a:lnTo>
                  <a:pt x="64198" y="278892"/>
                </a:lnTo>
                <a:lnTo>
                  <a:pt x="45148" y="271748"/>
                </a:lnTo>
                <a:lnTo>
                  <a:pt x="23717" y="265462"/>
                </a:lnTo>
                <a:cubicBezTo>
                  <a:pt x="12167" y="225081"/>
                  <a:pt x="14141" y="182030"/>
                  <a:pt x="29337" y="142875"/>
                </a:cubicBez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7" name="Grafik 29">
            <a:extLst>
              <a:ext uri="{FF2B5EF4-FFF2-40B4-BE49-F238E27FC236}">
                <a16:creationId xmlns:a16="http://schemas.microsoft.com/office/drawing/2014/main" id="{687EA962-AFF2-4400-8138-08FB9012719B}"/>
              </a:ext>
            </a:extLst>
          </p:cNvPr>
          <p:cNvSpPr/>
          <p:nvPr/>
        </p:nvSpPr>
        <p:spPr>
          <a:xfrm>
            <a:off x="7972623" y="1254976"/>
            <a:ext cx="544365" cy="552381"/>
          </a:xfrm>
          <a:custGeom>
            <a:avLst/>
            <a:gdLst>
              <a:gd name="connsiteX0" fmla="*/ 231839 w 463894"/>
              <a:gd name="connsiteY0" fmla="*/ 375857 h 470725"/>
              <a:gd name="connsiteX1" fmla="*/ 368721 w 463894"/>
              <a:gd name="connsiteY1" fmla="*/ 231656 h 470725"/>
              <a:gd name="connsiteX2" fmla="*/ 231839 w 463894"/>
              <a:gd name="connsiteY2" fmla="*/ 94774 h 470725"/>
              <a:gd name="connsiteX3" fmla="*/ 94956 w 463894"/>
              <a:gd name="connsiteY3" fmla="*/ 238974 h 470725"/>
              <a:gd name="connsiteX4" fmla="*/ 231839 w 463894"/>
              <a:gd name="connsiteY4" fmla="*/ 375857 h 470725"/>
              <a:gd name="connsiteX5" fmla="*/ 225171 w 463894"/>
              <a:gd name="connsiteY5" fmla="*/ 186881 h 470725"/>
              <a:gd name="connsiteX6" fmla="*/ 230505 w 463894"/>
              <a:gd name="connsiteY6" fmla="*/ 180118 h 470725"/>
              <a:gd name="connsiteX7" fmla="*/ 228600 w 463894"/>
              <a:gd name="connsiteY7" fmla="*/ 172688 h 470725"/>
              <a:gd name="connsiteX8" fmla="*/ 231267 w 463894"/>
              <a:gd name="connsiteY8" fmla="*/ 172688 h 470725"/>
              <a:gd name="connsiteX9" fmla="*/ 235934 w 463894"/>
              <a:gd name="connsiteY9" fmla="*/ 177451 h 470725"/>
              <a:gd name="connsiteX10" fmla="*/ 249269 w 463894"/>
              <a:gd name="connsiteY10" fmla="*/ 172688 h 470725"/>
              <a:gd name="connsiteX11" fmla="*/ 250603 w 463894"/>
              <a:gd name="connsiteY11" fmla="*/ 167259 h 470725"/>
              <a:gd name="connsiteX12" fmla="*/ 255270 w 463894"/>
              <a:gd name="connsiteY12" fmla="*/ 157067 h 470725"/>
              <a:gd name="connsiteX13" fmla="*/ 247650 w 463894"/>
              <a:gd name="connsiteY13" fmla="*/ 153067 h 470725"/>
              <a:gd name="connsiteX14" fmla="*/ 242316 w 463894"/>
              <a:gd name="connsiteY14" fmla="*/ 156401 h 470725"/>
              <a:gd name="connsiteX15" fmla="*/ 244983 w 463894"/>
              <a:gd name="connsiteY15" fmla="*/ 164497 h 470725"/>
              <a:gd name="connsiteX16" fmla="*/ 241649 w 463894"/>
              <a:gd name="connsiteY16" fmla="*/ 171355 h 470725"/>
              <a:gd name="connsiteX17" fmla="*/ 229648 w 463894"/>
              <a:gd name="connsiteY17" fmla="*/ 169259 h 470725"/>
              <a:gd name="connsiteX18" fmla="*/ 226314 w 463894"/>
              <a:gd name="connsiteY18" fmla="*/ 161163 h 470725"/>
              <a:gd name="connsiteX19" fmla="*/ 238125 w 463894"/>
              <a:gd name="connsiteY19" fmla="*/ 144875 h 470725"/>
              <a:gd name="connsiteX20" fmla="*/ 250127 w 463894"/>
              <a:gd name="connsiteY20" fmla="*/ 131350 h 470725"/>
              <a:gd name="connsiteX21" fmla="*/ 259652 w 463894"/>
              <a:gd name="connsiteY21" fmla="*/ 132683 h 470725"/>
              <a:gd name="connsiteX22" fmla="*/ 268319 w 463894"/>
              <a:gd name="connsiteY22" fmla="*/ 134779 h 470725"/>
              <a:gd name="connsiteX23" fmla="*/ 272987 w 463894"/>
              <a:gd name="connsiteY23" fmla="*/ 137446 h 470725"/>
              <a:gd name="connsiteX24" fmla="*/ 267653 w 463894"/>
              <a:gd name="connsiteY24" fmla="*/ 141542 h 470725"/>
              <a:gd name="connsiteX25" fmla="*/ 270320 w 463894"/>
              <a:gd name="connsiteY25" fmla="*/ 147638 h 470725"/>
              <a:gd name="connsiteX26" fmla="*/ 278987 w 463894"/>
              <a:gd name="connsiteY26" fmla="*/ 140875 h 470725"/>
              <a:gd name="connsiteX27" fmla="*/ 281654 w 463894"/>
              <a:gd name="connsiteY27" fmla="*/ 132683 h 470725"/>
              <a:gd name="connsiteX28" fmla="*/ 282988 w 463894"/>
              <a:gd name="connsiteY28" fmla="*/ 134779 h 470725"/>
              <a:gd name="connsiteX29" fmla="*/ 284988 w 463894"/>
              <a:gd name="connsiteY29" fmla="*/ 138779 h 470725"/>
              <a:gd name="connsiteX30" fmla="*/ 298990 w 463894"/>
              <a:gd name="connsiteY30" fmla="*/ 130683 h 470725"/>
              <a:gd name="connsiteX31" fmla="*/ 302324 w 463894"/>
              <a:gd name="connsiteY31" fmla="*/ 126587 h 470725"/>
              <a:gd name="connsiteX32" fmla="*/ 359759 w 463894"/>
              <a:gd name="connsiteY32" fmla="*/ 229553 h 470725"/>
              <a:gd name="connsiteX33" fmla="*/ 355759 w 463894"/>
              <a:gd name="connsiteY33" fmla="*/ 229553 h 470725"/>
              <a:gd name="connsiteX34" fmla="*/ 347758 w 463894"/>
              <a:gd name="connsiteY34" fmla="*/ 237649 h 470725"/>
              <a:gd name="connsiteX35" fmla="*/ 345758 w 463894"/>
              <a:gd name="connsiteY35" fmla="*/ 243745 h 470725"/>
              <a:gd name="connsiteX36" fmla="*/ 345091 w 463894"/>
              <a:gd name="connsiteY36" fmla="*/ 249841 h 470725"/>
              <a:gd name="connsiteX37" fmla="*/ 336423 w 463894"/>
              <a:gd name="connsiteY37" fmla="*/ 239744 h 470725"/>
              <a:gd name="connsiteX38" fmla="*/ 332423 w 463894"/>
              <a:gd name="connsiteY38" fmla="*/ 227552 h 470725"/>
              <a:gd name="connsiteX39" fmla="*/ 329184 w 463894"/>
              <a:gd name="connsiteY39" fmla="*/ 227552 h 470725"/>
              <a:gd name="connsiteX40" fmla="*/ 322517 w 463894"/>
              <a:gd name="connsiteY40" fmla="*/ 221456 h 470725"/>
              <a:gd name="connsiteX41" fmla="*/ 315182 w 463894"/>
              <a:gd name="connsiteY41" fmla="*/ 223456 h 470725"/>
              <a:gd name="connsiteX42" fmla="*/ 308515 w 463894"/>
              <a:gd name="connsiteY42" fmla="*/ 221456 h 470725"/>
              <a:gd name="connsiteX43" fmla="*/ 300514 w 463894"/>
              <a:gd name="connsiteY43" fmla="*/ 220028 h 470725"/>
              <a:gd name="connsiteX44" fmla="*/ 296513 w 463894"/>
              <a:gd name="connsiteY44" fmla="*/ 216027 h 470725"/>
              <a:gd name="connsiteX45" fmla="*/ 292513 w 463894"/>
              <a:gd name="connsiteY45" fmla="*/ 217361 h 470725"/>
              <a:gd name="connsiteX46" fmla="*/ 301181 w 463894"/>
              <a:gd name="connsiteY46" fmla="*/ 227552 h 470725"/>
              <a:gd name="connsiteX47" fmla="*/ 309182 w 463894"/>
              <a:gd name="connsiteY47" fmla="*/ 226124 h 470725"/>
              <a:gd name="connsiteX48" fmla="*/ 312515 w 463894"/>
              <a:gd name="connsiteY48" fmla="*/ 231553 h 470725"/>
              <a:gd name="connsiteX49" fmla="*/ 306515 w 463894"/>
              <a:gd name="connsiteY49" fmla="*/ 242411 h 470725"/>
              <a:gd name="connsiteX50" fmla="*/ 293846 w 463894"/>
              <a:gd name="connsiteY50" fmla="*/ 247174 h 470725"/>
              <a:gd name="connsiteX51" fmla="*/ 288512 w 463894"/>
              <a:gd name="connsiteY51" fmla="*/ 238125 h 470725"/>
              <a:gd name="connsiteX52" fmla="*/ 280511 w 463894"/>
              <a:gd name="connsiteY52" fmla="*/ 230696 h 470725"/>
              <a:gd name="connsiteX53" fmla="*/ 276225 w 463894"/>
              <a:gd name="connsiteY53" fmla="*/ 223456 h 470725"/>
              <a:gd name="connsiteX54" fmla="*/ 276225 w 463894"/>
              <a:gd name="connsiteY54" fmla="*/ 234315 h 470725"/>
              <a:gd name="connsiteX55" fmla="*/ 295275 w 463894"/>
              <a:gd name="connsiteY55" fmla="*/ 253365 h 470725"/>
              <a:gd name="connsiteX56" fmla="*/ 304800 w 463894"/>
              <a:gd name="connsiteY56" fmla="*/ 249936 h 470725"/>
              <a:gd name="connsiteX57" fmla="*/ 304800 w 463894"/>
              <a:gd name="connsiteY57" fmla="*/ 257175 h 470725"/>
              <a:gd name="connsiteX58" fmla="*/ 295275 w 463894"/>
              <a:gd name="connsiteY58" fmla="*/ 280892 h 470725"/>
              <a:gd name="connsiteX59" fmla="*/ 295275 w 463894"/>
              <a:gd name="connsiteY59" fmla="*/ 302705 h 470725"/>
              <a:gd name="connsiteX60" fmla="*/ 288608 w 463894"/>
              <a:gd name="connsiteY60" fmla="*/ 306705 h 470725"/>
              <a:gd name="connsiteX61" fmla="*/ 292608 w 463894"/>
              <a:gd name="connsiteY61" fmla="*/ 316897 h 470725"/>
              <a:gd name="connsiteX62" fmla="*/ 287941 w 463894"/>
              <a:gd name="connsiteY62" fmla="*/ 325755 h 470725"/>
              <a:gd name="connsiteX63" fmla="*/ 280607 w 463894"/>
              <a:gd name="connsiteY63" fmla="*/ 339281 h 470725"/>
              <a:gd name="connsiteX64" fmla="*/ 270605 w 463894"/>
              <a:gd name="connsiteY64" fmla="*/ 341948 h 470725"/>
              <a:gd name="connsiteX65" fmla="*/ 265271 w 463894"/>
              <a:gd name="connsiteY65" fmla="*/ 322326 h 470725"/>
              <a:gd name="connsiteX66" fmla="*/ 257937 w 463894"/>
              <a:gd name="connsiteY66" fmla="*/ 306705 h 470725"/>
              <a:gd name="connsiteX67" fmla="*/ 257937 w 463894"/>
              <a:gd name="connsiteY67" fmla="*/ 295942 h 470725"/>
              <a:gd name="connsiteX68" fmla="*/ 248412 w 463894"/>
              <a:gd name="connsiteY68" fmla="*/ 281654 h 470725"/>
              <a:gd name="connsiteX69" fmla="*/ 249079 w 463894"/>
              <a:gd name="connsiteY69" fmla="*/ 272891 h 470725"/>
              <a:gd name="connsiteX70" fmla="*/ 243745 w 463894"/>
              <a:gd name="connsiteY70" fmla="*/ 274225 h 470725"/>
              <a:gd name="connsiteX71" fmla="*/ 239744 w 463894"/>
              <a:gd name="connsiteY71" fmla="*/ 270224 h 470725"/>
              <a:gd name="connsiteX72" fmla="*/ 222409 w 463894"/>
              <a:gd name="connsiteY72" fmla="*/ 276987 h 470725"/>
              <a:gd name="connsiteX73" fmla="*/ 215075 w 463894"/>
              <a:gd name="connsiteY73" fmla="*/ 268129 h 470725"/>
              <a:gd name="connsiteX74" fmla="*/ 209550 w 463894"/>
              <a:gd name="connsiteY74" fmla="*/ 261366 h 470725"/>
              <a:gd name="connsiteX75" fmla="*/ 210217 w 463894"/>
              <a:gd name="connsiteY75" fmla="*/ 251841 h 470725"/>
              <a:gd name="connsiteX76" fmla="*/ 208217 w 463894"/>
              <a:gd name="connsiteY76" fmla="*/ 245745 h 470725"/>
              <a:gd name="connsiteX77" fmla="*/ 216218 w 463894"/>
              <a:gd name="connsiteY77" fmla="*/ 230124 h 470725"/>
              <a:gd name="connsiteX78" fmla="*/ 215551 w 463894"/>
              <a:gd name="connsiteY78" fmla="*/ 226028 h 470725"/>
              <a:gd name="connsiteX79" fmla="*/ 218218 w 463894"/>
              <a:gd name="connsiteY79" fmla="*/ 223361 h 470725"/>
              <a:gd name="connsiteX80" fmla="*/ 218885 w 463894"/>
              <a:gd name="connsiteY80" fmla="*/ 219266 h 470725"/>
              <a:gd name="connsiteX81" fmla="*/ 226219 w 463894"/>
              <a:gd name="connsiteY81" fmla="*/ 218599 h 470725"/>
              <a:gd name="connsiteX82" fmla="*/ 234220 w 463894"/>
              <a:gd name="connsiteY82" fmla="*/ 214598 h 470725"/>
              <a:gd name="connsiteX83" fmla="*/ 241554 w 463894"/>
              <a:gd name="connsiteY83" fmla="*/ 215932 h 470725"/>
              <a:gd name="connsiteX84" fmla="*/ 246221 w 463894"/>
              <a:gd name="connsiteY84" fmla="*/ 221361 h 470725"/>
              <a:gd name="connsiteX85" fmla="*/ 254222 w 463894"/>
              <a:gd name="connsiteY85" fmla="*/ 223361 h 470725"/>
              <a:gd name="connsiteX86" fmla="*/ 258223 w 463894"/>
              <a:gd name="connsiteY86" fmla="*/ 218599 h 470725"/>
              <a:gd name="connsiteX87" fmla="*/ 277273 w 463894"/>
              <a:gd name="connsiteY87" fmla="*/ 214598 h 470725"/>
              <a:gd name="connsiteX88" fmla="*/ 276225 w 463894"/>
              <a:gd name="connsiteY88" fmla="*/ 208598 h 470725"/>
              <a:gd name="connsiteX89" fmla="*/ 269558 w 463894"/>
              <a:gd name="connsiteY89" fmla="*/ 208598 h 470725"/>
              <a:gd name="connsiteX90" fmla="*/ 270891 w 463894"/>
              <a:gd name="connsiteY90" fmla="*/ 197739 h 470725"/>
              <a:gd name="connsiteX91" fmla="*/ 281559 w 463894"/>
              <a:gd name="connsiteY91" fmla="*/ 197739 h 470725"/>
              <a:gd name="connsiteX92" fmla="*/ 284226 w 463894"/>
              <a:gd name="connsiteY92" fmla="*/ 197072 h 470725"/>
              <a:gd name="connsiteX93" fmla="*/ 279559 w 463894"/>
              <a:gd name="connsiteY93" fmla="*/ 192310 h 470725"/>
              <a:gd name="connsiteX94" fmla="*/ 278225 w 463894"/>
              <a:gd name="connsiteY94" fmla="*/ 186214 h 470725"/>
              <a:gd name="connsiteX95" fmla="*/ 274225 w 463894"/>
              <a:gd name="connsiteY95" fmla="*/ 192977 h 470725"/>
              <a:gd name="connsiteX96" fmla="*/ 269558 w 463894"/>
              <a:gd name="connsiteY96" fmla="*/ 190976 h 470725"/>
              <a:gd name="connsiteX97" fmla="*/ 264890 w 463894"/>
              <a:gd name="connsiteY97" fmla="*/ 191643 h 470725"/>
              <a:gd name="connsiteX98" fmla="*/ 264890 w 463894"/>
              <a:gd name="connsiteY98" fmla="*/ 200025 h 470725"/>
              <a:gd name="connsiteX99" fmla="*/ 262890 w 463894"/>
              <a:gd name="connsiteY99" fmla="*/ 205454 h 470725"/>
              <a:gd name="connsiteX100" fmla="*/ 261556 w 463894"/>
              <a:gd name="connsiteY100" fmla="*/ 208883 h 470725"/>
              <a:gd name="connsiteX101" fmla="*/ 254222 w 463894"/>
              <a:gd name="connsiteY101" fmla="*/ 206788 h 470725"/>
              <a:gd name="connsiteX102" fmla="*/ 247650 w 463894"/>
              <a:gd name="connsiteY102" fmla="*/ 200025 h 470725"/>
              <a:gd name="connsiteX103" fmla="*/ 249650 w 463894"/>
              <a:gd name="connsiteY103" fmla="*/ 208883 h 470725"/>
              <a:gd name="connsiteX104" fmla="*/ 246983 w 463894"/>
              <a:gd name="connsiteY104" fmla="*/ 210884 h 470725"/>
              <a:gd name="connsiteX105" fmla="*/ 248317 w 463894"/>
              <a:gd name="connsiteY105" fmla="*/ 206788 h 470725"/>
              <a:gd name="connsiteX106" fmla="*/ 236982 w 463894"/>
              <a:gd name="connsiteY106" fmla="*/ 198692 h 470725"/>
              <a:gd name="connsiteX107" fmla="*/ 229648 w 463894"/>
              <a:gd name="connsiteY107" fmla="*/ 203454 h 470725"/>
              <a:gd name="connsiteX108" fmla="*/ 224981 w 463894"/>
              <a:gd name="connsiteY108" fmla="*/ 206788 h 470725"/>
              <a:gd name="connsiteX109" fmla="*/ 222980 w 463894"/>
              <a:gd name="connsiteY109" fmla="*/ 215646 h 470725"/>
              <a:gd name="connsiteX110" fmla="*/ 212979 w 463894"/>
              <a:gd name="connsiteY110" fmla="*/ 214313 h 470725"/>
              <a:gd name="connsiteX111" fmla="*/ 215646 w 463894"/>
              <a:gd name="connsiteY111" fmla="*/ 202787 h 470725"/>
              <a:gd name="connsiteX112" fmla="*/ 223647 w 463894"/>
              <a:gd name="connsiteY112" fmla="*/ 201454 h 470725"/>
              <a:gd name="connsiteX113" fmla="*/ 217646 w 463894"/>
              <a:gd name="connsiteY113" fmla="*/ 191929 h 470725"/>
              <a:gd name="connsiteX114" fmla="*/ 197168 w 463894"/>
              <a:gd name="connsiteY114" fmla="*/ 182118 h 470725"/>
              <a:gd name="connsiteX115" fmla="*/ 201835 w 463894"/>
              <a:gd name="connsiteY115" fmla="*/ 182118 h 470725"/>
              <a:gd name="connsiteX116" fmla="*/ 205835 w 463894"/>
              <a:gd name="connsiteY116" fmla="*/ 186214 h 470725"/>
              <a:gd name="connsiteX117" fmla="*/ 211836 w 463894"/>
              <a:gd name="connsiteY117" fmla="*/ 201073 h 470725"/>
              <a:gd name="connsiteX118" fmla="*/ 202311 w 463894"/>
              <a:gd name="connsiteY118" fmla="*/ 201073 h 470725"/>
              <a:gd name="connsiteX119" fmla="*/ 202311 w 463894"/>
              <a:gd name="connsiteY119" fmla="*/ 192977 h 470725"/>
              <a:gd name="connsiteX120" fmla="*/ 193262 w 463894"/>
              <a:gd name="connsiteY120" fmla="*/ 111062 h 470725"/>
              <a:gd name="connsiteX121" fmla="*/ 200501 w 463894"/>
              <a:gd name="connsiteY121" fmla="*/ 112395 h 470725"/>
              <a:gd name="connsiteX122" fmla="*/ 210026 w 463894"/>
              <a:gd name="connsiteY122" fmla="*/ 109061 h 470725"/>
              <a:gd name="connsiteX123" fmla="*/ 216027 w 463894"/>
              <a:gd name="connsiteY123" fmla="*/ 109061 h 470725"/>
              <a:gd name="connsiteX124" fmla="*/ 207359 w 463894"/>
              <a:gd name="connsiteY124" fmla="*/ 116491 h 470725"/>
              <a:gd name="connsiteX125" fmla="*/ 205359 w 463894"/>
              <a:gd name="connsiteY125" fmla="*/ 121920 h 470725"/>
              <a:gd name="connsiteX126" fmla="*/ 208693 w 463894"/>
              <a:gd name="connsiteY126" fmla="*/ 123920 h 470725"/>
              <a:gd name="connsiteX127" fmla="*/ 206693 w 463894"/>
              <a:gd name="connsiteY127" fmla="*/ 127349 h 470725"/>
              <a:gd name="connsiteX128" fmla="*/ 206693 w 463894"/>
              <a:gd name="connsiteY128" fmla="*/ 132683 h 470725"/>
              <a:gd name="connsiteX129" fmla="*/ 208026 w 463894"/>
              <a:gd name="connsiteY129" fmla="*/ 141542 h 470725"/>
              <a:gd name="connsiteX130" fmla="*/ 199358 w 463894"/>
              <a:gd name="connsiteY130" fmla="*/ 138779 h 470725"/>
              <a:gd name="connsiteX131" fmla="*/ 202025 w 463894"/>
              <a:gd name="connsiteY131" fmla="*/ 146971 h 470725"/>
              <a:gd name="connsiteX132" fmla="*/ 195358 w 463894"/>
              <a:gd name="connsiteY132" fmla="*/ 151638 h 470725"/>
              <a:gd name="connsiteX133" fmla="*/ 188119 w 463894"/>
              <a:gd name="connsiteY133" fmla="*/ 157734 h 470725"/>
              <a:gd name="connsiteX134" fmla="*/ 180975 w 463894"/>
              <a:gd name="connsiteY134" fmla="*/ 163830 h 470725"/>
              <a:gd name="connsiteX135" fmla="*/ 178975 w 463894"/>
              <a:gd name="connsiteY135" fmla="*/ 172688 h 470725"/>
              <a:gd name="connsiteX136" fmla="*/ 169450 w 463894"/>
              <a:gd name="connsiteY136" fmla="*/ 167259 h 470725"/>
              <a:gd name="connsiteX137" fmla="*/ 165449 w 463894"/>
              <a:gd name="connsiteY137" fmla="*/ 160496 h 470725"/>
              <a:gd name="connsiteX138" fmla="*/ 167450 w 463894"/>
              <a:gd name="connsiteY138" fmla="*/ 159163 h 470725"/>
              <a:gd name="connsiteX139" fmla="*/ 165449 w 463894"/>
              <a:gd name="connsiteY139" fmla="*/ 157067 h 470725"/>
              <a:gd name="connsiteX140" fmla="*/ 168783 w 463894"/>
              <a:gd name="connsiteY140" fmla="*/ 151638 h 470725"/>
              <a:gd name="connsiteX141" fmla="*/ 166116 w 463894"/>
              <a:gd name="connsiteY141" fmla="*/ 146304 h 470725"/>
              <a:gd name="connsiteX142" fmla="*/ 160115 w 463894"/>
              <a:gd name="connsiteY142" fmla="*/ 147638 h 470725"/>
              <a:gd name="connsiteX143" fmla="*/ 160115 w 463894"/>
              <a:gd name="connsiteY143" fmla="*/ 142208 h 470725"/>
              <a:gd name="connsiteX144" fmla="*/ 149447 w 463894"/>
              <a:gd name="connsiteY144" fmla="*/ 135446 h 470725"/>
              <a:gd name="connsiteX145" fmla="*/ 193453 w 463894"/>
              <a:gd name="connsiteY145" fmla="*/ 111062 h 470725"/>
              <a:gd name="connsiteX146" fmla="*/ 121253 w 463894"/>
              <a:gd name="connsiteY146" fmla="*/ 274225 h 470725"/>
              <a:gd name="connsiteX147" fmla="*/ 108585 w 463894"/>
              <a:gd name="connsiteY147" fmla="*/ 270224 h 470725"/>
              <a:gd name="connsiteX148" fmla="*/ 103918 w 463894"/>
              <a:gd name="connsiteY148" fmla="*/ 235649 h 470725"/>
              <a:gd name="connsiteX149" fmla="*/ 111919 w 463894"/>
              <a:gd name="connsiteY149" fmla="*/ 190500 h 470725"/>
              <a:gd name="connsiteX150" fmla="*/ 114586 w 463894"/>
              <a:gd name="connsiteY150" fmla="*/ 193167 h 470725"/>
              <a:gd name="connsiteX151" fmla="*/ 117920 w 463894"/>
              <a:gd name="connsiteY151" fmla="*/ 191167 h 470725"/>
              <a:gd name="connsiteX152" fmla="*/ 130588 w 463894"/>
              <a:gd name="connsiteY152" fmla="*/ 198596 h 470725"/>
              <a:gd name="connsiteX153" fmla="*/ 135922 w 463894"/>
              <a:gd name="connsiteY153" fmla="*/ 203359 h 470725"/>
              <a:gd name="connsiteX154" fmla="*/ 132588 w 463894"/>
              <a:gd name="connsiteY154" fmla="*/ 195834 h 470725"/>
              <a:gd name="connsiteX155" fmla="*/ 135922 w 463894"/>
              <a:gd name="connsiteY155" fmla="*/ 188405 h 470725"/>
              <a:gd name="connsiteX156" fmla="*/ 130588 w 463894"/>
              <a:gd name="connsiteY156" fmla="*/ 184404 h 470725"/>
              <a:gd name="connsiteX157" fmla="*/ 134588 w 463894"/>
              <a:gd name="connsiteY157" fmla="*/ 176213 h 470725"/>
              <a:gd name="connsiteX158" fmla="*/ 144113 w 463894"/>
              <a:gd name="connsiteY158" fmla="*/ 178975 h 470725"/>
              <a:gd name="connsiteX159" fmla="*/ 143447 w 463894"/>
              <a:gd name="connsiteY159" fmla="*/ 182309 h 470725"/>
              <a:gd name="connsiteX160" fmla="*/ 150781 w 463894"/>
              <a:gd name="connsiteY160" fmla="*/ 178975 h 470725"/>
              <a:gd name="connsiteX161" fmla="*/ 157448 w 463894"/>
              <a:gd name="connsiteY161" fmla="*/ 187071 h 470725"/>
              <a:gd name="connsiteX162" fmla="*/ 164116 w 463894"/>
              <a:gd name="connsiteY162" fmla="*/ 190500 h 470725"/>
              <a:gd name="connsiteX163" fmla="*/ 162116 w 463894"/>
              <a:gd name="connsiteY163" fmla="*/ 202025 h 470725"/>
              <a:gd name="connsiteX164" fmla="*/ 149447 w 463894"/>
              <a:gd name="connsiteY164" fmla="*/ 204692 h 470725"/>
              <a:gd name="connsiteX165" fmla="*/ 157448 w 463894"/>
              <a:gd name="connsiteY165" fmla="*/ 210788 h 470725"/>
              <a:gd name="connsiteX166" fmla="*/ 159449 w 463894"/>
              <a:gd name="connsiteY166" fmla="*/ 217551 h 470725"/>
              <a:gd name="connsiteX167" fmla="*/ 154781 w 463894"/>
              <a:gd name="connsiteY167" fmla="*/ 216884 h 470725"/>
              <a:gd name="connsiteX168" fmla="*/ 150114 w 463894"/>
              <a:gd name="connsiteY168" fmla="*/ 218218 h 470725"/>
              <a:gd name="connsiteX169" fmla="*/ 146114 w 463894"/>
              <a:gd name="connsiteY169" fmla="*/ 221647 h 470725"/>
              <a:gd name="connsiteX170" fmla="*/ 142780 w 463894"/>
              <a:gd name="connsiteY170" fmla="*/ 227743 h 470725"/>
              <a:gd name="connsiteX171" fmla="*/ 143447 w 463894"/>
              <a:gd name="connsiteY171" fmla="*/ 235172 h 470725"/>
              <a:gd name="connsiteX172" fmla="*/ 137446 w 463894"/>
              <a:gd name="connsiteY172" fmla="*/ 244697 h 470725"/>
              <a:gd name="connsiteX173" fmla="*/ 138779 w 463894"/>
              <a:gd name="connsiteY173" fmla="*/ 252222 h 470725"/>
              <a:gd name="connsiteX174" fmla="*/ 137446 w 463894"/>
              <a:gd name="connsiteY174" fmla="*/ 253556 h 470725"/>
              <a:gd name="connsiteX175" fmla="*/ 131445 w 463894"/>
              <a:gd name="connsiteY175" fmla="*/ 250127 h 470725"/>
              <a:gd name="connsiteX176" fmla="*/ 124778 w 463894"/>
              <a:gd name="connsiteY176" fmla="*/ 251555 h 470725"/>
              <a:gd name="connsiteX177" fmla="*/ 122777 w 463894"/>
              <a:gd name="connsiteY177" fmla="*/ 256223 h 470725"/>
              <a:gd name="connsiteX178" fmla="*/ 118110 w 463894"/>
              <a:gd name="connsiteY178" fmla="*/ 267748 h 470725"/>
              <a:gd name="connsiteX179" fmla="*/ 123444 w 463894"/>
              <a:gd name="connsiteY179" fmla="*/ 270510 h 470725"/>
              <a:gd name="connsiteX180" fmla="*/ 126111 w 463894"/>
              <a:gd name="connsiteY180" fmla="*/ 265081 h 470725"/>
              <a:gd name="connsiteX181" fmla="*/ 130112 w 463894"/>
              <a:gd name="connsiteY181" fmla="*/ 264414 h 470725"/>
              <a:gd name="connsiteX182" fmla="*/ 130112 w 463894"/>
              <a:gd name="connsiteY182" fmla="*/ 272510 h 470725"/>
              <a:gd name="connsiteX183" fmla="*/ 134779 w 463894"/>
              <a:gd name="connsiteY183" fmla="*/ 271844 h 470725"/>
              <a:gd name="connsiteX184" fmla="*/ 137446 w 463894"/>
              <a:gd name="connsiteY184" fmla="*/ 276606 h 470725"/>
              <a:gd name="connsiteX185" fmla="*/ 143447 w 463894"/>
              <a:gd name="connsiteY185" fmla="*/ 278606 h 470725"/>
              <a:gd name="connsiteX186" fmla="*/ 150114 w 463894"/>
              <a:gd name="connsiteY186" fmla="*/ 284036 h 470725"/>
              <a:gd name="connsiteX187" fmla="*/ 151448 w 463894"/>
              <a:gd name="connsiteY187" fmla="*/ 279940 h 470725"/>
              <a:gd name="connsiteX188" fmla="*/ 164783 w 463894"/>
              <a:gd name="connsiteY188" fmla="*/ 278606 h 470725"/>
              <a:gd name="connsiteX189" fmla="*/ 181451 w 463894"/>
              <a:gd name="connsiteY189" fmla="*/ 284036 h 470725"/>
              <a:gd name="connsiteX190" fmla="*/ 188024 w 463894"/>
              <a:gd name="connsiteY190" fmla="*/ 296894 h 470725"/>
              <a:gd name="connsiteX191" fmla="*/ 210026 w 463894"/>
              <a:gd name="connsiteY191" fmla="*/ 299561 h 470725"/>
              <a:gd name="connsiteX192" fmla="*/ 212027 w 463894"/>
              <a:gd name="connsiteY192" fmla="*/ 306324 h 470725"/>
              <a:gd name="connsiteX193" fmla="*/ 208026 w 463894"/>
              <a:gd name="connsiteY193" fmla="*/ 332042 h 470725"/>
              <a:gd name="connsiteX194" fmla="*/ 197168 w 463894"/>
              <a:gd name="connsiteY194" fmla="*/ 348044 h 470725"/>
              <a:gd name="connsiteX195" fmla="*/ 193834 w 463894"/>
              <a:gd name="connsiteY195" fmla="*/ 359569 h 470725"/>
              <a:gd name="connsiteX196" fmla="*/ 167926 w 463894"/>
              <a:gd name="connsiteY196" fmla="*/ 348044 h 470725"/>
              <a:gd name="connsiteX197" fmla="*/ 167926 w 463894"/>
              <a:gd name="connsiteY197" fmla="*/ 333375 h 470725"/>
              <a:gd name="connsiteX198" fmla="*/ 155258 w 463894"/>
              <a:gd name="connsiteY198" fmla="*/ 326612 h 470725"/>
              <a:gd name="connsiteX199" fmla="*/ 146590 w 463894"/>
              <a:gd name="connsiteY199" fmla="*/ 312325 h 470725"/>
              <a:gd name="connsiteX200" fmla="*/ 146590 w 463894"/>
              <a:gd name="connsiteY200" fmla="*/ 293275 h 470725"/>
              <a:gd name="connsiteX201" fmla="*/ 148590 w 463894"/>
              <a:gd name="connsiteY201" fmla="*/ 287846 h 470725"/>
              <a:gd name="connsiteX202" fmla="*/ 146590 w 463894"/>
              <a:gd name="connsiteY202" fmla="*/ 285179 h 470725"/>
              <a:gd name="connsiteX203" fmla="*/ 137065 w 463894"/>
              <a:gd name="connsiteY203" fmla="*/ 282416 h 470725"/>
              <a:gd name="connsiteX204" fmla="*/ 133731 w 463894"/>
              <a:gd name="connsiteY204" fmla="*/ 279083 h 470725"/>
              <a:gd name="connsiteX205" fmla="*/ 16478 w 463894"/>
              <a:gd name="connsiteY205" fmla="*/ 197072 h 470725"/>
              <a:gd name="connsiteX206" fmla="*/ 3334 w 463894"/>
              <a:gd name="connsiteY206" fmla="*/ 194977 h 470725"/>
              <a:gd name="connsiteX207" fmla="*/ 5334 w 463894"/>
              <a:gd name="connsiteY207" fmla="*/ 184880 h 470725"/>
              <a:gd name="connsiteX208" fmla="*/ 17336 w 463894"/>
              <a:gd name="connsiteY208" fmla="*/ 187547 h 470725"/>
              <a:gd name="connsiteX209" fmla="*/ 16002 w 463894"/>
              <a:gd name="connsiteY209" fmla="*/ 197072 h 470725"/>
              <a:gd name="connsiteX210" fmla="*/ 231839 w 463894"/>
              <a:gd name="connsiteY210" fmla="*/ 12859 h 470725"/>
              <a:gd name="connsiteX211" fmla="*/ 231172 w 463894"/>
              <a:gd name="connsiteY211" fmla="*/ 12859 h 470725"/>
              <a:gd name="connsiteX212" fmla="*/ 231172 w 463894"/>
              <a:gd name="connsiteY212" fmla="*/ 0 h 470725"/>
              <a:gd name="connsiteX213" fmla="*/ 241173 w 463894"/>
              <a:gd name="connsiteY213" fmla="*/ 0 h 470725"/>
              <a:gd name="connsiteX214" fmla="*/ 240506 w 463894"/>
              <a:gd name="connsiteY214" fmla="*/ 12859 h 470725"/>
              <a:gd name="connsiteX215" fmla="*/ 231839 w 463894"/>
              <a:gd name="connsiteY215" fmla="*/ 12859 h 470725"/>
              <a:gd name="connsiteX216" fmla="*/ 211836 w 463894"/>
              <a:gd name="connsiteY216" fmla="*/ 13526 h 470725"/>
              <a:gd name="connsiteX217" fmla="*/ 211169 w 463894"/>
              <a:gd name="connsiteY217" fmla="*/ 667 h 470725"/>
              <a:gd name="connsiteX218" fmla="*/ 220694 w 463894"/>
              <a:gd name="connsiteY218" fmla="*/ 0 h 470725"/>
              <a:gd name="connsiteX219" fmla="*/ 221361 w 463894"/>
              <a:gd name="connsiteY219" fmla="*/ 12859 h 470725"/>
              <a:gd name="connsiteX220" fmla="*/ 211360 w 463894"/>
              <a:gd name="connsiteY220" fmla="*/ 13526 h 470725"/>
              <a:gd name="connsiteX221" fmla="*/ 42005 w 463894"/>
              <a:gd name="connsiteY221" fmla="*/ 124587 h 470725"/>
              <a:gd name="connsiteX222" fmla="*/ 30671 w 463894"/>
              <a:gd name="connsiteY222" fmla="*/ 117824 h 470725"/>
              <a:gd name="connsiteX223" fmla="*/ 36005 w 463894"/>
              <a:gd name="connsiteY223" fmla="*/ 109061 h 470725"/>
              <a:gd name="connsiteX224" fmla="*/ 46673 w 463894"/>
              <a:gd name="connsiteY224" fmla="*/ 115824 h 470725"/>
              <a:gd name="connsiteX225" fmla="*/ 42005 w 463894"/>
              <a:gd name="connsiteY225" fmla="*/ 124587 h 470725"/>
              <a:gd name="connsiteX226" fmla="*/ 193262 w 463894"/>
              <a:gd name="connsiteY226" fmla="*/ 16288 h 470725"/>
              <a:gd name="connsiteX227" fmla="*/ 191262 w 463894"/>
              <a:gd name="connsiteY227" fmla="*/ 3429 h 470725"/>
              <a:gd name="connsiteX228" fmla="*/ 200787 w 463894"/>
              <a:gd name="connsiteY228" fmla="*/ 2000 h 470725"/>
              <a:gd name="connsiteX229" fmla="*/ 202121 w 463894"/>
              <a:gd name="connsiteY229" fmla="*/ 14192 h 470725"/>
              <a:gd name="connsiteX230" fmla="*/ 192596 w 463894"/>
              <a:gd name="connsiteY230" fmla="*/ 16288 h 470725"/>
              <a:gd name="connsiteX231" fmla="*/ 173546 w 463894"/>
              <a:gd name="connsiteY231" fmla="*/ 20288 h 470725"/>
              <a:gd name="connsiteX232" fmla="*/ 171450 w 463894"/>
              <a:gd name="connsiteY232" fmla="*/ 8096 h 470725"/>
              <a:gd name="connsiteX233" fmla="*/ 181451 w 463894"/>
              <a:gd name="connsiteY233" fmla="*/ 5429 h 470725"/>
              <a:gd name="connsiteX234" fmla="*/ 184118 w 463894"/>
              <a:gd name="connsiteY234" fmla="*/ 17621 h 470725"/>
              <a:gd name="connsiteX235" fmla="*/ 174593 w 463894"/>
              <a:gd name="connsiteY235" fmla="*/ 20288 h 470725"/>
              <a:gd name="connsiteX236" fmla="*/ 156591 w 463894"/>
              <a:gd name="connsiteY236" fmla="*/ 26384 h 470725"/>
              <a:gd name="connsiteX237" fmla="*/ 152400 w 463894"/>
              <a:gd name="connsiteY237" fmla="*/ 14192 h 470725"/>
              <a:gd name="connsiteX238" fmla="*/ 161925 w 463894"/>
              <a:gd name="connsiteY238" fmla="*/ 10859 h 470725"/>
              <a:gd name="connsiteX239" fmla="*/ 165926 w 463894"/>
              <a:gd name="connsiteY239" fmla="*/ 23051 h 470725"/>
              <a:gd name="connsiteX240" fmla="*/ 157258 w 463894"/>
              <a:gd name="connsiteY240" fmla="*/ 26384 h 470725"/>
              <a:gd name="connsiteX241" fmla="*/ 20003 w 463894"/>
              <a:gd name="connsiteY241" fmla="*/ 178118 h 470725"/>
              <a:gd name="connsiteX242" fmla="*/ 8001 w 463894"/>
              <a:gd name="connsiteY242" fmla="*/ 174689 h 470725"/>
              <a:gd name="connsiteX243" fmla="*/ 10668 w 463894"/>
              <a:gd name="connsiteY243" fmla="*/ 165164 h 470725"/>
              <a:gd name="connsiteX244" fmla="*/ 22670 w 463894"/>
              <a:gd name="connsiteY244" fmla="*/ 168497 h 470725"/>
              <a:gd name="connsiteX245" fmla="*/ 20003 w 463894"/>
              <a:gd name="connsiteY245" fmla="*/ 178022 h 470725"/>
              <a:gd name="connsiteX246" fmla="*/ 76200 w 463894"/>
              <a:gd name="connsiteY246" fmla="*/ 77915 h 470725"/>
              <a:gd name="connsiteX247" fmla="*/ 67628 w 463894"/>
              <a:gd name="connsiteY247" fmla="*/ 69056 h 470725"/>
              <a:gd name="connsiteX248" fmla="*/ 74867 w 463894"/>
              <a:gd name="connsiteY248" fmla="*/ 62294 h 470725"/>
              <a:gd name="connsiteX249" fmla="*/ 82868 w 463894"/>
              <a:gd name="connsiteY249" fmla="*/ 71057 h 470725"/>
              <a:gd name="connsiteX250" fmla="*/ 76200 w 463894"/>
              <a:gd name="connsiteY250" fmla="*/ 77915 h 470725"/>
              <a:gd name="connsiteX251" fmla="*/ 90583 w 463894"/>
              <a:gd name="connsiteY251" fmla="*/ 65056 h 470725"/>
              <a:gd name="connsiteX252" fmla="*/ 82582 w 463894"/>
              <a:gd name="connsiteY252" fmla="*/ 55531 h 470725"/>
              <a:gd name="connsiteX253" fmla="*/ 90583 w 463894"/>
              <a:gd name="connsiteY253" fmla="*/ 48768 h 470725"/>
              <a:gd name="connsiteX254" fmla="*/ 97917 w 463894"/>
              <a:gd name="connsiteY254" fmla="*/ 58960 h 470725"/>
              <a:gd name="connsiteX255" fmla="*/ 90583 w 463894"/>
              <a:gd name="connsiteY255" fmla="*/ 65056 h 470725"/>
              <a:gd name="connsiteX256" fmla="*/ 63246 w 463894"/>
              <a:gd name="connsiteY256" fmla="*/ 92774 h 470725"/>
              <a:gd name="connsiteX257" fmla="*/ 53721 w 463894"/>
              <a:gd name="connsiteY257" fmla="*/ 84677 h 470725"/>
              <a:gd name="connsiteX258" fmla="*/ 60389 w 463894"/>
              <a:gd name="connsiteY258" fmla="*/ 76486 h 470725"/>
              <a:gd name="connsiteX259" fmla="*/ 69914 w 463894"/>
              <a:gd name="connsiteY259" fmla="*/ 85344 h 470725"/>
              <a:gd name="connsiteX260" fmla="*/ 63246 w 463894"/>
              <a:gd name="connsiteY260" fmla="*/ 92774 h 470725"/>
              <a:gd name="connsiteX261" fmla="*/ 52007 w 463894"/>
              <a:gd name="connsiteY261" fmla="*/ 107633 h 470725"/>
              <a:gd name="connsiteX262" fmla="*/ 42482 w 463894"/>
              <a:gd name="connsiteY262" fmla="*/ 100870 h 470725"/>
              <a:gd name="connsiteX263" fmla="*/ 47625 w 463894"/>
              <a:gd name="connsiteY263" fmla="*/ 92107 h 470725"/>
              <a:gd name="connsiteX264" fmla="*/ 57150 w 463894"/>
              <a:gd name="connsiteY264" fmla="*/ 100203 h 470725"/>
              <a:gd name="connsiteX265" fmla="*/ 51245 w 463894"/>
              <a:gd name="connsiteY265" fmla="*/ 107633 h 470725"/>
              <a:gd name="connsiteX266" fmla="*/ 24575 w 463894"/>
              <a:gd name="connsiteY266" fmla="*/ 159830 h 470725"/>
              <a:gd name="connsiteX267" fmla="*/ 13240 w 463894"/>
              <a:gd name="connsiteY267" fmla="*/ 155067 h 470725"/>
              <a:gd name="connsiteX268" fmla="*/ 16574 w 463894"/>
              <a:gd name="connsiteY268" fmla="*/ 145542 h 470725"/>
              <a:gd name="connsiteX269" fmla="*/ 28575 w 463894"/>
              <a:gd name="connsiteY269" fmla="*/ 150305 h 470725"/>
              <a:gd name="connsiteX270" fmla="*/ 24575 w 463894"/>
              <a:gd name="connsiteY270" fmla="*/ 159830 h 470725"/>
              <a:gd name="connsiteX271" fmla="*/ 138589 w 463894"/>
              <a:gd name="connsiteY271" fmla="*/ 33814 h 470725"/>
              <a:gd name="connsiteX272" fmla="*/ 133350 w 463894"/>
              <a:gd name="connsiteY272" fmla="*/ 22384 h 470725"/>
              <a:gd name="connsiteX273" fmla="*/ 142875 w 463894"/>
              <a:gd name="connsiteY273" fmla="*/ 18288 h 470725"/>
              <a:gd name="connsiteX274" fmla="*/ 147542 w 463894"/>
              <a:gd name="connsiteY274" fmla="*/ 29813 h 470725"/>
              <a:gd name="connsiteX275" fmla="*/ 138875 w 463894"/>
              <a:gd name="connsiteY275" fmla="*/ 33814 h 470725"/>
              <a:gd name="connsiteX276" fmla="*/ 32671 w 463894"/>
              <a:gd name="connsiteY276" fmla="*/ 141542 h 470725"/>
              <a:gd name="connsiteX277" fmla="*/ 21336 w 463894"/>
              <a:gd name="connsiteY277" fmla="*/ 136112 h 470725"/>
              <a:gd name="connsiteX278" fmla="*/ 26003 w 463894"/>
              <a:gd name="connsiteY278" fmla="*/ 127349 h 470725"/>
              <a:gd name="connsiteX279" fmla="*/ 37338 w 463894"/>
              <a:gd name="connsiteY279" fmla="*/ 132683 h 470725"/>
              <a:gd name="connsiteX280" fmla="*/ 32671 w 463894"/>
              <a:gd name="connsiteY280" fmla="*/ 141542 h 470725"/>
              <a:gd name="connsiteX281" fmla="*/ 121920 w 463894"/>
              <a:gd name="connsiteY281" fmla="*/ 42672 h 470725"/>
              <a:gd name="connsiteX282" fmla="*/ 115253 w 463894"/>
              <a:gd name="connsiteY282" fmla="*/ 31814 h 470725"/>
              <a:gd name="connsiteX283" fmla="*/ 124778 w 463894"/>
              <a:gd name="connsiteY283" fmla="*/ 26384 h 470725"/>
              <a:gd name="connsiteX284" fmla="*/ 129921 w 463894"/>
              <a:gd name="connsiteY284" fmla="*/ 38100 h 470725"/>
              <a:gd name="connsiteX285" fmla="*/ 121920 w 463894"/>
              <a:gd name="connsiteY285" fmla="*/ 42863 h 470725"/>
              <a:gd name="connsiteX286" fmla="*/ 105918 w 463894"/>
              <a:gd name="connsiteY286" fmla="*/ 52769 h 470725"/>
              <a:gd name="connsiteX287" fmla="*/ 98584 w 463894"/>
              <a:gd name="connsiteY287" fmla="*/ 42672 h 470725"/>
              <a:gd name="connsiteX288" fmla="*/ 106585 w 463894"/>
              <a:gd name="connsiteY288" fmla="*/ 37243 h 470725"/>
              <a:gd name="connsiteX289" fmla="*/ 114300 w 463894"/>
              <a:gd name="connsiteY289" fmla="*/ 47625 h 470725"/>
              <a:gd name="connsiteX290" fmla="*/ 106299 w 463894"/>
              <a:gd name="connsiteY290" fmla="*/ 52959 h 470725"/>
              <a:gd name="connsiteX291" fmla="*/ 421481 w 463894"/>
              <a:gd name="connsiteY291" fmla="*/ 123444 h 470725"/>
              <a:gd name="connsiteX292" fmla="*/ 432816 w 463894"/>
              <a:gd name="connsiteY292" fmla="*/ 117348 h 470725"/>
              <a:gd name="connsiteX293" fmla="*/ 437483 w 463894"/>
              <a:gd name="connsiteY293" fmla="*/ 126111 h 470725"/>
              <a:gd name="connsiteX294" fmla="*/ 426149 w 463894"/>
              <a:gd name="connsiteY294" fmla="*/ 132207 h 470725"/>
              <a:gd name="connsiteX295" fmla="*/ 421481 w 463894"/>
              <a:gd name="connsiteY295" fmla="*/ 123444 h 470725"/>
              <a:gd name="connsiteX296" fmla="*/ 438150 w 463894"/>
              <a:gd name="connsiteY296" fmla="*/ 158401 h 470725"/>
              <a:gd name="connsiteX297" fmla="*/ 449485 w 463894"/>
              <a:gd name="connsiteY297" fmla="*/ 153734 h 470725"/>
              <a:gd name="connsiteX298" fmla="*/ 452818 w 463894"/>
              <a:gd name="connsiteY298" fmla="*/ 163830 h 470725"/>
              <a:gd name="connsiteX299" fmla="*/ 441484 w 463894"/>
              <a:gd name="connsiteY299" fmla="*/ 167259 h 470725"/>
              <a:gd name="connsiteX300" fmla="*/ 438150 w 463894"/>
              <a:gd name="connsiteY300" fmla="*/ 158401 h 470725"/>
              <a:gd name="connsiteX301" fmla="*/ 430816 w 463894"/>
              <a:gd name="connsiteY301" fmla="*/ 140208 h 470725"/>
              <a:gd name="connsiteX302" fmla="*/ 442150 w 463894"/>
              <a:gd name="connsiteY302" fmla="*/ 134779 h 470725"/>
              <a:gd name="connsiteX303" fmla="*/ 446151 w 463894"/>
              <a:gd name="connsiteY303" fmla="*/ 144304 h 470725"/>
              <a:gd name="connsiteX304" fmla="*/ 434816 w 463894"/>
              <a:gd name="connsiteY304" fmla="*/ 149733 h 470725"/>
              <a:gd name="connsiteX305" fmla="*/ 430816 w 463894"/>
              <a:gd name="connsiteY305" fmla="*/ 140208 h 470725"/>
              <a:gd name="connsiteX306" fmla="*/ 259842 w 463894"/>
              <a:gd name="connsiteY306" fmla="*/ 14192 h 470725"/>
              <a:gd name="connsiteX307" fmla="*/ 250317 w 463894"/>
              <a:gd name="connsiteY307" fmla="*/ 13526 h 470725"/>
              <a:gd name="connsiteX308" fmla="*/ 251174 w 463894"/>
              <a:gd name="connsiteY308" fmla="*/ 667 h 470725"/>
              <a:gd name="connsiteX309" fmla="*/ 261176 w 463894"/>
              <a:gd name="connsiteY309" fmla="*/ 2000 h 470725"/>
              <a:gd name="connsiteX310" fmla="*/ 13335 w 463894"/>
              <a:gd name="connsiteY310" fmla="*/ 216694 h 470725"/>
              <a:gd name="connsiteX311" fmla="*/ 667 w 463894"/>
              <a:gd name="connsiteY311" fmla="*/ 215360 h 470725"/>
              <a:gd name="connsiteX312" fmla="*/ 2000 w 463894"/>
              <a:gd name="connsiteY312" fmla="*/ 205169 h 470725"/>
              <a:gd name="connsiteX313" fmla="*/ 14669 w 463894"/>
              <a:gd name="connsiteY313" fmla="*/ 206502 h 470725"/>
              <a:gd name="connsiteX314" fmla="*/ 13335 w 463894"/>
              <a:gd name="connsiteY314" fmla="*/ 216694 h 470725"/>
              <a:gd name="connsiteX315" fmla="*/ 399098 w 463894"/>
              <a:gd name="connsiteY315" fmla="*/ 91440 h 470725"/>
              <a:gd name="connsiteX316" fmla="*/ 409575 w 463894"/>
              <a:gd name="connsiteY316" fmla="*/ 83249 h 470725"/>
              <a:gd name="connsiteX317" fmla="*/ 415576 w 463894"/>
              <a:gd name="connsiteY317" fmla="*/ 91440 h 470725"/>
              <a:gd name="connsiteX318" fmla="*/ 406051 w 463894"/>
              <a:gd name="connsiteY318" fmla="*/ 98870 h 470725"/>
              <a:gd name="connsiteX319" fmla="*/ 400050 w 463894"/>
              <a:gd name="connsiteY319" fmla="*/ 91440 h 470725"/>
              <a:gd name="connsiteX320" fmla="*/ 444722 w 463894"/>
              <a:gd name="connsiteY320" fmla="*/ 177165 h 470725"/>
              <a:gd name="connsiteX321" fmla="*/ 456724 w 463894"/>
              <a:gd name="connsiteY321" fmla="*/ 173831 h 470725"/>
              <a:gd name="connsiteX322" fmla="*/ 458724 w 463894"/>
              <a:gd name="connsiteY322" fmla="*/ 184023 h 470725"/>
              <a:gd name="connsiteX323" fmla="*/ 446723 w 463894"/>
              <a:gd name="connsiteY323" fmla="*/ 186690 h 470725"/>
              <a:gd name="connsiteX324" fmla="*/ 444722 w 463894"/>
              <a:gd name="connsiteY324" fmla="*/ 177165 h 470725"/>
              <a:gd name="connsiteX325" fmla="*/ 448628 w 463894"/>
              <a:gd name="connsiteY325" fmla="*/ 196215 h 470725"/>
              <a:gd name="connsiteX326" fmla="*/ 460724 w 463894"/>
              <a:gd name="connsiteY326" fmla="*/ 194215 h 470725"/>
              <a:gd name="connsiteX327" fmla="*/ 462629 w 463894"/>
              <a:gd name="connsiteY327" fmla="*/ 204406 h 470725"/>
              <a:gd name="connsiteX328" fmla="*/ 450056 w 463894"/>
              <a:gd name="connsiteY328" fmla="*/ 205740 h 470725"/>
              <a:gd name="connsiteX329" fmla="*/ 448628 w 463894"/>
              <a:gd name="connsiteY329" fmla="*/ 196215 h 470725"/>
              <a:gd name="connsiteX330" fmla="*/ 412051 w 463894"/>
              <a:gd name="connsiteY330" fmla="*/ 107537 h 470725"/>
              <a:gd name="connsiteX331" fmla="*/ 422053 w 463894"/>
              <a:gd name="connsiteY331" fmla="*/ 100108 h 470725"/>
              <a:gd name="connsiteX332" fmla="*/ 428054 w 463894"/>
              <a:gd name="connsiteY332" fmla="*/ 108871 h 470725"/>
              <a:gd name="connsiteX333" fmla="*/ 417386 w 463894"/>
              <a:gd name="connsiteY333" fmla="*/ 115729 h 470725"/>
              <a:gd name="connsiteX334" fmla="*/ 412051 w 463894"/>
              <a:gd name="connsiteY334" fmla="*/ 107537 h 470725"/>
              <a:gd name="connsiteX335" fmla="*/ 315182 w 463894"/>
              <a:gd name="connsiteY335" fmla="*/ 29147 h 470725"/>
              <a:gd name="connsiteX336" fmla="*/ 306515 w 463894"/>
              <a:gd name="connsiteY336" fmla="*/ 25718 h 470725"/>
              <a:gd name="connsiteX337" fmla="*/ 310515 w 463894"/>
              <a:gd name="connsiteY337" fmla="*/ 13526 h 470725"/>
              <a:gd name="connsiteX338" fmla="*/ 320040 w 463894"/>
              <a:gd name="connsiteY338" fmla="*/ 17621 h 470725"/>
              <a:gd name="connsiteX339" fmla="*/ 297180 w 463894"/>
              <a:gd name="connsiteY339" fmla="*/ 22384 h 470725"/>
              <a:gd name="connsiteX340" fmla="*/ 287655 w 463894"/>
              <a:gd name="connsiteY340" fmla="*/ 19622 h 470725"/>
              <a:gd name="connsiteX341" fmla="*/ 291179 w 463894"/>
              <a:gd name="connsiteY341" fmla="*/ 7429 h 470725"/>
              <a:gd name="connsiteX342" fmla="*/ 301181 w 463894"/>
              <a:gd name="connsiteY342" fmla="*/ 10192 h 470725"/>
              <a:gd name="connsiteX343" fmla="*/ 332423 w 463894"/>
              <a:gd name="connsiteY343" fmla="*/ 37243 h 470725"/>
              <a:gd name="connsiteX344" fmla="*/ 323850 w 463894"/>
              <a:gd name="connsiteY344" fmla="*/ 33147 h 470725"/>
              <a:gd name="connsiteX345" fmla="*/ 329184 w 463894"/>
              <a:gd name="connsiteY345" fmla="*/ 21622 h 470725"/>
              <a:gd name="connsiteX346" fmla="*/ 338709 w 463894"/>
              <a:gd name="connsiteY346" fmla="*/ 26384 h 470725"/>
              <a:gd name="connsiteX347" fmla="*/ 386429 w 463894"/>
              <a:gd name="connsiteY347" fmla="*/ 77153 h 470725"/>
              <a:gd name="connsiteX348" fmla="*/ 395097 w 463894"/>
              <a:gd name="connsiteY348" fmla="*/ 68390 h 470725"/>
              <a:gd name="connsiteX349" fmla="*/ 402431 w 463894"/>
              <a:gd name="connsiteY349" fmla="*/ 75819 h 470725"/>
              <a:gd name="connsiteX350" fmla="*/ 392906 w 463894"/>
              <a:gd name="connsiteY350" fmla="*/ 84677 h 470725"/>
              <a:gd name="connsiteX351" fmla="*/ 386239 w 463894"/>
              <a:gd name="connsiteY351" fmla="*/ 77153 h 470725"/>
              <a:gd name="connsiteX352" fmla="*/ 278511 w 463894"/>
              <a:gd name="connsiteY352" fmla="*/ 17621 h 470725"/>
              <a:gd name="connsiteX353" fmla="*/ 268986 w 463894"/>
              <a:gd name="connsiteY353" fmla="*/ 15526 h 470725"/>
              <a:gd name="connsiteX354" fmla="*/ 271177 w 463894"/>
              <a:gd name="connsiteY354" fmla="*/ 3429 h 470725"/>
              <a:gd name="connsiteX355" fmla="*/ 281178 w 463894"/>
              <a:gd name="connsiteY355" fmla="*/ 5429 h 470725"/>
              <a:gd name="connsiteX356" fmla="*/ 372428 w 463894"/>
              <a:gd name="connsiteY356" fmla="*/ 64294 h 470725"/>
              <a:gd name="connsiteX357" fmla="*/ 380429 w 463894"/>
              <a:gd name="connsiteY357" fmla="*/ 54769 h 470725"/>
              <a:gd name="connsiteX358" fmla="*/ 387763 w 463894"/>
              <a:gd name="connsiteY358" fmla="*/ 60865 h 470725"/>
              <a:gd name="connsiteX359" fmla="*/ 379762 w 463894"/>
              <a:gd name="connsiteY359" fmla="*/ 70390 h 470725"/>
              <a:gd name="connsiteX360" fmla="*/ 372428 w 463894"/>
              <a:gd name="connsiteY360" fmla="*/ 64294 h 470725"/>
              <a:gd name="connsiteX361" fmla="*/ 349091 w 463894"/>
              <a:gd name="connsiteY361" fmla="*/ 46673 h 470725"/>
              <a:gd name="connsiteX362" fmla="*/ 341090 w 463894"/>
              <a:gd name="connsiteY362" fmla="*/ 42005 h 470725"/>
              <a:gd name="connsiteX363" fmla="*/ 347091 w 463894"/>
              <a:gd name="connsiteY363" fmla="*/ 31147 h 470725"/>
              <a:gd name="connsiteX364" fmla="*/ 355759 w 463894"/>
              <a:gd name="connsiteY364" fmla="*/ 36576 h 470725"/>
              <a:gd name="connsiteX365" fmla="*/ 365093 w 463894"/>
              <a:gd name="connsiteY365" fmla="*/ 58198 h 470725"/>
              <a:gd name="connsiteX366" fmla="*/ 357092 w 463894"/>
              <a:gd name="connsiteY366" fmla="*/ 52102 h 470725"/>
              <a:gd name="connsiteX367" fmla="*/ 364426 w 463894"/>
              <a:gd name="connsiteY367" fmla="*/ 42005 h 470725"/>
              <a:gd name="connsiteX368" fmla="*/ 372428 w 463894"/>
              <a:gd name="connsiteY368" fmla="*/ 48101 h 470725"/>
              <a:gd name="connsiteX369" fmla="*/ 450818 w 463894"/>
              <a:gd name="connsiteY369" fmla="*/ 215360 h 470725"/>
              <a:gd name="connsiteX370" fmla="*/ 462725 w 463894"/>
              <a:gd name="connsiteY370" fmla="*/ 213931 h 470725"/>
              <a:gd name="connsiteX371" fmla="*/ 463391 w 463894"/>
              <a:gd name="connsiteY371" fmla="*/ 224123 h 470725"/>
              <a:gd name="connsiteX372" fmla="*/ 451485 w 463894"/>
              <a:gd name="connsiteY372" fmla="*/ 224790 h 470725"/>
              <a:gd name="connsiteX373" fmla="*/ 450818 w 463894"/>
              <a:gd name="connsiteY373" fmla="*/ 215265 h 470725"/>
              <a:gd name="connsiteX374" fmla="*/ 324422 w 463894"/>
              <a:gd name="connsiteY374" fmla="*/ 437388 h 470725"/>
              <a:gd name="connsiteX375" fmla="*/ 329756 w 463894"/>
              <a:gd name="connsiteY375" fmla="*/ 448913 h 470725"/>
              <a:gd name="connsiteX376" fmla="*/ 320231 w 463894"/>
              <a:gd name="connsiteY376" fmla="*/ 453009 h 470725"/>
              <a:gd name="connsiteX377" fmla="*/ 315563 w 463894"/>
              <a:gd name="connsiteY377" fmla="*/ 441484 h 470725"/>
              <a:gd name="connsiteX378" fmla="*/ 324136 w 463894"/>
              <a:gd name="connsiteY378" fmla="*/ 437388 h 470725"/>
              <a:gd name="connsiteX379" fmla="*/ 306896 w 463894"/>
              <a:gd name="connsiteY379" fmla="*/ 444913 h 470725"/>
              <a:gd name="connsiteX380" fmla="*/ 310896 w 463894"/>
              <a:gd name="connsiteY380" fmla="*/ 456438 h 470725"/>
              <a:gd name="connsiteX381" fmla="*/ 301371 w 463894"/>
              <a:gd name="connsiteY381" fmla="*/ 459772 h 470725"/>
              <a:gd name="connsiteX382" fmla="*/ 297847 w 463894"/>
              <a:gd name="connsiteY382" fmla="*/ 447675 h 470725"/>
              <a:gd name="connsiteX383" fmla="*/ 307372 w 463894"/>
              <a:gd name="connsiteY383" fmla="*/ 445008 h 470725"/>
              <a:gd name="connsiteX384" fmla="*/ 341757 w 463894"/>
              <a:gd name="connsiteY384" fmla="*/ 428625 h 470725"/>
              <a:gd name="connsiteX385" fmla="*/ 347758 w 463894"/>
              <a:gd name="connsiteY385" fmla="*/ 439484 h 470725"/>
              <a:gd name="connsiteX386" fmla="*/ 339090 w 463894"/>
              <a:gd name="connsiteY386" fmla="*/ 444246 h 470725"/>
              <a:gd name="connsiteX387" fmla="*/ 333375 w 463894"/>
              <a:gd name="connsiteY387" fmla="*/ 432721 h 470725"/>
              <a:gd name="connsiteX388" fmla="*/ 342043 w 463894"/>
              <a:gd name="connsiteY388" fmla="*/ 428625 h 470725"/>
              <a:gd name="connsiteX389" fmla="*/ 373380 w 463894"/>
              <a:gd name="connsiteY389" fmla="*/ 406241 h 470725"/>
              <a:gd name="connsiteX390" fmla="*/ 381381 w 463894"/>
              <a:gd name="connsiteY390" fmla="*/ 415766 h 470725"/>
              <a:gd name="connsiteX391" fmla="*/ 373380 w 463894"/>
              <a:gd name="connsiteY391" fmla="*/ 422529 h 470725"/>
              <a:gd name="connsiteX392" fmla="*/ 365379 w 463894"/>
              <a:gd name="connsiteY392" fmla="*/ 412337 h 470725"/>
              <a:gd name="connsiteX393" fmla="*/ 373380 w 463894"/>
              <a:gd name="connsiteY393" fmla="*/ 406241 h 470725"/>
              <a:gd name="connsiteX394" fmla="*/ 358045 w 463894"/>
              <a:gd name="connsiteY394" fmla="*/ 417767 h 470725"/>
              <a:gd name="connsiteX395" fmla="*/ 365379 w 463894"/>
              <a:gd name="connsiteY395" fmla="*/ 427958 h 470725"/>
              <a:gd name="connsiteX396" fmla="*/ 356711 w 463894"/>
              <a:gd name="connsiteY396" fmla="*/ 434054 h 470725"/>
              <a:gd name="connsiteX397" fmla="*/ 350044 w 463894"/>
              <a:gd name="connsiteY397" fmla="*/ 423196 h 470725"/>
              <a:gd name="connsiteX398" fmla="*/ 358045 w 463894"/>
              <a:gd name="connsiteY398" fmla="*/ 417767 h 470725"/>
              <a:gd name="connsiteX399" fmla="*/ 387382 w 463894"/>
              <a:gd name="connsiteY399" fmla="*/ 392716 h 470725"/>
              <a:gd name="connsiteX400" fmla="*/ 396050 w 463894"/>
              <a:gd name="connsiteY400" fmla="*/ 402241 h 470725"/>
              <a:gd name="connsiteX401" fmla="*/ 388715 w 463894"/>
              <a:gd name="connsiteY401" fmla="*/ 409004 h 470725"/>
              <a:gd name="connsiteX402" fmla="*/ 380048 w 463894"/>
              <a:gd name="connsiteY402" fmla="*/ 399479 h 470725"/>
              <a:gd name="connsiteX403" fmla="*/ 387382 w 463894"/>
              <a:gd name="connsiteY403" fmla="*/ 392716 h 470725"/>
              <a:gd name="connsiteX404" fmla="*/ 288512 w 463894"/>
              <a:gd name="connsiteY404" fmla="*/ 450342 h 470725"/>
              <a:gd name="connsiteX405" fmla="*/ 291846 w 463894"/>
              <a:gd name="connsiteY405" fmla="*/ 463201 h 470725"/>
              <a:gd name="connsiteX406" fmla="*/ 282321 w 463894"/>
              <a:gd name="connsiteY406" fmla="*/ 465201 h 470725"/>
              <a:gd name="connsiteX407" fmla="*/ 279654 w 463894"/>
              <a:gd name="connsiteY407" fmla="*/ 453009 h 470725"/>
              <a:gd name="connsiteX408" fmla="*/ 288322 w 463894"/>
              <a:gd name="connsiteY408" fmla="*/ 450342 h 470725"/>
              <a:gd name="connsiteX409" fmla="*/ 251174 w 463894"/>
              <a:gd name="connsiteY409" fmla="*/ 457200 h 470725"/>
              <a:gd name="connsiteX410" fmla="*/ 252508 w 463894"/>
              <a:gd name="connsiteY410" fmla="*/ 470059 h 470725"/>
              <a:gd name="connsiteX411" fmla="*/ 242506 w 463894"/>
              <a:gd name="connsiteY411" fmla="*/ 470725 h 470725"/>
              <a:gd name="connsiteX412" fmla="*/ 241840 w 463894"/>
              <a:gd name="connsiteY412" fmla="*/ 457867 h 470725"/>
              <a:gd name="connsiteX413" fmla="*/ 251365 w 463894"/>
              <a:gd name="connsiteY413" fmla="*/ 457200 h 470725"/>
              <a:gd name="connsiteX414" fmla="*/ 232315 w 463894"/>
              <a:gd name="connsiteY414" fmla="*/ 458534 h 470725"/>
              <a:gd name="connsiteX415" fmla="*/ 232315 w 463894"/>
              <a:gd name="connsiteY415" fmla="*/ 470725 h 470725"/>
              <a:gd name="connsiteX416" fmla="*/ 221837 w 463894"/>
              <a:gd name="connsiteY416" fmla="*/ 470725 h 470725"/>
              <a:gd name="connsiteX417" fmla="*/ 222504 w 463894"/>
              <a:gd name="connsiteY417" fmla="*/ 457867 h 470725"/>
              <a:gd name="connsiteX418" fmla="*/ 232029 w 463894"/>
              <a:gd name="connsiteY418" fmla="*/ 458534 h 470725"/>
              <a:gd name="connsiteX419" fmla="*/ 270129 w 463894"/>
              <a:gd name="connsiteY419" fmla="*/ 455105 h 470725"/>
              <a:gd name="connsiteX420" fmla="*/ 272796 w 463894"/>
              <a:gd name="connsiteY420" fmla="*/ 467297 h 470725"/>
              <a:gd name="connsiteX421" fmla="*/ 262795 w 463894"/>
              <a:gd name="connsiteY421" fmla="*/ 468725 h 470725"/>
              <a:gd name="connsiteX422" fmla="*/ 260794 w 463894"/>
              <a:gd name="connsiteY422" fmla="*/ 456533 h 470725"/>
              <a:gd name="connsiteX423" fmla="*/ 270320 w 463894"/>
              <a:gd name="connsiteY423" fmla="*/ 455105 h 470725"/>
              <a:gd name="connsiteX424" fmla="*/ 412242 w 463894"/>
              <a:gd name="connsiteY424" fmla="*/ 363093 h 470725"/>
              <a:gd name="connsiteX425" fmla="*/ 422243 w 463894"/>
              <a:gd name="connsiteY425" fmla="*/ 370523 h 470725"/>
              <a:gd name="connsiteX426" fmla="*/ 416243 w 463894"/>
              <a:gd name="connsiteY426" fmla="*/ 378619 h 470725"/>
              <a:gd name="connsiteX427" fmla="*/ 406718 w 463894"/>
              <a:gd name="connsiteY427" fmla="*/ 371189 h 470725"/>
              <a:gd name="connsiteX428" fmla="*/ 412718 w 463894"/>
              <a:gd name="connsiteY428" fmla="*/ 363093 h 470725"/>
              <a:gd name="connsiteX429" fmla="*/ 451390 w 463894"/>
              <a:gd name="connsiteY429" fmla="*/ 254699 h 470725"/>
              <a:gd name="connsiteX430" fmla="*/ 463296 w 463894"/>
              <a:gd name="connsiteY430" fmla="*/ 256032 h 470725"/>
              <a:gd name="connsiteX431" fmla="*/ 462629 w 463894"/>
              <a:gd name="connsiteY431" fmla="*/ 266224 h 470725"/>
              <a:gd name="connsiteX432" fmla="*/ 450056 w 463894"/>
              <a:gd name="connsiteY432" fmla="*/ 264890 h 470725"/>
              <a:gd name="connsiteX433" fmla="*/ 451390 w 463894"/>
              <a:gd name="connsiteY433" fmla="*/ 254699 h 470725"/>
              <a:gd name="connsiteX434" fmla="*/ 447675 w 463894"/>
              <a:gd name="connsiteY434" fmla="*/ 274225 h 470725"/>
              <a:gd name="connsiteX435" fmla="*/ 460343 w 463894"/>
              <a:gd name="connsiteY435" fmla="*/ 276320 h 470725"/>
              <a:gd name="connsiteX436" fmla="*/ 458343 w 463894"/>
              <a:gd name="connsiteY436" fmla="*/ 286417 h 470725"/>
              <a:gd name="connsiteX437" fmla="*/ 445770 w 463894"/>
              <a:gd name="connsiteY437" fmla="*/ 283750 h 470725"/>
              <a:gd name="connsiteX438" fmla="*/ 447675 w 463894"/>
              <a:gd name="connsiteY438" fmla="*/ 274225 h 470725"/>
              <a:gd name="connsiteX439" fmla="*/ 443770 w 463894"/>
              <a:gd name="connsiteY439" fmla="*/ 293275 h 470725"/>
              <a:gd name="connsiteX440" fmla="*/ 455771 w 463894"/>
              <a:gd name="connsiteY440" fmla="*/ 296704 h 470725"/>
              <a:gd name="connsiteX441" fmla="*/ 453104 w 463894"/>
              <a:gd name="connsiteY441" fmla="*/ 306229 h 470725"/>
              <a:gd name="connsiteX442" fmla="*/ 441103 w 463894"/>
              <a:gd name="connsiteY442" fmla="*/ 302895 h 470725"/>
              <a:gd name="connsiteX443" fmla="*/ 443770 w 463894"/>
              <a:gd name="connsiteY443" fmla="*/ 293370 h 470725"/>
              <a:gd name="connsiteX444" fmla="*/ 399764 w 463894"/>
              <a:gd name="connsiteY444" fmla="*/ 379095 h 470725"/>
              <a:gd name="connsiteX445" fmla="*/ 409289 w 463894"/>
              <a:gd name="connsiteY445" fmla="*/ 387191 h 470725"/>
              <a:gd name="connsiteX446" fmla="*/ 402622 w 463894"/>
              <a:gd name="connsiteY446" fmla="*/ 395383 h 470725"/>
              <a:gd name="connsiteX447" fmla="*/ 393954 w 463894"/>
              <a:gd name="connsiteY447" fmla="*/ 386525 h 470725"/>
              <a:gd name="connsiteX448" fmla="*/ 399955 w 463894"/>
              <a:gd name="connsiteY448" fmla="*/ 379095 h 470725"/>
              <a:gd name="connsiteX449" fmla="*/ 463868 w 463894"/>
              <a:gd name="connsiteY449" fmla="*/ 236220 h 470725"/>
              <a:gd name="connsiteX450" fmla="*/ 463201 w 463894"/>
              <a:gd name="connsiteY450" fmla="*/ 246412 h 470725"/>
              <a:gd name="connsiteX451" fmla="*/ 451295 w 463894"/>
              <a:gd name="connsiteY451" fmla="*/ 245650 h 470725"/>
              <a:gd name="connsiteX452" fmla="*/ 451295 w 463894"/>
              <a:gd name="connsiteY452" fmla="*/ 234315 h 470725"/>
              <a:gd name="connsiteX453" fmla="*/ 463868 w 463894"/>
              <a:gd name="connsiteY453" fmla="*/ 234315 h 470725"/>
              <a:gd name="connsiteX454" fmla="*/ 421767 w 463894"/>
              <a:gd name="connsiteY454" fmla="*/ 346710 h 470725"/>
              <a:gd name="connsiteX455" fmla="*/ 432435 w 463894"/>
              <a:gd name="connsiteY455" fmla="*/ 353473 h 470725"/>
              <a:gd name="connsiteX456" fmla="*/ 427101 w 463894"/>
              <a:gd name="connsiteY456" fmla="*/ 361569 h 470725"/>
              <a:gd name="connsiteX457" fmla="*/ 417100 w 463894"/>
              <a:gd name="connsiteY457" fmla="*/ 354806 h 470725"/>
              <a:gd name="connsiteX458" fmla="*/ 421767 w 463894"/>
              <a:gd name="connsiteY458" fmla="*/ 346710 h 470725"/>
              <a:gd name="connsiteX459" fmla="*/ 202692 w 463894"/>
              <a:gd name="connsiteY459" fmla="*/ 456438 h 470725"/>
              <a:gd name="connsiteX460" fmla="*/ 212693 w 463894"/>
              <a:gd name="connsiteY460" fmla="*/ 457105 h 470725"/>
              <a:gd name="connsiteX461" fmla="*/ 211360 w 463894"/>
              <a:gd name="connsiteY461" fmla="*/ 469964 h 470725"/>
              <a:gd name="connsiteX462" fmla="*/ 201835 w 463894"/>
              <a:gd name="connsiteY462" fmla="*/ 468630 h 470725"/>
              <a:gd name="connsiteX463" fmla="*/ 429959 w 463894"/>
              <a:gd name="connsiteY463" fmla="*/ 329756 h 470725"/>
              <a:gd name="connsiteX464" fmla="*/ 441293 w 463894"/>
              <a:gd name="connsiteY464" fmla="*/ 335185 h 470725"/>
              <a:gd name="connsiteX465" fmla="*/ 437293 w 463894"/>
              <a:gd name="connsiteY465" fmla="*/ 344043 h 470725"/>
              <a:gd name="connsiteX466" fmla="*/ 425958 w 463894"/>
              <a:gd name="connsiteY466" fmla="*/ 338614 h 470725"/>
              <a:gd name="connsiteX467" fmla="*/ 429959 w 463894"/>
              <a:gd name="connsiteY467" fmla="*/ 329756 h 470725"/>
              <a:gd name="connsiteX468" fmla="*/ 438150 w 463894"/>
              <a:gd name="connsiteY468" fmla="*/ 311468 h 470725"/>
              <a:gd name="connsiteX469" fmla="*/ 450151 w 463894"/>
              <a:gd name="connsiteY469" fmla="*/ 316230 h 470725"/>
              <a:gd name="connsiteX470" fmla="*/ 446151 w 463894"/>
              <a:gd name="connsiteY470" fmla="*/ 325755 h 470725"/>
              <a:gd name="connsiteX471" fmla="*/ 434816 w 463894"/>
              <a:gd name="connsiteY471" fmla="*/ 320993 h 470725"/>
              <a:gd name="connsiteX472" fmla="*/ 438150 w 463894"/>
              <a:gd name="connsiteY472" fmla="*/ 311468 h 470725"/>
              <a:gd name="connsiteX473" fmla="*/ 77248 w 463894"/>
              <a:gd name="connsiteY473" fmla="*/ 392716 h 470725"/>
              <a:gd name="connsiteX474" fmla="*/ 67723 w 463894"/>
              <a:gd name="connsiteY474" fmla="*/ 402241 h 470725"/>
              <a:gd name="connsiteX475" fmla="*/ 60960 w 463894"/>
              <a:gd name="connsiteY475" fmla="*/ 394811 h 470725"/>
              <a:gd name="connsiteX476" fmla="*/ 70485 w 463894"/>
              <a:gd name="connsiteY476" fmla="*/ 385953 h 470725"/>
              <a:gd name="connsiteX477" fmla="*/ 77153 w 463894"/>
              <a:gd name="connsiteY477" fmla="*/ 392716 h 470725"/>
              <a:gd name="connsiteX478" fmla="*/ 64008 w 463894"/>
              <a:gd name="connsiteY478" fmla="*/ 378524 h 470725"/>
              <a:gd name="connsiteX479" fmla="*/ 54483 w 463894"/>
              <a:gd name="connsiteY479" fmla="*/ 386620 h 470725"/>
              <a:gd name="connsiteX480" fmla="*/ 47816 w 463894"/>
              <a:gd name="connsiteY480" fmla="*/ 379190 h 470725"/>
              <a:gd name="connsiteX481" fmla="*/ 57341 w 463894"/>
              <a:gd name="connsiteY481" fmla="*/ 371094 h 470725"/>
              <a:gd name="connsiteX482" fmla="*/ 63437 w 463894"/>
              <a:gd name="connsiteY482" fmla="*/ 378523 h 470725"/>
              <a:gd name="connsiteX483" fmla="*/ 19431 w 463894"/>
              <a:gd name="connsiteY483" fmla="*/ 292799 h 470725"/>
              <a:gd name="connsiteX484" fmla="*/ 7429 w 463894"/>
              <a:gd name="connsiteY484" fmla="*/ 296228 h 470725"/>
              <a:gd name="connsiteX485" fmla="*/ 5429 w 463894"/>
              <a:gd name="connsiteY485" fmla="*/ 286703 h 470725"/>
              <a:gd name="connsiteX486" fmla="*/ 17431 w 463894"/>
              <a:gd name="connsiteY486" fmla="*/ 283369 h 470725"/>
              <a:gd name="connsiteX487" fmla="*/ 19431 w 463894"/>
              <a:gd name="connsiteY487" fmla="*/ 292894 h 470725"/>
              <a:gd name="connsiteX488" fmla="*/ 12764 w 463894"/>
              <a:gd name="connsiteY488" fmla="*/ 254794 h 470725"/>
              <a:gd name="connsiteX489" fmla="*/ 762 w 463894"/>
              <a:gd name="connsiteY489" fmla="*/ 256127 h 470725"/>
              <a:gd name="connsiteX490" fmla="*/ 95 w 463894"/>
              <a:gd name="connsiteY490" fmla="*/ 245364 h 470725"/>
              <a:gd name="connsiteX491" fmla="*/ 12668 w 463894"/>
              <a:gd name="connsiteY491" fmla="*/ 245364 h 470725"/>
              <a:gd name="connsiteX492" fmla="*/ 13335 w 463894"/>
              <a:gd name="connsiteY492" fmla="*/ 254889 h 470725"/>
              <a:gd name="connsiteX493" fmla="*/ 99060 w 463894"/>
              <a:gd name="connsiteY493" fmla="*/ 411956 h 470725"/>
              <a:gd name="connsiteX494" fmla="*/ 106394 w 463894"/>
              <a:gd name="connsiteY494" fmla="*/ 417386 h 470725"/>
              <a:gd name="connsiteX495" fmla="*/ 99251 w 463894"/>
              <a:gd name="connsiteY495" fmla="*/ 428625 h 470725"/>
              <a:gd name="connsiteX496" fmla="*/ 91250 w 463894"/>
              <a:gd name="connsiteY496" fmla="*/ 422529 h 470725"/>
              <a:gd name="connsiteX497" fmla="*/ 52673 w 463894"/>
              <a:gd name="connsiteY497" fmla="*/ 363665 h 470725"/>
              <a:gd name="connsiteX498" fmla="*/ 42005 w 463894"/>
              <a:gd name="connsiteY498" fmla="*/ 370427 h 470725"/>
              <a:gd name="connsiteX499" fmla="*/ 36671 w 463894"/>
              <a:gd name="connsiteY499" fmla="*/ 362236 h 470725"/>
              <a:gd name="connsiteX500" fmla="*/ 47625 w 463894"/>
              <a:gd name="connsiteY500" fmla="*/ 355473 h 470725"/>
              <a:gd name="connsiteX501" fmla="*/ 52959 w 463894"/>
              <a:gd name="connsiteY501" fmla="*/ 363665 h 470725"/>
              <a:gd name="connsiteX502" fmla="*/ 91535 w 463894"/>
              <a:gd name="connsiteY502" fmla="*/ 406241 h 470725"/>
              <a:gd name="connsiteX503" fmla="*/ 83534 w 463894"/>
              <a:gd name="connsiteY503" fmla="*/ 415766 h 470725"/>
              <a:gd name="connsiteX504" fmla="*/ 75533 w 463894"/>
              <a:gd name="connsiteY504" fmla="*/ 409004 h 470725"/>
              <a:gd name="connsiteX505" fmla="*/ 84201 w 463894"/>
              <a:gd name="connsiteY505" fmla="*/ 399479 h 470725"/>
              <a:gd name="connsiteX506" fmla="*/ 91535 w 463894"/>
              <a:gd name="connsiteY506" fmla="*/ 406241 h 470725"/>
              <a:gd name="connsiteX507" fmla="*/ 16002 w 463894"/>
              <a:gd name="connsiteY507" fmla="*/ 274225 h 470725"/>
              <a:gd name="connsiteX508" fmla="*/ 4000 w 463894"/>
              <a:gd name="connsiteY508" fmla="*/ 276987 h 470725"/>
              <a:gd name="connsiteX509" fmla="*/ 2000 w 463894"/>
              <a:gd name="connsiteY509" fmla="*/ 266700 h 470725"/>
              <a:gd name="connsiteX510" fmla="*/ 14669 w 463894"/>
              <a:gd name="connsiteY510" fmla="*/ 264700 h 470725"/>
              <a:gd name="connsiteX511" fmla="*/ 16002 w 463894"/>
              <a:gd name="connsiteY511" fmla="*/ 274225 h 470725"/>
              <a:gd name="connsiteX512" fmla="*/ 42005 w 463894"/>
              <a:gd name="connsiteY512" fmla="*/ 347377 h 470725"/>
              <a:gd name="connsiteX513" fmla="*/ 31337 w 463894"/>
              <a:gd name="connsiteY513" fmla="*/ 353473 h 470725"/>
              <a:gd name="connsiteX514" fmla="*/ 26670 w 463894"/>
              <a:gd name="connsiteY514" fmla="*/ 344710 h 470725"/>
              <a:gd name="connsiteX515" fmla="*/ 37338 w 463894"/>
              <a:gd name="connsiteY515" fmla="*/ 338614 h 470725"/>
              <a:gd name="connsiteX516" fmla="*/ 42005 w 463894"/>
              <a:gd name="connsiteY516" fmla="*/ 347377 h 470725"/>
              <a:gd name="connsiteX517" fmla="*/ 26003 w 463894"/>
              <a:gd name="connsiteY517" fmla="*/ 312134 h 470725"/>
              <a:gd name="connsiteX518" fmla="*/ 14002 w 463894"/>
              <a:gd name="connsiteY518" fmla="*/ 316230 h 470725"/>
              <a:gd name="connsiteX519" fmla="*/ 10668 w 463894"/>
              <a:gd name="connsiteY519" fmla="*/ 306705 h 470725"/>
              <a:gd name="connsiteX520" fmla="*/ 22670 w 463894"/>
              <a:gd name="connsiteY520" fmla="*/ 302705 h 470725"/>
              <a:gd name="connsiteX521" fmla="*/ 26003 w 463894"/>
              <a:gd name="connsiteY521" fmla="*/ 312230 h 470725"/>
              <a:gd name="connsiteX522" fmla="*/ 33338 w 463894"/>
              <a:gd name="connsiteY522" fmla="*/ 329851 h 470725"/>
              <a:gd name="connsiteX523" fmla="*/ 22003 w 463894"/>
              <a:gd name="connsiteY523" fmla="*/ 335280 h 470725"/>
              <a:gd name="connsiteX524" fmla="*/ 18002 w 463894"/>
              <a:gd name="connsiteY524" fmla="*/ 325755 h 470725"/>
              <a:gd name="connsiteX525" fmla="*/ 29337 w 463894"/>
              <a:gd name="connsiteY525" fmla="*/ 320993 h 470725"/>
              <a:gd name="connsiteX526" fmla="*/ 33338 w 463894"/>
              <a:gd name="connsiteY526" fmla="*/ 329756 h 470725"/>
              <a:gd name="connsiteX527" fmla="*/ 12668 w 463894"/>
              <a:gd name="connsiteY527" fmla="*/ 235649 h 470725"/>
              <a:gd name="connsiteX528" fmla="*/ 0 w 463894"/>
              <a:gd name="connsiteY528" fmla="*/ 235649 h 470725"/>
              <a:gd name="connsiteX529" fmla="*/ 0 w 463894"/>
              <a:gd name="connsiteY529" fmla="*/ 225457 h 470725"/>
              <a:gd name="connsiteX530" fmla="*/ 12668 w 463894"/>
              <a:gd name="connsiteY530" fmla="*/ 226124 h 470725"/>
              <a:gd name="connsiteX531" fmla="*/ 12668 w 463894"/>
              <a:gd name="connsiteY531" fmla="*/ 235649 h 470725"/>
              <a:gd name="connsiteX532" fmla="*/ 114300 w 463894"/>
              <a:gd name="connsiteY532" fmla="*/ 423196 h 470725"/>
              <a:gd name="connsiteX533" fmla="*/ 122968 w 463894"/>
              <a:gd name="connsiteY533" fmla="*/ 428625 h 470725"/>
              <a:gd name="connsiteX534" fmla="*/ 116300 w 463894"/>
              <a:gd name="connsiteY534" fmla="*/ 439484 h 470725"/>
              <a:gd name="connsiteX535" fmla="*/ 107633 w 463894"/>
              <a:gd name="connsiteY535" fmla="*/ 434054 h 470725"/>
              <a:gd name="connsiteX536" fmla="*/ 148304 w 463894"/>
              <a:gd name="connsiteY536" fmla="*/ 441484 h 470725"/>
              <a:gd name="connsiteX537" fmla="*/ 157829 w 463894"/>
              <a:gd name="connsiteY537" fmla="*/ 444913 h 470725"/>
              <a:gd name="connsiteX538" fmla="*/ 152400 w 463894"/>
              <a:gd name="connsiteY538" fmla="*/ 457200 h 470725"/>
              <a:gd name="connsiteX539" fmla="*/ 142875 w 463894"/>
              <a:gd name="connsiteY539" fmla="*/ 453104 h 470725"/>
              <a:gd name="connsiteX540" fmla="*/ 184976 w 463894"/>
              <a:gd name="connsiteY540" fmla="*/ 453009 h 470725"/>
              <a:gd name="connsiteX541" fmla="*/ 194501 w 463894"/>
              <a:gd name="connsiteY541" fmla="*/ 455009 h 470725"/>
              <a:gd name="connsiteX542" fmla="*/ 192500 w 463894"/>
              <a:gd name="connsiteY542" fmla="*/ 467201 h 470725"/>
              <a:gd name="connsiteX543" fmla="*/ 182975 w 463894"/>
              <a:gd name="connsiteY543" fmla="*/ 465201 h 470725"/>
              <a:gd name="connsiteX544" fmla="*/ 130588 w 463894"/>
              <a:gd name="connsiteY544" fmla="*/ 433388 h 470725"/>
              <a:gd name="connsiteX545" fmla="*/ 139256 w 463894"/>
              <a:gd name="connsiteY545" fmla="*/ 437388 h 470725"/>
              <a:gd name="connsiteX546" fmla="*/ 133922 w 463894"/>
              <a:gd name="connsiteY546" fmla="*/ 448913 h 470725"/>
              <a:gd name="connsiteX547" fmla="*/ 125254 w 463894"/>
              <a:gd name="connsiteY547" fmla="*/ 444246 h 470725"/>
              <a:gd name="connsiteX548" fmla="*/ 165926 w 463894"/>
              <a:gd name="connsiteY548" fmla="*/ 448247 h 470725"/>
              <a:gd name="connsiteX549" fmla="*/ 175451 w 463894"/>
              <a:gd name="connsiteY549" fmla="*/ 451009 h 470725"/>
              <a:gd name="connsiteX550" fmla="*/ 172117 w 463894"/>
              <a:gd name="connsiteY550" fmla="*/ 463201 h 470725"/>
              <a:gd name="connsiteX551" fmla="*/ 162592 w 463894"/>
              <a:gd name="connsiteY551" fmla="*/ 459772 h 470725"/>
              <a:gd name="connsiteX552" fmla="*/ 348425 w 463894"/>
              <a:gd name="connsiteY552" fmla="*/ 351473 h 470725"/>
              <a:gd name="connsiteX553" fmla="*/ 347758 w 463894"/>
              <a:gd name="connsiteY553" fmla="*/ 342614 h 470725"/>
              <a:gd name="connsiteX554" fmla="*/ 339090 w 463894"/>
              <a:gd name="connsiteY554" fmla="*/ 341281 h 470725"/>
              <a:gd name="connsiteX555" fmla="*/ 339090 w 463894"/>
              <a:gd name="connsiteY555" fmla="*/ 341281 h 470725"/>
              <a:gd name="connsiteX556" fmla="*/ 348615 w 463894"/>
              <a:gd name="connsiteY556" fmla="*/ 341948 h 470725"/>
              <a:gd name="connsiteX557" fmla="*/ 350615 w 463894"/>
              <a:gd name="connsiteY557" fmla="*/ 352139 h 470725"/>
              <a:gd name="connsiteX558" fmla="*/ 351949 w 463894"/>
              <a:gd name="connsiteY558" fmla="*/ 360236 h 470725"/>
              <a:gd name="connsiteX559" fmla="*/ 358616 w 463894"/>
              <a:gd name="connsiteY559" fmla="*/ 360236 h 470725"/>
              <a:gd name="connsiteX560" fmla="*/ 359283 w 463894"/>
              <a:gd name="connsiteY560" fmla="*/ 360236 h 470725"/>
              <a:gd name="connsiteX561" fmla="*/ 364617 w 463894"/>
              <a:gd name="connsiteY561" fmla="*/ 359569 h 470725"/>
              <a:gd name="connsiteX562" fmla="*/ 369951 w 463894"/>
              <a:gd name="connsiteY562" fmla="*/ 361569 h 470725"/>
              <a:gd name="connsiteX563" fmla="*/ 373285 w 463894"/>
              <a:gd name="connsiteY563" fmla="*/ 367665 h 470725"/>
              <a:gd name="connsiteX564" fmla="*/ 372618 w 463894"/>
              <a:gd name="connsiteY564" fmla="*/ 373094 h 470725"/>
              <a:gd name="connsiteX565" fmla="*/ 371951 w 463894"/>
              <a:gd name="connsiteY565" fmla="*/ 373761 h 470725"/>
              <a:gd name="connsiteX566" fmla="*/ 371951 w 463894"/>
              <a:gd name="connsiteY566" fmla="*/ 373761 h 470725"/>
              <a:gd name="connsiteX567" fmla="*/ 371285 w 463894"/>
              <a:gd name="connsiteY567" fmla="*/ 377190 h 470725"/>
              <a:gd name="connsiteX568" fmla="*/ 372618 w 463894"/>
              <a:gd name="connsiteY568" fmla="*/ 379857 h 470725"/>
              <a:gd name="connsiteX569" fmla="*/ 379952 w 463894"/>
              <a:gd name="connsiteY569" fmla="*/ 382619 h 470725"/>
              <a:gd name="connsiteX570" fmla="*/ 379952 w 463894"/>
              <a:gd name="connsiteY570" fmla="*/ 383286 h 470725"/>
              <a:gd name="connsiteX571" fmla="*/ 379952 w 463894"/>
              <a:gd name="connsiteY571" fmla="*/ 383286 h 470725"/>
              <a:gd name="connsiteX572" fmla="*/ 375285 w 463894"/>
              <a:gd name="connsiteY572" fmla="*/ 383953 h 470725"/>
              <a:gd name="connsiteX573" fmla="*/ 367327 w 463894"/>
              <a:gd name="connsiteY573" fmla="*/ 378176 h 470725"/>
              <a:gd name="connsiteX574" fmla="*/ 367284 w 463894"/>
              <a:gd name="connsiteY574" fmla="*/ 377857 h 470725"/>
              <a:gd name="connsiteX575" fmla="*/ 367951 w 463894"/>
              <a:gd name="connsiteY575" fmla="*/ 371761 h 470725"/>
              <a:gd name="connsiteX576" fmla="*/ 367284 w 463894"/>
              <a:gd name="connsiteY576" fmla="*/ 372428 h 470725"/>
              <a:gd name="connsiteX577" fmla="*/ 366617 w 463894"/>
              <a:gd name="connsiteY577" fmla="*/ 365665 h 470725"/>
              <a:gd name="connsiteX578" fmla="*/ 359950 w 463894"/>
              <a:gd name="connsiteY578" fmla="*/ 364331 h 470725"/>
              <a:gd name="connsiteX579" fmla="*/ 359950 w 463894"/>
              <a:gd name="connsiteY579" fmla="*/ 364331 h 470725"/>
              <a:gd name="connsiteX580" fmla="*/ 354616 w 463894"/>
              <a:gd name="connsiteY580" fmla="*/ 364998 h 470725"/>
              <a:gd name="connsiteX581" fmla="*/ 349282 w 463894"/>
              <a:gd name="connsiteY581" fmla="*/ 362236 h 470725"/>
              <a:gd name="connsiteX582" fmla="*/ 347948 w 463894"/>
              <a:gd name="connsiteY582" fmla="*/ 351472 h 470725"/>
              <a:gd name="connsiteX583" fmla="*/ 237173 w 463894"/>
              <a:gd name="connsiteY583" fmla="*/ 419862 h 470725"/>
              <a:gd name="connsiteX584" fmla="*/ 239840 w 463894"/>
              <a:gd name="connsiteY584" fmla="*/ 425958 h 470725"/>
              <a:gd name="connsiteX585" fmla="*/ 237173 w 463894"/>
              <a:gd name="connsiteY585" fmla="*/ 432054 h 470725"/>
              <a:gd name="connsiteX586" fmla="*/ 233172 w 463894"/>
              <a:gd name="connsiteY586" fmla="*/ 435388 h 470725"/>
              <a:gd name="connsiteX587" fmla="*/ 233172 w 463894"/>
              <a:gd name="connsiteY587" fmla="*/ 435388 h 470725"/>
              <a:gd name="connsiteX588" fmla="*/ 229838 w 463894"/>
              <a:gd name="connsiteY588" fmla="*/ 437388 h 470725"/>
              <a:gd name="connsiteX589" fmla="*/ 228505 w 463894"/>
              <a:gd name="connsiteY589" fmla="*/ 440150 h 470725"/>
              <a:gd name="connsiteX590" fmla="*/ 231839 w 463894"/>
              <a:gd name="connsiteY590" fmla="*/ 447580 h 470725"/>
              <a:gd name="connsiteX591" fmla="*/ 231839 w 463894"/>
              <a:gd name="connsiteY591" fmla="*/ 447580 h 470725"/>
              <a:gd name="connsiteX592" fmla="*/ 227838 w 463894"/>
              <a:gd name="connsiteY592" fmla="*/ 444913 h 470725"/>
              <a:gd name="connsiteX593" fmla="*/ 225171 w 463894"/>
              <a:gd name="connsiteY593" fmla="*/ 440150 h 470725"/>
              <a:gd name="connsiteX594" fmla="*/ 226504 w 463894"/>
              <a:gd name="connsiteY594" fmla="*/ 434721 h 470725"/>
              <a:gd name="connsiteX595" fmla="*/ 230505 w 463894"/>
              <a:gd name="connsiteY595" fmla="*/ 430625 h 470725"/>
              <a:gd name="connsiteX596" fmla="*/ 230505 w 463894"/>
              <a:gd name="connsiteY596" fmla="*/ 431292 h 470725"/>
              <a:gd name="connsiteX597" fmla="*/ 234506 w 463894"/>
              <a:gd name="connsiteY597" fmla="*/ 425958 h 470725"/>
              <a:gd name="connsiteX598" fmla="*/ 230505 w 463894"/>
              <a:gd name="connsiteY598" fmla="*/ 419862 h 470725"/>
              <a:gd name="connsiteX599" fmla="*/ 231172 w 463894"/>
              <a:gd name="connsiteY599" fmla="*/ 419862 h 470725"/>
              <a:gd name="connsiteX600" fmla="*/ 226505 w 463894"/>
              <a:gd name="connsiteY600" fmla="*/ 416433 h 470725"/>
              <a:gd name="connsiteX601" fmla="*/ 224504 w 463894"/>
              <a:gd name="connsiteY601" fmla="*/ 411004 h 470725"/>
              <a:gd name="connsiteX602" fmla="*/ 231172 w 463894"/>
              <a:gd name="connsiteY602" fmla="*/ 402241 h 470725"/>
              <a:gd name="connsiteX603" fmla="*/ 236506 w 463894"/>
              <a:gd name="connsiteY603" fmla="*/ 396145 h 470725"/>
              <a:gd name="connsiteX604" fmla="*/ 231839 w 463894"/>
              <a:gd name="connsiteY604" fmla="*/ 388715 h 470725"/>
              <a:gd name="connsiteX605" fmla="*/ 231839 w 463894"/>
              <a:gd name="connsiteY605" fmla="*/ 388049 h 470725"/>
              <a:gd name="connsiteX606" fmla="*/ 231839 w 463894"/>
              <a:gd name="connsiteY606" fmla="*/ 388049 h 470725"/>
              <a:gd name="connsiteX607" fmla="*/ 238506 w 463894"/>
              <a:gd name="connsiteY607" fmla="*/ 396145 h 470725"/>
              <a:gd name="connsiteX608" fmla="*/ 232505 w 463894"/>
              <a:gd name="connsiteY608" fmla="*/ 404241 h 470725"/>
              <a:gd name="connsiteX609" fmla="*/ 227838 w 463894"/>
              <a:gd name="connsiteY609" fmla="*/ 411004 h 470725"/>
              <a:gd name="connsiteX610" fmla="*/ 232505 w 463894"/>
              <a:gd name="connsiteY610" fmla="*/ 416433 h 470725"/>
              <a:gd name="connsiteX611" fmla="*/ 233172 w 463894"/>
              <a:gd name="connsiteY611" fmla="*/ 416433 h 470725"/>
              <a:gd name="connsiteX612" fmla="*/ 237173 w 463894"/>
              <a:gd name="connsiteY612" fmla="*/ 419862 h 470725"/>
              <a:gd name="connsiteX613" fmla="*/ 108585 w 463894"/>
              <a:gd name="connsiteY613" fmla="*/ 367665 h 470725"/>
              <a:gd name="connsiteX614" fmla="*/ 106585 w 463894"/>
              <a:gd name="connsiteY614" fmla="*/ 373761 h 470725"/>
              <a:gd name="connsiteX615" fmla="*/ 100584 w 463894"/>
              <a:gd name="connsiteY615" fmla="*/ 376523 h 470725"/>
              <a:gd name="connsiteX616" fmla="*/ 95250 w 463894"/>
              <a:gd name="connsiteY616" fmla="*/ 375857 h 470725"/>
              <a:gd name="connsiteX617" fmla="*/ 95250 w 463894"/>
              <a:gd name="connsiteY617" fmla="*/ 375857 h 470725"/>
              <a:gd name="connsiteX618" fmla="*/ 91250 w 463894"/>
              <a:gd name="connsiteY618" fmla="*/ 375190 h 470725"/>
              <a:gd name="connsiteX619" fmla="*/ 88583 w 463894"/>
              <a:gd name="connsiteY619" fmla="*/ 375857 h 470725"/>
              <a:gd name="connsiteX620" fmla="*/ 85916 w 463894"/>
              <a:gd name="connsiteY620" fmla="*/ 383286 h 470725"/>
              <a:gd name="connsiteX621" fmla="*/ 85916 w 463894"/>
              <a:gd name="connsiteY621" fmla="*/ 383953 h 470725"/>
              <a:gd name="connsiteX622" fmla="*/ 85725 w 463894"/>
              <a:gd name="connsiteY622" fmla="*/ 383953 h 470725"/>
              <a:gd name="connsiteX623" fmla="*/ 85058 w 463894"/>
              <a:gd name="connsiteY623" fmla="*/ 379190 h 470725"/>
              <a:gd name="connsiteX624" fmla="*/ 85725 w 463894"/>
              <a:gd name="connsiteY624" fmla="*/ 373761 h 470725"/>
              <a:gd name="connsiteX625" fmla="*/ 91059 w 463894"/>
              <a:gd name="connsiteY625" fmla="*/ 370427 h 470725"/>
              <a:gd name="connsiteX626" fmla="*/ 96393 w 463894"/>
              <a:gd name="connsiteY626" fmla="*/ 371094 h 470725"/>
              <a:gd name="connsiteX627" fmla="*/ 96393 w 463894"/>
              <a:gd name="connsiteY627" fmla="*/ 371094 h 470725"/>
              <a:gd name="connsiteX628" fmla="*/ 102394 w 463894"/>
              <a:gd name="connsiteY628" fmla="*/ 370427 h 470725"/>
              <a:gd name="connsiteX629" fmla="*/ 103727 w 463894"/>
              <a:gd name="connsiteY629" fmla="*/ 363665 h 470725"/>
              <a:gd name="connsiteX630" fmla="*/ 103727 w 463894"/>
              <a:gd name="connsiteY630" fmla="*/ 363665 h 470725"/>
              <a:gd name="connsiteX631" fmla="*/ 103727 w 463894"/>
              <a:gd name="connsiteY631" fmla="*/ 358235 h 470725"/>
              <a:gd name="connsiteX632" fmla="*/ 105728 w 463894"/>
              <a:gd name="connsiteY632" fmla="*/ 352139 h 470725"/>
              <a:gd name="connsiteX633" fmla="*/ 116396 w 463894"/>
              <a:gd name="connsiteY633" fmla="*/ 351473 h 470725"/>
              <a:gd name="connsiteX634" fmla="*/ 125063 w 463894"/>
              <a:gd name="connsiteY634" fmla="*/ 350806 h 470725"/>
              <a:gd name="connsiteX635" fmla="*/ 126397 w 463894"/>
              <a:gd name="connsiteY635" fmla="*/ 341948 h 470725"/>
              <a:gd name="connsiteX636" fmla="*/ 126397 w 463894"/>
              <a:gd name="connsiteY636" fmla="*/ 341281 h 470725"/>
              <a:gd name="connsiteX637" fmla="*/ 127064 w 463894"/>
              <a:gd name="connsiteY637" fmla="*/ 341948 h 470725"/>
              <a:gd name="connsiteX638" fmla="*/ 126397 w 463894"/>
              <a:gd name="connsiteY638" fmla="*/ 351473 h 470725"/>
              <a:gd name="connsiteX639" fmla="*/ 116872 w 463894"/>
              <a:gd name="connsiteY639" fmla="*/ 353473 h 470725"/>
              <a:gd name="connsiteX640" fmla="*/ 108871 w 463894"/>
              <a:gd name="connsiteY640" fmla="*/ 354806 h 470725"/>
              <a:gd name="connsiteX641" fmla="*/ 108204 w 463894"/>
              <a:gd name="connsiteY641" fmla="*/ 362236 h 470725"/>
              <a:gd name="connsiteX642" fmla="*/ 108204 w 463894"/>
              <a:gd name="connsiteY642" fmla="*/ 362236 h 470725"/>
              <a:gd name="connsiteX643" fmla="*/ 108871 w 463894"/>
              <a:gd name="connsiteY643" fmla="*/ 367665 h 470725"/>
              <a:gd name="connsiteX644" fmla="*/ 39624 w 463894"/>
              <a:gd name="connsiteY644" fmla="*/ 234315 h 470725"/>
              <a:gd name="connsiteX645" fmla="*/ 39624 w 463894"/>
              <a:gd name="connsiteY645" fmla="*/ 234315 h 470725"/>
              <a:gd name="connsiteX646" fmla="*/ 44958 w 463894"/>
              <a:gd name="connsiteY646" fmla="*/ 238316 h 470725"/>
              <a:gd name="connsiteX647" fmla="*/ 50292 w 463894"/>
              <a:gd name="connsiteY647" fmla="*/ 234315 h 470725"/>
              <a:gd name="connsiteX648" fmla="*/ 50292 w 463894"/>
              <a:gd name="connsiteY648" fmla="*/ 234315 h 470725"/>
              <a:gd name="connsiteX649" fmla="*/ 54293 w 463894"/>
              <a:gd name="connsiteY649" fmla="*/ 230219 h 470725"/>
              <a:gd name="connsiteX650" fmla="*/ 59627 w 463894"/>
              <a:gd name="connsiteY650" fmla="*/ 227552 h 470725"/>
              <a:gd name="connsiteX651" fmla="*/ 68294 w 463894"/>
              <a:gd name="connsiteY651" fmla="*/ 234315 h 470725"/>
              <a:gd name="connsiteX652" fmla="*/ 74200 w 463894"/>
              <a:gd name="connsiteY652" fmla="*/ 240411 h 470725"/>
              <a:gd name="connsiteX653" fmla="*/ 81534 w 463894"/>
              <a:gd name="connsiteY653" fmla="*/ 234982 h 470725"/>
              <a:gd name="connsiteX654" fmla="*/ 81534 w 463894"/>
              <a:gd name="connsiteY654" fmla="*/ 234982 h 470725"/>
              <a:gd name="connsiteX655" fmla="*/ 81534 w 463894"/>
              <a:gd name="connsiteY655" fmla="*/ 235649 h 470725"/>
              <a:gd name="connsiteX656" fmla="*/ 74200 w 463894"/>
              <a:gd name="connsiteY656" fmla="*/ 241744 h 470725"/>
              <a:gd name="connsiteX657" fmla="*/ 66294 w 463894"/>
              <a:gd name="connsiteY657" fmla="*/ 236315 h 470725"/>
              <a:gd name="connsiteX658" fmla="*/ 59627 w 463894"/>
              <a:gd name="connsiteY658" fmla="*/ 230886 h 470725"/>
              <a:gd name="connsiteX659" fmla="*/ 54293 w 463894"/>
              <a:gd name="connsiteY659" fmla="*/ 236315 h 470725"/>
              <a:gd name="connsiteX660" fmla="*/ 54293 w 463894"/>
              <a:gd name="connsiteY660" fmla="*/ 236315 h 470725"/>
              <a:gd name="connsiteX661" fmla="*/ 50292 w 463894"/>
              <a:gd name="connsiteY661" fmla="*/ 240411 h 470725"/>
              <a:gd name="connsiteX662" fmla="*/ 44958 w 463894"/>
              <a:gd name="connsiteY662" fmla="*/ 243078 h 470725"/>
              <a:gd name="connsiteX663" fmla="*/ 38957 w 463894"/>
              <a:gd name="connsiteY663" fmla="*/ 241078 h 470725"/>
              <a:gd name="connsiteX664" fmla="*/ 35623 w 463894"/>
              <a:gd name="connsiteY664" fmla="*/ 236315 h 470725"/>
              <a:gd name="connsiteX665" fmla="*/ 35624 w 463894"/>
              <a:gd name="connsiteY665" fmla="*/ 236315 h 470725"/>
              <a:gd name="connsiteX666" fmla="*/ 33623 w 463894"/>
              <a:gd name="connsiteY666" fmla="*/ 233648 h 470725"/>
              <a:gd name="connsiteX667" fmla="*/ 30956 w 463894"/>
              <a:gd name="connsiteY667" fmla="*/ 231553 h 470725"/>
              <a:gd name="connsiteX668" fmla="*/ 23622 w 463894"/>
              <a:gd name="connsiteY668" fmla="*/ 235649 h 470725"/>
              <a:gd name="connsiteX669" fmla="*/ 23622 w 463894"/>
              <a:gd name="connsiteY669" fmla="*/ 235649 h 470725"/>
              <a:gd name="connsiteX670" fmla="*/ 23622 w 463894"/>
              <a:gd name="connsiteY670" fmla="*/ 234982 h 470725"/>
              <a:gd name="connsiteX671" fmla="*/ 26289 w 463894"/>
              <a:gd name="connsiteY671" fmla="*/ 230886 h 470725"/>
              <a:gd name="connsiteX672" fmla="*/ 30671 w 463894"/>
              <a:gd name="connsiteY672" fmla="*/ 228600 h 470725"/>
              <a:gd name="connsiteX673" fmla="*/ 36005 w 463894"/>
              <a:gd name="connsiteY673" fmla="*/ 230600 h 470725"/>
              <a:gd name="connsiteX674" fmla="*/ 39338 w 463894"/>
              <a:gd name="connsiteY674" fmla="*/ 234696 h 470725"/>
              <a:gd name="connsiteX675" fmla="*/ 93917 w 463894"/>
              <a:gd name="connsiteY675" fmla="*/ 96203 h 470725"/>
              <a:gd name="connsiteX676" fmla="*/ 94583 w 463894"/>
              <a:gd name="connsiteY676" fmla="*/ 92774 h 470725"/>
              <a:gd name="connsiteX677" fmla="*/ 93917 w 463894"/>
              <a:gd name="connsiteY677" fmla="*/ 89345 h 470725"/>
              <a:gd name="connsiteX678" fmla="*/ 85725 w 463894"/>
              <a:gd name="connsiteY678" fmla="*/ 86678 h 470725"/>
              <a:gd name="connsiteX679" fmla="*/ 85725 w 463894"/>
              <a:gd name="connsiteY679" fmla="*/ 86678 h 470725"/>
              <a:gd name="connsiteX680" fmla="*/ 90583 w 463894"/>
              <a:gd name="connsiteY680" fmla="*/ 85725 h 470725"/>
              <a:gd name="connsiteX681" fmla="*/ 95917 w 463894"/>
              <a:gd name="connsiteY681" fmla="*/ 87059 h 470725"/>
              <a:gd name="connsiteX682" fmla="*/ 98584 w 463894"/>
              <a:gd name="connsiteY682" fmla="*/ 92488 h 470725"/>
              <a:gd name="connsiteX683" fmla="*/ 98584 w 463894"/>
              <a:gd name="connsiteY683" fmla="*/ 97917 h 470725"/>
              <a:gd name="connsiteX684" fmla="*/ 98584 w 463894"/>
              <a:gd name="connsiteY684" fmla="*/ 97917 h 470725"/>
              <a:gd name="connsiteX685" fmla="*/ 99251 w 463894"/>
              <a:gd name="connsiteY685" fmla="*/ 104680 h 470725"/>
              <a:gd name="connsiteX686" fmla="*/ 105918 w 463894"/>
              <a:gd name="connsiteY686" fmla="*/ 106013 h 470725"/>
              <a:gd name="connsiteX687" fmla="*/ 105918 w 463894"/>
              <a:gd name="connsiteY687" fmla="*/ 106013 h 470725"/>
              <a:gd name="connsiteX688" fmla="*/ 111252 w 463894"/>
              <a:gd name="connsiteY688" fmla="*/ 105347 h 470725"/>
              <a:gd name="connsiteX689" fmla="*/ 116586 w 463894"/>
              <a:gd name="connsiteY689" fmla="*/ 108014 h 470725"/>
              <a:gd name="connsiteX690" fmla="*/ 117920 w 463894"/>
              <a:gd name="connsiteY690" fmla="*/ 118205 h 470725"/>
              <a:gd name="connsiteX691" fmla="*/ 118586 w 463894"/>
              <a:gd name="connsiteY691" fmla="*/ 126968 h 470725"/>
              <a:gd name="connsiteX692" fmla="*/ 127254 w 463894"/>
              <a:gd name="connsiteY692" fmla="*/ 128397 h 470725"/>
              <a:gd name="connsiteX693" fmla="*/ 127254 w 463894"/>
              <a:gd name="connsiteY693" fmla="*/ 129064 h 470725"/>
              <a:gd name="connsiteX694" fmla="*/ 127254 w 463894"/>
              <a:gd name="connsiteY694" fmla="*/ 129064 h 470725"/>
              <a:gd name="connsiteX695" fmla="*/ 117729 w 463894"/>
              <a:gd name="connsiteY695" fmla="*/ 128397 h 470725"/>
              <a:gd name="connsiteX696" fmla="*/ 115729 w 463894"/>
              <a:gd name="connsiteY696" fmla="*/ 118205 h 470725"/>
              <a:gd name="connsiteX697" fmla="*/ 115062 w 463894"/>
              <a:gd name="connsiteY697" fmla="*/ 110109 h 470725"/>
              <a:gd name="connsiteX698" fmla="*/ 107728 w 463894"/>
              <a:gd name="connsiteY698" fmla="*/ 109442 h 470725"/>
              <a:gd name="connsiteX699" fmla="*/ 107728 w 463894"/>
              <a:gd name="connsiteY699" fmla="*/ 109442 h 470725"/>
              <a:gd name="connsiteX700" fmla="*/ 107061 w 463894"/>
              <a:gd name="connsiteY700" fmla="*/ 110109 h 470725"/>
              <a:gd name="connsiteX701" fmla="*/ 101727 w 463894"/>
              <a:gd name="connsiteY701" fmla="*/ 110109 h 470725"/>
              <a:gd name="connsiteX702" fmla="*/ 93726 w 463894"/>
              <a:gd name="connsiteY702" fmla="*/ 101919 h 470725"/>
              <a:gd name="connsiteX703" fmla="*/ 93726 w 463894"/>
              <a:gd name="connsiteY703" fmla="*/ 101918 h 470725"/>
              <a:gd name="connsiteX704" fmla="*/ 94393 w 463894"/>
              <a:gd name="connsiteY704" fmla="*/ 96584 h 470725"/>
              <a:gd name="connsiteX705" fmla="*/ 226505 w 463894"/>
              <a:gd name="connsiteY705" fmla="*/ 50768 h 470725"/>
              <a:gd name="connsiteX706" fmla="*/ 223838 w 463894"/>
              <a:gd name="connsiteY706" fmla="*/ 45339 h 470725"/>
              <a:gd name="connsiteX707" fmla="*/ 226505 w 463894"/>
              <a:gd name="connsiteY707" fmla="*/ 39243 h 470725"/>
              <a:gd name="connsiteX708" fmla="*/ 230505 w 463894"/>
              <a:gd name="connsiteY708" fmla="*/ 35909 h 470725"/>
              <a:gd name="connsiteX709" fmla="*/ 230505 w 463894"/>
              <a:gd name="connsiteY709" fmla="*/ 35909 h 470725"/>
              <a:gd name="connsiteX710" fmla="*/ 233839 w 463894"/>
              <a:gd name="connsiteY710" fmla="*/ 33814 h 470725"/>
              <a:gd name="connsiteX711" fmla="*/ 235172 w 463894"/>
              <a:gd name="connsiteY711" fmla="*/ 31147 h 470725"/>
              <a:gd name="connsiteX712" fmla="*/ 231839 w 463894"/>
              <a:gd name="connsiteY712" fmla="*/ 23717 h 470725"/>
              <a:gd name="connsiteX713" fmla="*/ 231839 w 463894"/>
              <a:gd name="connsiteY713" fmla="*/ 23051 h 470725"/>
              <a:gd name="connsiteX714" fmla="*/ 231839 w 463894"/>
              <a:gd name="connsiteY714" fmla="*/ 23051 h 470725"/>
              <a:gd name="connsiteX715" fmla="*/ 235839 w 463894"/>
              <a:gd name="connsiteY715" fmla="*/ 25718 h 470725"/>
              <a:gd name="connsiteX716" fmla="*/ 238506 w 463894"/>
              <a:gd name="connsiteY716" fmla="*/ 30480 h 470725"/>
              <a:gd name="connsiteX717" fmla="*/ 237173 w 463894"/>
              <a:gd name="connsiteY717" fmla="*/ 36576 h 470725"/>
              <a:gd name="connsiteX718" fmla="*/ 233172 w 463894"/>
              <a:gd name="connsiteY718" fmla="*/ 39910 h 470725"/>
              <a:gd name="connsiteX719" fmla="*/ 233172 w 463894"/>
              <a:gd name="connsiteY719" fmla="*/ 39910 h 470725"/>
              <a:gd name="connsiteX720" fmla="*/ 229172 w 463894"/>
              <a:gd name="connsiteY720" fmla="*/ 45339 h 470725"/>
              <a:gd name="connsiteX721" fmla="*/ 233172 w 463894"/>
              <a:gd name="connsiteY721" fmla="*/ 50768 h 470725"/>
              <a:gd name="connsiteX722" fmla="*/ 232505 w 463894"/>
              <a:gd name="connsiteY722" fmla="*/ 50768 h 470725"/>
              <a:gd name="connsiteX723" fmla="*/ 237173 w 463894"/>
              <a:gd name="connsiteY723" fmla="*/ 54197 h 470725"/>
              <a:gd name="connsiteX724" fmla="*/ 239173 w 463894"/>
              <a:gd name="connsiteY724" fmla="*/ 60293 h 470725"/>
              <a:gd name="connsiteX725" fmla="*/ 232505 w 463894"/>
              <a:gd name="connsiteY725" fmla="*/ 68390 h 470725"/>
              <a:gd name="connsiteX726" fmla="*/ 227171 w 463894"/>
              <a:gd name="connsiteY726" fmla="*/ 75152 h 470725"/>
              <a:gd name="connsiteX727" fmla="*/ 231839 w 463894"/>
              <a:gd name="connsiteY727" fmla="*/ 82582 h 470725"/>
              <a:gd name="connsiteX728" fmla="*/ 231839 w 463894"/>
              <a:gd name="connsiteY728" fmla="*/ 82582 h 470725"/>
              <a:gd name="connsiteX729" fmla="*/ 225171 w 463894"/>
              <a:gd name="connsiteY729" fmla="*/ 75152 h 470725"/>
              <a:gd name="connsiteX730" fmla="*/ 231172 w 463894"/>
              <a:gd name="connsiteY730" fmla="*/ 66675 h 470725"/>
              <a:gd name="connsiteX731" fmla="*/ 235839 w 463894"/>
              <a:gd name="connsiteY731" fmla="*/ 60579 h 470725"/>
              <a:gd name="connsiteX732" fmla="*/ 231172 w 463894"/>
              <a:gd name="connsiteY732" fmla="*/ 55150 h 470725"/>
              <a:gd name="connsiteX733" fmla="*/ 231172 w 463894"/>
              <a:gd name="connsiteY733" fmla="*/ 55150 h 470725"/>
              <a:gd name="connsiteX734" fmla="*/ 230505 w 463894"/>
              <a:gd name="connsiteY734" fmla="*/ 54483 h 470725"/>
              <a:gd name="connsiteX735" fmla="*/ 226505 w 463894"/>
              <a:gd name="connsiteY735" fmla="*/ 51054 h 470725"/>
              <a:gd name="connsiteX736" fmla="*/ 339090 w 463894"/>
              <a:gd name="connsiteY736" fmla="*/ 128683 h 470725"/>
              <a:gd name="connsiteX737" fmla="*/ 340423 w 463894"/>
              <a:gd name="connsiteY737" fmla="*/ 118491 h 470725"/>
              <a:gd name="connsiteX738" fmla="*/ 349948 w 463894"/>
              <a:gd name="connsiteY738" fmla="*/ 117158 h 470725"/>
              <a:gd name="connsiteX739" fmla="*/ 357283 w 463894"/>
              <a:gd name="connsiteY739" fmla="*/ 115824 h 470725"/>
              <a:gd name="connsiteX740" fmla="*/ 357950 w 463894"/>
              <a:gd name="connsiteY740" fmla="*/ 108299 h 470725"/>
              <a:gd name="connsiteX741" fmla="*/ 357950 w 463894"/>
              <a:gd name="connsiteY741" fmla="*/ 108299 h 470725"/>
              <a:gd name="connsiteX742" fmla="*/ 357283 w 463894"/>
              <a:gd name="connsiteY742" fmla="*/ 102299 h 470725"/>
              <a:gd name="connsiteX743" fmla="*/ 359283 w 463894"/>
              <a:gd name="connsiteY743" fmla="*/ 96869 h 470725"/>
              <a:gd name="connsiteX744" fmla="*/ 365284 w 463894"/>
              <a:gd name="connsiteY744" fmla="*/ 94107 h 470725"/>
              <a:gd name="connsiteX745" fmla="*/ 371475 w 463894"/>
              <a:gd name="connsiteY745" fmla="*/ 95250 h 470725"/>
              <a:gd name="connsiteX746" fmla="*/ 371475 w 463894"/>
              <a:gd name="connsiteY746" fmla="*/ 95250 h 470725"/>
              <a:gd name="connsiteX747" fmla="*/ 374809 w 463894"/>
              <a:gd name="connsiteY747" fmla="*/ 95917 h 470725"/>
              <a:gd name="connsiteX748" fmla="*/ 377476 w 463894"/>
              <a:gd name="connsiteY748" fmla="*/ 95250 h 470725"/>
              <a:gd name="connsiteX749" fmla="*/ 380143 w 463894"/>
              <a:gd name="connsiteY749" fmla="*/ 87154 h 470725"/>
              <a:gd name="connsiteX750" fmla="*/ 381000 w 463894"/>
              <a:gd name="connsiteY750" fmla="*/ 87154 h 470725"/>
              <a:gd name="connsiteX751" fmla="*/ 381667 w 463894"/>
              <a:gd name="connsiteY751" fmla="*/ 91916 h 470725"/>
              <a:gd name="connsiteX752" fmla="*/ 380333 w 463894"/>
              <a:gd name="connsiteY752" fmla="*/ 97345 h 470725"/>
              <a:gd name="connsiteX753" fmla="*/ 374999 w 463894"/>
              <a:gd name="connsiteY753" fmla="*/ 100012 h 470725"/>
              <a:gd name="connsiteX754" fmla="*/ 369665 w 463894"/>
              <a:gd name="connsiteY754" fmla="*/ 100012 h 470725"/>
              <a:gd name="connsiteX755" fmla="*/ 369665 w 463894"/>
              <a:gd name="connsiteY755" fmla="*/ 100013 h 470725"/>
              <a:gd name="connsiteX756" fmla="*/ 363665 w 463894"/>
              <a:gd name="connsiteY756" fmla="*/ 100679 h 470725"/>
              <a:gd name="connsiteX757" fmla="*/ 362331 w 463894"/>
              <a:gd name="connsiteY757" fmla="*/ 107442 h 470725"/>
              <a:gd name="connsiteX758" fmla="*/ 362331 w 463894"/>
              <a:gd name="connsiteY758" fmla="*/ 107442 h 470725"/>
              <a:gd name="connsiteX759" fmla="*/ 362998 w 463894"/>
              <a:gd name="connsiteY759" fmla="*/ 112871 h 470725"/>
              <a:gd name="connsiteX760" fmla="*/ 360331 w 463894"/>
              <a:gd name="connsiteY760" fmla="*/ 118301 h 470725"/>
              <a:gd name="connsiteX761" fmla="*/ 349663 w 463894"/>
              <a:gd name="connsiteY761" fmla="*/ 119634 h 470725"/>
              <a:gd name="connsiteX762" fmla="*/ 340995 w 463894"/>
              <a:gd name="connsiteY762" fmla="*/ 120301 h 470725"/>
              <a:gd name="connsiteX763" fmla="*/ 339662 w 463894"/>
              <a:gd name="connsiteY763" fmla="*/ 129159 h 470725"/>
              <a:gd name="connsiteX764" fmla="*/ 339090 w 463894"/>
              <a:gd name="connsiteY764" fmla="*/ 129159 h 470725"/>
              <a:gd name="connsiteX765" fmla="*/ 424815 w 463894"/>
              <a:gd name="connsiteY765" fmla="*/ 236792 h 470725"/>
              <a:gd name="connsiteX766" fmla="*/ 424815 w 463894"/>
              <a:gd name="connsiteY766" fmla="*/ 236792 h 470725"/>
              <a:gd name="connsiteX767" fmla="*/ 419481 w 463894"/>
              <a:gd name="connsiteY767" fmla="*/ 232696 h 470725"/>
              <a:gd name="connsiteX768" fmla="*/ 414147 w 463894"/>
              <a:gd name="connsiteY768" fmla="*/ 236792 h 470725"/>
              <a:gd name="connsiteX769" fmla="*/ 414147 w 463894"/>
              <a:gd name="connsiteY769" fmla="*/ 236792 h 470725"/>
              <a:gd name="connsiteX770" fmla="*/ 410147 w 463894"/>
              <a:gd name="connsiteY770" fmla="*/ 240887 h 470725"/>
              <a:gd name="connsiteX771" fmla="*/ 404813 w 463894"/>
              <a:gd name="connsiteY771" fmla="*/ 242888 h 470725"/>
              <a:gd name="connsiteX772" fmla="*/ 396145 w 463894"/>
              <a:gd name="connsiteY772" fmla="*/ 236792 h 470725"/>
              <a:gd name="connsiteX773" fmla="*/ 390144 w 463894"/>
              <a:gd name="connsiteY773" fmla="*/ 230696 h 470725"/>
              <a:gd name="connsiteX774" fmla="*/ 382810 w 463894"/>
              <a:gd name="connsiteY774" fmla="*/ 236125 h 470725"/>
              <a:gd name="connsiteX775" fmla="*/ 382810 w 463894"/>
              <a:gd name="connsiteY775" fmla="*/ 236125 h 470725"/>
              <a:gd name="connsiteX776" fmla="*/ 382810 w 463894"/>
              <a:gd name="connsiteY776" fmla="*/ 235458 h 470725"/>
              <a:gd name="connsiteX777" fmla="*/ 390144 w 463894"/>
              <a:gd name="connsiteY777" fmla="*/ 229362 h 470725"/>
              <a:gd name="connsiteX778" fmla="*/ 398145 w 463894"/>
              <a:gd name="connsiteY778" fmla="*/ 234791 h 470725"/>
              <a:gd name="connsiteX779" fmla="*/ 404813 w 463894"/>
              <a:gd name="connsiteY779" fmla="*/ 239554 h 470725"/>
              <a:gd name="connsiteX780" fmla="*/ 410147 w 463894"/>
              <a:gd name="connsiteY780" fmla="*/ 234791 h 470725"/>
              <a:gd name="connsiteX781" fmla="*/ 410147 w 463894"/>
              <a:gd name="connsiteY781" fmla="*/ 234791 h 470725"/>
              <a:gd name="connsiteX782" fmla="*/ 414147 w 463894"/>
              <a:gd name="connsiteY782" fmla="*/ 230696 h 470725"/>
              <a:gd name="connsiteX783" fmla="*/ 419481 w 463894"/>
              <a:gd name="connsiteY783" fmla="*/ 228028 h 470725"/>
              <a:gd name="connsiteX784" fmla="*/ 425482 w 463894"/>
              <a:gd name="connsiteY784" fmla="*/ 230029 h 470725"/>
              <a:gd name="connsiteX785" fmla="*/ 428816 w 463894"/>
              <a:gd name="connsiteY785" fmla="*/ 234791 h 470725"/>
              <a:gd name="connsiteX786" fmla="*/ 428816 w 463894"/>
              <a:gd name="connsiteY786" fmla="*/ 234791 h 470725"/>
              <a:gd name="connsiteX787" fmla="*/ 430816 w 463894"/>
              <a:gd name="connsiteY787" fmla="*/ 237458 h 470725"/>
              <a:gd name="connsiteX788" fmla="*/ 433483 w 463894"/>
              <a:gd name="connsiteY788" fmla="*/ 239554 h 470725"/>
              <a:gd name="connsiteX789" fmla="*/ 440817 w 463894"/>
              <a:gd name="connsiteY789" fmla="*/ 235458 h 470725"/>
              <a:gd name="connsiteX790" fmla="*/ 440817 w 463894"/>
              <a:gd name="connsiteY790" fmla="*/ 235458 h 470725"/>
              <a:gd name="connsiteX791" fmla="*/ 440817 w 463894"/>
              <a:gd name="connsiteY791" fmla="*/ 236125 h 470725"/>
              <a:gd name="connsiteX792" fmla="*/ 438150 w 463894"/>
              <a:gd name="connsiteY792" fmla="*/ 240221 h 470725"/>
              <a:gd name="connsiteX793" fmla="*/ 433483 w 463894"/>
              <a:gd name="connsiteY793" fmla="*/ 242888 h 470725"/>
              <a:gd name="connsiteX794" fmla="*/ 428149 w 463894"/>
              <a:gd name="connsiteY794" fmla="*/ 240887 h 470725"/>
              <a:gd name="connsiteX795" fmla="*/ 424815 w 463894"/>
              <a:gd name="connsiteY795" fmla="*/ 236792 h 470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</a:cxnLst>
            <a:rect l="l" t="t" r="r" b="b"/>
            <a:pathLst>
              <a:path w="463894" h="470725">
                <a:moveTo>
                  <a:pt x="231839" y="375857"/>
                </a:moveTo>
                <a:cubicBezTo>
                  <a:pt x="309457" y="373836"/>
                  <a:pt x="370742" y="309275"/>
                  <a:pt x="368721" y="231656"/>
                </a:cubicBezTo>
                <a:cubicBezTo>
                  <a:pt x="366774" y="156879"/>
                  <a:pt x="306615" y="96721"/>
                  <a:pt x="231839" y="94774"/>
                </a:cubicBezTo>
                <a:cubicBezTo>
                  <a:pt x="154220" y="96795"/>
                  <a:pt x="92935" y="161355"/>
                  <a:pt x="94956" y="238974"/>
                </a:cubicBezTo>
                <a:cubicBezTo>
                  <a:pt x="96903" y="313751"/>
                  <a:pt x="157062" y="373910"/>
                  <a:pt x="231839" y="375857"/>
                </a:cubicBezTo>
                <a:moveTo>
                  <a:pt x="225171" y="186881"/>
                </a:moveTo>
                <a:lnTo>
                  <a:pt x="230505" y="180118"/>
                </a:lnTo>
                <a:lnTo>
                  <a:pt x="228600" y="172688"/>
                </a:lnTo>
                <a:lnTo>
                  <a:pt x="231267" y="172688"/>
                </a:lnTo>
                <a:lnTo>
                  <a:pt x="235934" y="177451"/>
                </a:lnTo>
                <a:lnTo>
                  <a:pt x="249269" y="172688"/>
                </a:lnTo>
                <a:lnTo>
                  <a:pt x="250603" y="167259"/>
                </a:lnTo>
                <a:lnTo>
                  <a:pt x="255270" y="157067"/>
                </a:lnTo>
                <a:lnTo>
                  <a:pt x="247650" y="153067"/>
                </a:lnTo>
                <a:lnTo>
                  <a:pt x="242316" y="156401"/>
                </a:lnTo>
                <a:lnTo>
                  <a:pt x="244983" y="164497"/>
                </a:lnTo>
                <a:lnTo>
                  <a:pt x="241649" y="171355"/>
                </a:lnTo>
                <a:lnTo>
                  <a:pt x="229648" y="169259"/>
                </a:lnTo>
                <a:lnTo>
                  <a:pt x="226314" y="161163"/>
                </a:lnTo>
                <a:lnTo>
                  <a:pt x="238125" y="144875"/>
                </a:lnTo>
                <a:lnTo>
                  <a:pt x="250127" y="131350"/>
                </a:lnTo>
                <a:lnTo>
                  <a:pt x="259652" y="132683"/>
                </a:lnTo>
                <a:lnTo>
                  <a:pt x="268319" y="134779"/>
                </a:lnTo>
                <a:lnTo>
                  <a:pt x="272987" y="137446"/>
                </a:lnTo>
                <a:lnTo>
                  <a:pt x="267653" y="141542"/>
                </a:lnTo>
                <a:lnTo>
                  <a:pt x="270320" y="147638"/>
                </a:lnTo>
                <a:lnTo>
                  <a:pt x="278987" y="140875"/>
                </a:lnTo>
                <a:lnTo>
                  <a:pt x="281654" y="132683"/>
                </a:lnTo>
                <a:lnTo>
                  <a:pt x="282988" y="134779"/>
                </a:lnTo>
                <a:lnTo>
                  <a:pt x="284988" y="138779"/>
                </a:lnTo>
                <a:lnTo>
                  <a:pt x="298990" y="130683"/>
                </a:lnTo>
                <a:lnTo>
                  <a:pt x="302324" y="126587"/>
                </a:lnTo>
                <a:cubicBezTo>
                  <a:pt x="336571" y="149989"/>
                  <a:pt x="357840" y="188117"/>
                  <a:pt x="359759" y="229553"/>
                </a:cubicBezTo>
                <a:lnTo>
                  <a:pt x="355759" y="229553"/>
                </a:lnTo>
                <a:lnTo>
                  <a:pt x="347758" y="237649"/>
                </a:lnTo>
                <a:lnTo>
                  <a:pt x="345758" y="243745"/>
                </a:lnTo>
                <a:lnTo>
                  <a:pt x="345091" y="249841"/>
                </a:lnTo>
                <a:lnTo>
                  <a:pt x="336423" y="239744"/>
                </a:lnTo>
                <a:lnTo>
                  <a:pt x="332423" y="227552"/>
                </a:lnTo>
                <a:lnTo>
                  <a:pt x="329184" y="227552"/>
                </a:lnTo>
                <a:lnTo>
                  <a:pt x="322517" y="221456"/>
                </a:lnTo>
                <a:lnTo>
                  <a:pt x="315182" y="223456"/>
                </a:lnTo>
                <a:lnTo>
                  <a:pt x="308515" y="221456"/>
                </a:lnTo>
                <a:lnTo>
                  <a:pt x="300514" y="220028"/>
                </a:lnTo>
                <a:lnTo>
                  <a:pt x="296513" y="216027"/>
                </a:lnTo>
                <a:lnTo>
                  <a:pt x="292513" y="217361"/>
                </a:lnTo>
                <a:lnTo>
                  <a:pt x="301181" y="227552"/>
                </a:lnTo>
                <a:lnTo>
                  <a:pt x="309182" y="226124"/>
                </a:lnTo>
                <a:lnTo>
                  <a:pt x="312515" y="231553"/>
                </a:lnTo>
                <a:lnTo>
                  <a:pt x="306515" y="242411"/>
                </a:lnTo>
                <a:lnTo>
                  <a:pt x="293846" y="247174"/>
                </a:lnTo>
                <a:lnTo>
                  <a:pt x="288512" y="238125"/>
                </a:lnTo>
                <a:lnTo>
                  <a:pt x="280511" y="230696"/>
                </a:lnTo>
                <a:lnTo>
                  <a:pt x="276225" y="223456"/>
                </a:lnTo>
                <a:lnTo>
                  <a:pt x="276225" y="234315"/>
                </a:lnTo>
                <a:lnTo>
                  <a:pt x="295275" y="253365"/>
                </a:lnTo>
                <a:lnTo>
                  <a:pt x="304800" y="249936"/>
                </a:lnTo>
                <a:lnTo>
                  <a:pt x="304800" y="257175"/>
                </a:lnTo>
                <a:lnTo>
                  <a:pt x="295275" y="280892"/>
                </a:lnTo>
                <a:lnTo>
                  <a:pt x="295275" y="302705"/>
                </a:lnTo>
                <a:lnTo>
                  <a:pt x="288608" y="306705"/>
                </a:lnTo>
                <a:lnTo>
                  <a:pt x="292608" y="316897"/>
                </a:lnTo>
                <a:lnTo>
                  <a:pt x="287941" y="325755"/>
                </a:lnTo>
                <a:lnTo>
                  <a:pt x="280607" y="339281"/>
                </a:lnTo>
                <a:lnTo>
                  <a:pt x="270605" y="341948"/>
                </a:lnTo>
                <a:lnTo>
                  <a:pt x="265271" y="322326"/>
                </a:lnTo>
                <a:lnTo>
                  <a:pt x="257937" y="306705"/>
                </a:lnTo>
                <a:lnTo>
                  <a:pt x="257937" y="295942"/>
                </a:lnTo>
                <a:lnTo>
                  <a:pt x="248412" y="281654"/>
                </a:lnTo>
                <a:lnTo>
                  <a:pt x="249079" y="272891"/>
                </a:lnTo>
                <a:lnTo>
                  <a:pt x="243745" y="274225"/>
                </a:lnTo>
                <a:lnTo>
                  <a:pt x="239744" y="270224"/>
                </a:lnTo>
                <a:lnTo>
                  <a:pt x="222409" y="276987"/>
                </a:lnTo>
                <a:lnTo>
                  <a:pt x="215075" y="268129"/>
                </a:lnTo>
                <a:lnTo>
                  <a:pt x="209550" y="261366"/>
                </a:lnTo>
                <a:lnTo>
                  <a:pt x="210217" y="251841"/>
                </a:lnTo>
                <a:lnTo>
                  <a:pt x="208217" y="245745"/>
                </a:lnTo>
                <a:lnTo>
                  <a:pt x="216218" y="230124"/>
                </a:lnTo>
                <a:lnTo>
                  <a:pt x="215551" y="226028"/>
                </a:lnTo>
                <a:lnTo>
                  <a:pt x="218218" y="223361"/>
                </a:lnTo>
                <a:lnTo>
                  <a:pt x="218885" y="219266"/>
                </a:lnTo>
                <a:lnTo>
                  <a:pt x="226219" y="218599"/>
                </a:lnTo>
                <a:lnTo>
                  <a:pt x="234220" y="214598"/>
                </a:lnTo>
                <a:lnTo>
                  <a:pt x="241554" y="215932"/>
                </a:lnTo>
                <a:lnTo>
                  <a:pt x="246221" y="221361"/>
                </a:lnTo>
                <a:lnTo>
                  <a:pt x="254222" y="223361"/>
                </a:lnTo>
                <a:lnTo>
                  <a:pt x="258223" y="218599"/>
                </a:lnTo>
                <a:lnTo>
                  <a:pt x="277273" y="214598"/>
                </a:lnTo>
                <a:lnTo>
                  <a:pt x="276225" y="208598"/>
                </a:lnTo>
                <a:lnTo>
                  <a:pt x="269558" y="208598"/>
                </a:lnTo>
                <a:lnTo>
                  <a:pt x="270891" y="197739"/>
                </a:lnTo>
                <a:lnTo>
                  <a:pt x="281559" y="197739"/>
                </a:lnTo>
                <a:lnTo>
                  <a:pt x="284226" y="197072"/>
                </a:lnTo>
                <a:lnTo>
                  <a:pt x="279559" y="192310"/>
                </a:lnTo>
                <a:lnTo>
                  <a:pt x="278225" y="186214"/>
                </a:lnTo>
                <a:lnTo>
                  <a:pt x="274225" y="192977"/>
                </a:lnTo>
                <a:lnTo>
                  <a:pt x="269558" y="190976"/>
                </a:lnTo>
                <a:lnTo>
                  <a:pt x="264890" y="191643"/>
                </a:lnTo>
                <a:lnTo>
                  <a:pt x="264890" y="200025"/>
                </a:lnTo>
                <a:lnTo>
                  <a:pt x="262890" y="205454"/>
                </a:lnTo>
                <a:lnTo>
                  <a:pt x="261556" y="208883"/>
                </a:lnTo>
                <a:lnTo>
                  <a:pt x="254222" y="206788"/>
                </a:lnTo>
                <a:lnTo>
                  <a:pt x="247650" y="200025"/>
                </a:lnTo>
                <a:lnTo>
                  <a:pt x="249650" y="208883"/>
                </a:lnTo>
                <a:lnTo>
                  <a:pt x="246983" y="210884"/>
                </a:lnTo>
                <a:lnTo>
                  <a:pt x="248317" y="206788"/>
                </a:lnTo>
                <a:lnTo>
                  <a:pt x="236982" y="198692"/>
                </a:lnTo>
                <a:lnTo>
                  <a:pt x="229648" y="203454"/>
                </a:lnTo>
                <a:lnTo>
                  <a:pt x="224981" y="206788"/>
                </a:lnTo>
                <a:lnTo>
                  <a:pt x="222980" y="215646"/>
                </a:lnTo>
                <a:lnTo>
                  <a:pt x="212979" y="214313"/>
                </a:lnTo>
                <a:lnTo>
                  <a:pt x="215646" y="202787"/>
                </a:lnTo>
                <a:lnTo>
                  <a:pt x="223647" y="201454"/>
                </a:lnTo>
                <a:lnTo>
                  <a:pt x="217646" y="191929"/>
                </a:lnTo>
                <a:close/>
                <a:moveTo>
                  <a:pt x="197168" y="182118"/>
                </a:moveTo>
                <a:lnTo>
                  <a:pt x="201835" y="182118"/>
                </a:lnTo>
                <a:lnTo>
                  <a:pt x="205835" y="186214"/>
                </a:lnTo>
                <a:lnTo>
                  <a:pt x="211836" y="201073"/>
                </a:lnTo>
                <a:lnTo>
                  <a:pt x="202311" y="201073"/>
                </a:lnTo>
                <a:lnTo>
                  <a:pt x="202311" y="192977"/>
                </a:lnTo>
                <a:close/>
                <a:moveTo>
                  <a:pt x="193262" y="111062"/>
                </a:moveTo>
                <a:lnTo>
                  <a:pt x="200501" y="112395"/>
                </a:lnTo>
                <a:lnTo>
                  <a:pt x="210026" y="109061"/>
                </a:lnTo>
                <a:lnTo>
                  <a:pt x="216027" y="109061"/>
                </a:lnTo>
                <a:lnTo>
                  <a:pt x="207359" y="116491"/>
                </a:lnTo>
                <a:lnTo>
                  <a:pt x="205359" y="121920"/>
                </a:lnTo>
                <a:lnTo>
                  <a:pt x="208693" y="123920"/>
                </a:lnTo>
                <a:lnTo>
                  <a:pt x="206693" y="127349"/>
                </a:lnTo>
                <a:lnTo>
                  <a:pt x="206693" y="132683"/>
                </a:lnTo>
                <a:lnTo>
                  <a:pt x="208026" y="141542"/>
                </a:lnTo>
                <a:lnTo>
                  <a:pt x="199358" y="138779"/>
                </a:lnTo>
                <a:lnTo>
                  <a:pt x="202025" y="146971"/>
                </a:lnTo>
                <a:lnTo>
                  <a:pt x="195358" y="151638"/>
                </a:lnTo>
                <a:lnTo>
                  <a:pt x="188119" y="157734"/>
                </a:lnTo>
                <a:lnTo>
                  <a:pt x="180975" y="163830"/>
                </a:lnTo>
                <a:lnTo>
                  <a:pt x="178975" y="172688"/>
                </a:lnTo>
                <a:lnTo>
                  <a:pt x="169450" y="167259"/>
                </a:lnTo>
                <a:lnTo>
                  <a:pt x="165449" y="160496"/>
                </a:lnTo>
                <a:lnTo>
                  <a:pt x="167450" y="159163"/>
                </a:lnTo>
                <a:lnTo>
                  <a:pt x="165449" y="157067"/>
                </a:lnTo>
                <a:lnTo>
                  <a:pt x="168783" y="151638"/>
                </a:lnTo>
                <a:lnTo>
                  <a:pt x="166116" y="146304"/>
                </a:lnTo>
                <a:lnTo>
                  <a:pt x="160115" y="147638"/>
                </a:lnTo>
                <a:lnTo>
                  <a:pt x="160115" y="142208"/>
                </a:lnTo>
                <a:lnTo>
                  <a:pt x="149447" y="135446"/>
                </a:lnTo>
                <a:cubicBezTo>
                  <a:pt x="162533" y="124741"/>
                  <a:pt x="177439" y="116481"/>
                  <a:pt x="193453" y="111062"/>
                </a:cubicBezTo>
                <a:moveTo>
                  <a:pt x="121253" y="274225"/>
                </a:moveTo>
                <a:lnTo>
                  <a:pt x="108585" y="270224"/>
                </a:lnTo>
                <a:cubicBezTo>
                  <a:pt x="105312" y="258997"/>
                  <a:pt x="103739" y="247342"/>
                  <a:pt x="103918" y="235649"/>
                </a:cubicBezTo>
                <a:cubicBezTo>
                  <a:pt x="103751" y="220232"/>
                  <a:pt x="106464" y="204920"/>
                  <a:pt x="111919" y="190500"/>
                </a:cubicBezTo>
                <a:lnTo>
                  <a:pt x="114586" y="193167"/>
                </a:lnTo>
                <a:lnTo>
                  <a:pt x="117920" y="191167"/>
                </a:lnTo>
                <a:lnTo>
                  <a:pt x="130588" y="198596"/>
                </a:lnTo>
                <a:lnTo>
                  <a:pt x="135922" y="203359"/>
                </a:lnTo>
                <a:lnTo>
                  <a:pt x="132588" y="195834"/>
                </a:lnTo>
                <a:lnTo>
                  <a:pt x="135922" y="188405"/>
                </a:lnTo>
                <a:lnTo>
                  <a:pt x="130588" y="184404"/>
                </a:lnTo>
                <a:lnTo>
                  <a:pt x="134588" y="176213"/>
                </a:lnTo>
                <a:lnTo>
                  <a:pt x="144113" y="178975"/>
                </a:lnTo>
                <a:lnTo>
                  <a:pt x="143447" y="182309"/>
                </a:lnTo>
                <a:lnTo>
                  <a:pt x="150781" y="178975"/>
                </a:lnTo>
                <a:lnTo>
                  <a:pt x="157448" y="187071"/>
                </a:lnTo>
                <a:lnTo>
                  <a:pt x="164116" y="190500"/>
                </a:lnTo>
                <a:lnTo>
                  <a:pt x="162116" y="202025"/>
                </a:lnTo>
                <a:lnTo>
                  <a:pt x="149447" y="204692"/>
                </a:lnTo>
                <a:lnTo>
                  <a:pt x="157448" y="210788"/>
                </a:lnTo>
                <a:lnTo>
                  <a:pt x="159449" y="217551"/>
                </a:lnTo>
                <a:lnTo>
                  <a:pt x="154781" y="216884"/>
                </a:lnTo>
                <a:lnTo>
                  <a:pt x="150114" y="218218"/>
                </a:lnTo>
                <a:lnTo>
                  <a:pt x="146114" y="221647"/>
                </a:lnTo>
                <a:lnTo>
                  <a:pt x="142780" y="227743"/>
                </a:lnTo>
                <a:lnTo>
                  <a:pt x="143447" y="235172"/>
                </a:lnTo>
                <a:lnTo>
                  <a:pt x="137446" y="244697"/>
                </a:lnTo>
                <a:lnTo>
                  <a:pt x="138779" y="252222"/>
                </a:lnTo>
                <a:lnTo>
                  <a:pt x="137446" y="253556"/>
                </a:lnTo>
                <a:lnTo>
                  <a:pt x="131445" y="250127"/>
                </a:lnTo>
                <a:lnTo>
                  <a:pt x="124778" y="251555"/>
                </a:lnTo>
                <a:lnTo>
                  <a:pt x="122777" y="256223"/>
                </a:lnTo>
                <a:lnTo>
                  <a:pt x="118110" y="267748"/>
                </a:lnTo>
                <a:lnTo>
                  <a:pt x="123444" y="270510"/>
                </a:lnTo>
                <a:lnTo>
                  <a:pt x="126111" y="265081"/>
                </a:lnTo>
                <a:lnTo>
                  <a:pt x="130112" y="264414"/>
                </a:lnTo>
                <a:lnTo>
                  <a:pt x="130112" y="272510"/>
                </a:lnTo>
                <a:lnTo>
                  <a:pt x="134779" y="271844"/>
                </a:lnTo>
                <a:lnTo>
                  <a:pt x="137446" y="276606"/>
                </a:lnTo>
                <a:lnTo>
                  <a:pt x="143447" y="278606"/>
                </a:lnTo>
                <a:lnTo>
                  <a:pt x="150114" y="284036"/>
                </a:lnTo>
                <a:lnTo>
                  <a:pt x="151448" y="279940"/>
                </a:lnTo>
                <a:lnTo>
                  <a:pt x="164783" y="278606"/>
                </a:lnTo>
                <a:lnTo>
                  <a:pt x="181451" y="284036"/>
                </a:lnTo>
                <a:lnTo>
                  <a:pt x="188024" y="296894"/>
                </a:lnTo>
                <a:lnTo>
                  <a:pt x="210026" y="299561"/>
                </a:lnTo>
                <a:lnTo>
                  <a:pt x="212027" y="306324"/>
                </a:lnTo>
                <a:lnTo>
                  <a:pt x="208026" y="332042"/>
                </a:lnTo>
                <a:lnTo>
                  <a:pt x="197168" y="348044"/>
                </a:lnTo>
                <a:lnTo>
                  <a:pt x="193834" y="359569"/>
                </a:lnTo>
                <a:cubicBezTo>
                  <a:pt x="184742" y="356848"/>
                  <a:pt x="176035" y="352975"/>
                  <a:pt x="167926" y="348044"/>
                </a:cubicBezTo>
                <a:lnTo>
                  <a:pt x="167926" y="333375"/>
                </a:lnTo>
                <a:lnTo>
                  <a:pt x="155258" y="326612"/>
                </a:lnTo>
                <a:lnTo>
                  <a:pt x="146590" y="312325"/>
                </a:lnTo>
                <a:lnTo>
                  <a:pt x="146590" y="293275"/>
                </a:lnTo>
                <a:lnTo>
                  <a:pt x="148590" y="287846"/>
                </a:lnTo>
                <a:lnTo>
                  <a:pt x="146590" y="285179"/>
                </a:lnTo>
                <a:lnTo>
                  <a:pt x="137065" y="282416"/>
                </a:lnTo>
                <a:lnTo>
                  <a:pt x="133731" y="279083"/>
                </a:lnTo>
                <a:close/>
                <a:moveTo>
                  <a:pt x="16478" y="197072"/>
                </a:moveTo>
                <a:lnTo>
                  <a:pt x="3334" y="194977"/>
                </a:lnTo>
                <a:lnTo>
                  <a:pt x="5334" y="184880"/>
                </a:lnTo>
                <a:lnTo>
                  <a:pt x="17336" y="187547"/>
                </a:lnTo>
                <a:cubicBezTo>
                  <a:pt x="16669" y="190976"/>
                  <a:pt x="16669" y="193643"/>
                  <a:pt x="16002" y="197072"/>
                </a:cubicBezTo>
                <a:moveTo>
                  <a:pt x="231839" y="12859"/>
                </a:moveTo>
                <a:lnTo>
                  <a:pt x="231172" y="12859"/>
                </a:lnTo>
                <a:lnTo>
                  <a:pt x="231172" y="0"/>
                </a:lnTo>
                <a:lnTo>
                  <a:pt x="241173" y="0"/>
                </a:lnTo>
                <a:lnTo>
                  <a:pt x="240506" y="12859"/>
                </a:lnTo>
                <a:lnTo>
                  <a:pt x="231839" y="12859"/>
                </a:lnTo>
                <a:moveTo>
                  <a:pt x="211836" y="13526"/>
                </a:moveTo>
                <a:lnTo>
                  <a:pt x="211169" y="667"/>
                </a:lnTo>
                <a:cubicBezTo>
                  <a:pt x="214503" y="667"/>
                  <a:pt x="217837" y="0"/>
                  <a:pt x="220694" y="0"/>
                </a:cubicBezTo>
                <a:lnTo>
                  <a:pt x="221361" y="12859"/>
                </a:lnTo>
                <a:cubicBezTo>
                  <a:pt x="218013" y="12749"/>
                  <a:pt x="214663" y="12972"/>
                  <a:pt x="211360" y="13526"/>
                </a:cubicBezTo>
                <a:moveTo>
                  <a:pt x="42005" y="124587"/>
                </a:moveTo>
                <a:lnTo>
                  <a:pt x="30671" y="117824"/>
                </a:lnTo>
                <a:cubicBezTo>
                  <a:pt x="32835" y="115157"/>
                  <a:pt x="34630" y="112209"/>
                  <a:pt x="36005" y="109061"/>
                </a:cubicBezTo>
                <a:lnTo>
                  <a:pt x="46673" y="115824"/>
                </a:lnTo>
                <a:cubicBezTo>
                  <a:pt x="45339" y="118491"/>
                  <a:pt x="43339" y="121253"/>
                  <a:pt x="42005" y="124587"/>
                </a:cubicBezTo>
                <a:moveTo>
                  <a:pt x="193262" y="16288"/>
                </a:moveTo>
                <a:lnTo>
                  <a:pt x="191262" y="3429"/>
                </a:lnTo>
                <a:cubicBezTo>
                  <a:pt x="194501" y="2667"/>
                  <a:pt x="197834" y="2667"/>
                  <a:pt x="200787" y="2000"/>
                </a:cubicBezTo>
                <a:lnTo>
                  <a:pt x="202121" y="14192"/>
                </a:lnTo>
                <a:lnTo>
                  <a:pt x="192596" y="16288"/>
                </a:lnTo>
                <a:moveTo>
                  <a:pt x="173546" y="20288"/>
                </a:moveTo>
                <a:lnTo>
                  <a:pt x="171450" y="8096"/>
                </a:lnTo>
                <a:cubicBezTo>
                  <a:pt x="174784" y="7429"/>
                  <a:pt x="178118" y="6096"/>
                  <a:pt x="181451" y="5429"/>
                </a:cubicBezTo>
                <a:lnTo>
                  <a:pt x="184118" y="17621"/>
                </a:lnTo>
                <a:cubicBezTo>
                  <a:pt x="181012" y="18739"/>
                  <a:pt x="177828" y="19630"/>
                  <a:pt x="174593" y="20288"/>
                </a:cubicBezTo>
                <a:moveTo>
                  <a:pt x="156591" y="26384"/>
                </a:moveTo>
                <a:lnTo>
                  <a:pt x="152400" y="14192"/>
                </a:lnTo>
                <a:cubicBezTo>
                  <a:pt x="155734" y="12859"/>
                  <a:pt x="159068" y="12192"/>
                  <a:pt x="161925" y="10859"/>
                </a:cubicBezTo>
                <a:lnTo>
                  <a:pt x="165926" y="23051"/>
                </a:lnTo>
                <a:cubicBezTo>
                  <a:pt x="162932" y="23868"/>
                  <a:pt x="160028" y="24985"/>
                  <a:pt x="157258" y="26384"/>
                </a:cubicBezTo>
                <a:moveTo>
                  <a:pt x="20003" y="178118"/>
                </a:moveTo>
                <a:lnTo>
                  <a:pt x="8001" y="174689"/>
                </a:lnTo>
                <a:cubicBezTo>
                  <a:pt x="8573" y="171433"/>
                  <a:pt x="9466" y="168243"/>
                  <a:pt x="10668" y="165164"/>
                </a:cubicBezTo>
                <a:lnTo>
                  <a:pt x="22670" y="168497"/>
                </a:lnTo>
                <a:cubicBezTo>
                  <a:pt x="21473" y="171578"/>
                  <a:pt x="20580" y="174768"/>
                  <a:pt x="20003" y="178022"/>
                </a:cubicBezTo>
                <a:moveTo>
                  <a:pt x="76200" y="77915"/>
                </a:moveTo>
                <a:lnTo>
                  <a:pt x="67628" y="69056"/>
                </a:lnTo>
                <a:cubicBezTo>
                  <a:pt x="69859" y="66615"/>
                  <a:pt x="72279" y="64354"/>
                  <a:pt x="74867" y="62294"/>
                </a:cubicBezTo>
                <a:lnTo>
                  <a:pt x="82868" y="71057"/>
                </a:lnTo>
                <a:cubicBezTo>
                  <a:pt x="80815" y="73502"/>
                  <a:pt x="78586" y="75794"/>
                  <a:pt x="76200" y="77915"/>
                </a:cubicBezTo>
                <a:moveTo>
                  <a:pt x="90583" y="65056"/>
                </a:moveTo>
                <a:lnTo>
                  <a:pt x="82582" y="55531"/>
                </a:lnTo>
                <a:cubicBezTo>
                  <a:pt x="85056" y="53058"/>
                  <a:pt x="87732" y="50796"/>
                  <a:pt x="90583" y="48768"/>
                </a:cubicBezTo>
                <a:lnTo>
                  <a:pt x="97917" y="58960"/>
                </a:lnTo>
                <a:cubicBezTo>
                  <a:pt x="95250" y="60960"/>
                  <a:pt x="93250" y="62960"/>
                  <a:pt x="90583" y="65056"/>
                </a:cubicBezTo>
                <a:moveTo>
                  <a:pt x="63246" y="92774"/>
                </a:moveTo>
                <a:lnTo>
                  <a:pt x="53721" y="84677"/>
                </a:lnTo>
                <a:cubicBezTo>
                  <a:pt x="55721" y="81915"/>
                  <a:pt x="58388" y="79248"/>
                  <a:pt x="60389" y="76486"/>
                </a:cubicBezTo>
                <a:lnTo>
                  <a:pt x="69914" y="85344"/>
                </a:lnTo>
                <a:cubicBezTo>
                  <a:pt x="68009" y="87344"/>
                  <a:pt x="66008" y="90011"/>
                  <a:pt x="63246" y="92774"/>
                </a:cubicBezTo>
                <a:moveTo>
                  <a:pt x="52007" y="107633"/>
                </a:moveTo>
                <a:lnTo>
                  <a:pt x="42482" y="100870"/>
                </a:lnTo>
                <a:cubicBezTo>
                  <a:pt x="44046" y="97863"/>
                  <a:pt x="45763" y="94938"/>
                  <a:pt x="47625" y="92107"/>
                </a:cubicBezTo>
                <a:lnTo>
                  <a:pt x="57150" y="100203"/>
                </a:lnTo>
                <a:cubicBezTo>
                  <a:pt x="55245" y="102965"/>
                  <a:pt x="53245" y="104966"/>
                  <a:pt x="51245" y="107633"/>
                </a:cubicBezTo>
                <a:moveTo>
                  <a:pt x="24575" y="159830"/>
                </a:moveTo>
                <a:lnTo>
                  <a:pt x="13240" y="155067"/>
                </a:lnTo>
                <a:cubicBezTo>
                  <a:pt x="14573" y="152400"/>
                  <a:pt x="15240" y="148971"/>
                  <a:pt x="16574" y="145542"/>
                </a:cubicBezTo>
                <a:lnTo>
                  <a:pt x="28575" y="150305"/>
                </a:lnTo>
                <a:cubicBezTo>
                  <a:pt x="27241" y="153734"/>
                  <a:pt x="25908" y="156401"/>
                  <a:pt x="24575" y="159830"/>
                </a:cubicBezTo>
                <a:moveTo>
                  <a:pt x="138589" y="33814"/>
                </a:moveTo>
                <a:lnTo>
                  <a:pt x="133350" y="22384"/>
                </a:lnTo>
                <a:cubicBezTo>
                  <a:pt x="136684" y="20955"/>
                  <a:pt x="139351" y="19622"/>
                  <a:pt x="142875" y="18288"/>
                </a:cubicBezTo>
                <a:lnTo>
                  <a:pt x="147542" y="29813"/>
                </a:lnTo>
                <a:cubicBezTo>
                  <a:pt x="144875" y="31147"/>
                  <a:pt x="141542" y="32480"/>
                  <a:pt x="138875" y="33814"/>
                </a:cubicBezTo>
                <a:moveTo>
                  <a:pt x="32671" y="141542"/>
                </a:moveTo>
                <a:lnTo>
                  <a:pt x="21336" y="136112"/>
                </a:lnTo>
                <a:cubicBezTo>
                  <a:pt x="23129" y="133324"/>
                  <a:pt x="24690" y="130393"/>
                  <a:pt x="26003" y="127349"/>
                </a:cubicBezTo>
                <a:lnTo>
                  <a:pt x="37338" y="132683"/>
                </a:lnTo>
                <a:cubicBezTo>
                  <a:pt x="36005" y="135446"/>
                  <a:pt x="34004" y="138779"/>
                  <a:pt x="32671" y="141542"/>
                </a:cubicBezTo>
                <a:moveTo>
                  <a:pt x="121920" y="42672"/>
                </a:moveTo>
                <a:lnTo>
                  <a:pt x="115253" y="31814"/>
                </a:lnTo>
                <a:cubicBezTo>
                  <a:pt x="118586" y="29813"/>
                  <a:pt x="121253" y="28480"/>
                  <a:pt x="124778" y="26384"/>
                </a:cubicBezTo>
                <a:lnTo>
                  <a:pt x="129921" y="38100"/>
                </a:lnTo>
                <a:cubicBezTo>
                  <a:pt x="127254" y="39434"/>
                  <a:pt x="124587" y="41529"/>
                  <a:pt x="121920" y="42863"/>
                </a:cubicBezTo>
                <a:moveTo>
                  <a:pt x="105918" y="52769"/>
                </a:moveTo>
                <a:lnTo>
                  <a:pt x="98584" y="42672"/>
                </a:lnTo>
                <a:cubicBezTo>
                  <a:pt x="101067" y="40606"/>
                  <a:pt x="103747" y="38787"/>
                  <a:pt x="106585" y="37243"/>
                </a:cubicBezTo>
                <a:lnTo>
                  <a:pt x="114300" y="47625"/>
                </a:lnTo>
                <a:cubicBezTo>
                  <a:pt x="111792" y="49631"/>
                  <a:pt x="109115" y="51415"/>
                  <a:pt x="106299" y="52959"/>
                </a:cubicBezTo>
                <a:moveTo>
                  <a:pt x="421481" y="123444"/>
                </a:moveTo>
                <a:lnTo>
                  <a:pt x="432816" y="117348"/>
                </a:lnTo>
                <a:cubicBezTo>
                  <a:pt x="434150" y="120015"/>
                  <a:pt x="436150" y="122777"/>
                  <a:pt x="437483" y="126111"/>
                </a:cubicBezTo>
                <a:lnTo>
                  <a:pt x="426149" y="132207"/>
                </a:lnTo>
                <a:cubicBezTo>
                  <a:pt x="424998" y="129087"/>
                  <a:pt x="423428" y="126139"/>
                  <a:pt x="421481" y="123444"/>
                </a:cubicBezTo>
                <a:moveTo>
                  <a:pt x="438150" y="158401"/>
                </a:moveTo>
                <a:lnTo>
                  <a:pt x="449485" y="153734"/>
                </a:lnTo>
                <a:cubicBezTo>
                  <a:pt x="450852" y="157009"/>
                  <a:pt x="451967" y="160384"/>
                  <a:pt x="452818" y="163830"/>
                </a:cubicBezTo>
                <a:lnTo>
                  <a:pt x="441484" y="167259"/>
                </a:lnTo>
                <a:cubicBezTo>
                  <a:pt x="440150" y="164497"/>
                  <a:pt x="439484" y="161163"/>
                  <a:pt x="438150" y="158401"/>
                </a:cubicBezTo>
                <a:moveTo>
                  <a:pt x="430816" y="140208"/>
                </a:moveTo>
                <a:lnTo>
                  <a:pt x="442150" y="134779"/>
                </a:lnTo>
                <a:cubicBezTo>
                  <a:pt x="443484" y="138113"/>
                  <a:pt x="444818" y="141542"/>
                  <a:pt x="446151" y="144304"/>
                </a:cubicBezTo>
                <a:lnTo>
                  <a:pt x="434816" y="149733"/>
                </a:lnTo>
                <a:cubicBezTo>
                  <a:pt x="433483" y="146399"/>
                  <a:pt x="432149" y="143637"/>
                  <a:pt x="430816" y="140208"/>
                </a:cubicBezTo>
                <a:moveTo>
                  <a:pt x="259842" y="14192"/>
                </a:moveTo>
                <a:cubicBezTo>
                  <a:pt x="256508" y="14192"/>
                  <a:pt x="253175" y="13526"/>
                  <a:pt x="250317" y="13526"/>
                </a:cubicBezTo>
                <a:lnTo>
                  <a:pt x="251174" y="667"/>
                </a:lnTo>
                <a:cubicBezTo>
                  <a:pt x="254544" y="782"/>
                  <a:pt x="257894" y="1229"/>
                  <a:pt x="261176" y="2000"/>
                </a:cubicBezTo>
                <a:close/>
                <a:moveTo>
                  <a:pt x="13335" y="216694"/>
                </a:moveTo>
                <a:lnTo>
                  <a:pt x="667" y="215360"/>
                </a:lnTo>
                <a:cubicBezTo>
                  <a:pt x="1334" y="211931"/>
                  <a:pt x="1334" y="208598"/>
                  <a:pt x="2000" y="205169"/>
                </a:cubicBezTo>
                <a:lnTo>
                  <a:pt x="14669" y="206502"/>
                </a:lnTo>
                <a:cubicBezTo>
                  <a:pt x="13898" y="209849"/>
                  <a:pt x="13451" y="213262"/>
                  <a:pt x="13335" y="216694"/>
                </a:cubicBezTo>
                <a:moveTo>
                  <a:pt x="399098" y="91440"/>
                </a:moveTo>
                <a:lnTo>
                  <a:pt x="409575" y="83249"/>
                </a:lnTo>
                <a:lnTo>
                  <a:pt x="415576" y="91440"/>
                </a:lnTo>
                <a:lnTo>
                  <a:pt x="406051" y="98870"/>
                </a:lnTo>
                <a:cubicBezTo>
                  <a:pt x="404299" y="96202"/>
                  <a:pt x="402289" y="93714"/>
                  <a:pt x="400050" y="91440"/>
                </a:cubicBezTo>
                <a:moveTo>
                  <a:pt x="444722" y="177165"/>
                </a:moveTo>
                <a:lnTo>
                  <a:pt x="456724" y="173831"/>
                </a:lnTo>
                <a:cubicBezTo>
                  <a:pt x="457295" y="177165"/>
                  <a:pt x="457962" y="180594"/>
                  <a:pt x="458724" y="184023"/>
                </a:cubicBezTo>
                <a:lnTo>
                  <a:pt x="446723" y="186690"/>
                </a:lnTo>
                <a:cubicBezTo>
                  <a:pt x="446056" y="183261"/>
                  <a:pt x="445389" y="180594"/>
                  <a:pt x="444722" y="177165"/>
                </a:cubicBezTo>
                <a:moveTo>
                  <a:pt x="448628" y="196215"/>
                </a:moveTo>
                <a:lnTo>
                  <a:pt x="460724" y="194215"/>
                </a:lnTo>
                <a:cubicBezTo>
                  <a:pt x="461296" y="197644"/>
                  <a:pt x="462058" y="200978"/>
                  <a:pt x="462629" y="204406"/>
                </a:cubicBezTo>
                <a:lnTo>
                  <a:pt x="450056" y="205740"/>
                </a:lnTo>
                <a:cubicBezTo>
                  <a:pt x="449390" y="203073"/>
                  <a:pt x="449390" y="199644"/>
                  <a:pt x="448628" y="196215"/>
                </a:cubicBezTo>
                <a:moveTo>
                  <a:pt x="412051" y="107537"/>
                </a:moveTo>
                <a:lnTo>
                  <a:pt x="422053" y="100108"/>
                </a:lnTo>
                <a:cubicBezTo>
                  <a:pt x="424053" y="102870"/>
                  <a:pt x="426053" y="105537"/>
                  <a:pt x="428054" y="108871"/>
                </a:cubicBezTo>
                <a:lnTo>
                  <a:pt x="417386" y="115729"/>
                </a:lnTo>
                <a:cubicBezTo>
                  <a:pt x="415385" y="112967"/>
                  <a:pt x="414052" y="110300"/>
                  <a:pt x="412051" y="107537"/>
                </a:cubicBezTo>
                <a:moveTo>
                  <a:pt x="315182" y="29147"/>
                </a:moveTo>
                <a:cubicBezTo>
                  <a:pt x="312515" y="27718"/>
                  <a:pt x="309182" y="27051"/>
                  <a:pt x="306515" y="25718"/>
                </a:cubicBezTo>
                <a:lnTo>
                  <a:pt x="310515" y="13526"/>
                </a:lnTo>
                <a:cubicBezTo>
                  <a:pt x="313849" y="14859"/>
                  <a:pt x="316516" y="16288"/>
                  <a:pt x="320040" y="17621"/>
                </a:cubicBezTo>
                <a:close/>
                <a:moveTo>
                  <a:pt x="297180" y="22384"/>
                </a:moveTo>
                <a:cubicBezTo>
                  <a:pt x="293932" y="21738"/>
                  <a:pt x="290745" y="20814"/>
                  <a:pt x="287655" y="19622"/>
                </a:cubicBezTo>
                <a:lnTo>
                  <a:pt x="291179" y="7429"/>
                </a:lnTo>
                <a:cubicBezTo>
                  <a:pt x="294434" y="8614"/>
                  <a:pt x="297779" y="9538"/>
                  <a:pt x="301181" y="10192"/>
                </a:cubicBezTo>
                <a:close/>
                <a:moveTo>
                  <a:pt x="332423" y="37243"/>
                </a:moveTo>
                <a:cubicBezTo>
                  <a:pt x="329756" y="35909"/>
                  <a:pt x="327184" y="34576"/>
                  <a:pt x="323850" y="33147"/>
                </a:cubicBezTo>
                <a:lnTo>
                  <a:pt x="329184" y="21622"/>
                </a:lnTo>
                <a:cubicBezTo>
                  <a:pt x="332464" y="22989"/>
                  <a:pt x="335647" y="24581"/>
                  <a:pt x="338709" y="26384"/>
                </a:cubicBezTo>
                <a:close/>
                <a:moveTo>
                  <a:pt x="386429" y="77153"/>
                </a:moveTo>
                <a:lnTo>
                  <a:pt x="395097" y="68390"/>
                </a:lnTo>
                <a:lnTo>
                  <a:pt x="402431" y="75819"/>
                </a:lnTo>
                <a:lnTo>
                  <a:pt x="392906" y="84677"/>
                </a:lnTo>
                <a:cubicBezTo>
                  <a:pt x="390906" y="81915"/>
                  <a:pt x="388239" y="79915"/>
                  <a:pt x="386239" y="77153"/>
                </a:cubicBezTo>
                <a:moveTo>
                  <a:pt x="278511" y="17621"/>
                </a:moveTo>
                <a:lnTo>
                  <a:pt x="268986" y="15526"/>
                </a:lnTo>
                <a:lnTo>
                  <a:pt x="271177" y="3429"/>
                </a:lnTo>
                <a:lnTo>
                  <a:pt x="281178" y="5429"/>
                </a:lnTo>
                <a:close/>
                <a:moveTo>
                  <a:pt x="372428" y="64294"/>
                </a:moveTo>
                <a:lnTo>
                  <a:pt x="380429" y="54769"/>
                </a:lnTo>
                <a:cubicBezTo>
                  <a:pt x="383096" y="56769"/>
                  <a:pt x="385096" y="58865"/>
                  <a:pt x="387763" y="60865"/>
                </a:cubicBezTo>
                <a:lnTo>
                  <a:pt x="379762" y="70390"/>
                </a:lnTo>
                <a:cubicBezTo>
                  <a:pt x="377161" y="68553"/>
                  <a:pt x="374709" y="66515"/>
                  <a:pt x="372428" y="64294"/>
                </a:cubicBezTo>
                <a:moveTo>
                  <a:pt x="349091" y="46673"/>
                </a:moveTo>
                <a:cubicBezTo>
                  <a:pt x="346424" y="45339"/>
                  <a:pt x="343757" y="43339"/>
                  <a:pt x="341090" y="42005"/>
                </a:cubicBezTo>
                <a:lnTo>
                  <a:pt x="347091" y="31147"/>
                </a:lnTo>
                <a:cubicBezTo>
                  <a:pt x="350125" y="32714"/>
                  <a:pt x="353024" y="34530"/>
                  <a:pt x="355759" y="36576"/>
                </a:cubicBezTo>
                <a:close/>
                <a:moveTo>
                  <a:pt x="365093" y="58198"/>
                </a:moveTo>
                <a:lnTo>
                  <a:pt x="357092" y="52102"/>
                </a:lnTo>
                <a:lnTo>
                  <a:pt x="364426" y="42005"/>
                </a:lnTo>
                <a:lnTo>
                  <a:pt x="372428" y="48101"/>
                </a:lnTo>
                <a:close/>
                <a:moveTo>
                  <a:pt x="450818" y="215360"/>
                </a:moveTo>
                <a:lnTo>
                  <a:pt x="462725" y="213931"/>
                </a:lnTo>
                <a:cubicBezTo>
                  <a:pt x="463275" y="217299"/>
                  <a:pt x="463499" y="220712"/>
                  <a:pt x="463391" y="224123"/>
                </a:cubicBezTo>
                <a:lnTo>
                  <a:pt x="451485" y="224790"/>
                </a:lnTo>
                <a:cubicBezTo>
                  <a:pt x="450948" y="221645"/>
                  <a:pt x="450725" y="218454"/>
                  <a:pt x="450818" y="215265"/>
                </a:cubicBezTo>
                <a:moveTo>
                  <a:pt x="324422" y="437388"/>
                </a:moveTo>
                <a:lnTo>
                  <a:pt x="329756" y="448913"/>
                </a:lnTo>
                <a:cubicBezTo>
                  <a:pt x="326666" y="450469"/>
                  <a:pt x="323485" y="451837"/>
                  <a:pt x="320231" y="453009"/>
                </a:cubicBezTo>
                <a:lnTo>
                  <a:pt x="315563" y="441484"/>
                </a:lnTo>
                <a:cubicBezTo>
                  <a:pt x="318507" y="440307"/>
                  <a:pt x="321371" y="438939"/>
                  <a:pt x="324136" y="437388"/>
                </a:cubicBezTo>
                <a:moveTo>
                  <a:pt x="306896" y="444913"/>
                </a:moveTo>
                <a:lnTo>
                  <a:pt x="310896" y="456438"/>
                </a:lnTo>
                <a:cubicBezTo>
                  <a:pt x="307836" y="457854"/>
                  <a:pt x="304646" y="458970"/>
                  <a:pt x="301371" y="459772"/>
                </a:cubicBezTo>
                <a:lnTo>
                  <a:pt x="297847" y="447675"/>
                </a:lnTo>
                <a:cubicBezTo>
                  <a:pt x="301181" y="447008"/>
                  <a:pt x="303848" y="445675"/>
                  <a:pt x="307372" y="445008"/>
                </a:cubicBezTo>
                <a:moveTo>
                  <a:pt x="341757" y="428625"/>
                </a:moveTo>
                <a:lnTo>
                  <a:pt x="347758" y="439484"/>
                </a:lnTo>
                <a:cubicBezTo>
                  <a:pt x="345091" y="440817"/>
                  <a:pt x="341757" y="442817"/>
                  <a:pt x="339090" y="444246"/>
                </a:cubicBezTo>
                <a:lnTo>
                  <a:pt x="333375" y="432721"/>
                </a:lnTo>
                <a:cubicBezTo>
                  <a:pt x="336042" y="431292"/>
                  <a:pt x="339376" y="429959"/>
                  <a:pt x="342043" y="428625"/>
                </a:cubicBezTo>
                <a:moveTo>
                  <a:pt x="373380" y="406241"/>
                </a:moveTo>
                <a:lnTo>
                  <a:pt x="381381" y="415766"/>
                </a:lnTo>
                <a:cubicBezTo>
                  <a:pt x="378553" y="417823"/>
                  <a:pt x="375879" y="420083"/>
                  <a:pt x="373380" y="422529"/>
                </a:cubicBezTo>
                <a:lnTo>
                  <a:pt x="365379" y="412337"/>
                </a:lnTo>
                <a:lnTo>
                  <a:pt x="373380" y="406241"/>
                </a:lnTo>
                <a:moveTo>
                  <a:pt x="358045" y="417767"/>
                </a:moveTo>
                <a:lnTo>
                  <a:pt x="365379" y="427958"/>
                </a:lnTo>
                <a:cubicBezTo>
                  <a:pt x="362381" y="429832"/>
                  <a:pt x="359488" y="431867"/>
                  <a:pt x="356711" y="434054"/>
                </a:cubicBezTo>
                <a:lnTo>
                  <a:pt x="350044" y="423196"/>
                </a:lnTo>
                <a:cubicBezTo>
                  <a:pt x="352881" y="421651"/>
                  <a:pt x="355561" y="419833"/>
                  <a:pt x="358045" y="417767"/>
                </a:cubicBezTo>
                <a:moveTo>
                  <a:pt x="387382" y="392716"/>
                </a:moveTo>
                <a:lnTo>
                  <a:pt x="396050" y="402241"/>
                </a:lnTo>
                <a:cubicBezTo>
                  <a:pt x="393383" y="404241"/>
                  <a:pt x="391382" y="407003"/>
                  <a:pt x="388715" y="409004"/>
                </a:cubicBezTo>
                <a:lnTo>
                  <a:pt x="380048" y="399479"/>
                </a:lnTo>
                <a:cubicBezTo>
                  <a:pt x="382678" y="397434"/>
                  <a:pt x="385132" y="395172"/>
                  <a:pt x="387382" y="392716"/>
                </a:cubicBezTo>
                <a:moveTo>
                  <a:pt x="288512" y="450342"/>
                </a:moveTo>
                <a:lnTo>
                  <a:pt x="291846" y="463201"/>
                </a:lnTo>
                <a:lnTo>
                  <a:pt x="282321" y="465201"/>
                </a:lnTo>
                <a:lnTo>
                  <a:pt x="279654" y="453009"/>
                </a:lnTo>
                <a:cubicBezTo>
                  <a:pt x="282629" y="452427"/>
                  <a:pt x="285534" y="451533"/>
                  <a:pt x="288322" y="450342"/>
                </a:cubicBezTo>
                <a:moveTo>
                  <a:pt x="251174" y="457200"/>
                </a:moveTo>
                <a:lnTo>
                  <a:pt x="252508" y="470059"/>
                </a:lnTo>
                <a:cubicBezTo>
                  <a:pt x="249174" y="470059"/>
                  <a:pt x="245840" y="470725"/>
                  <a:pt x="242506" y="470725"/>
                </a:cubicBezTo>
                <a:lnTo>
                  <a:pt x="241840" y="457867"/>
                </a:lnTo>
                <a:cubicBezTo>
                  <a:pt x="245029" y="457964"/>
                  <a:pt x="248220" y="457741"/>
                  <a:pt x="251365" y="457200"/>
                </a:cubicBezTo>
                <a:moveTo>
                  <a:pt x="232315" y="458534"/>
                </a:moveTo>
                <a:lnTo>
                  <a:pt x="232315" y="470725"/>
                </a:lnTo>
                <a:lnTo>
                  <a:pt x="221837" y="470725"/>
                </a:lnTo>
                <a:lnTo>
                  <a:pt x="222504" y="457867"/>
                </a:lnTo>
                <a:cubicBezTo>
                  <a:pt x="225645" y="458434"/>
                  <a:pt x="228839" y="458657"/>
                  <a:pt x="232029" y="458534"/>
                </a:cubicBezTo>
                <a:moveTo>
                  <a:pt x="270129" y="455105"/>
                </a:moveTo>
                <a:lnTo>
                  <a:pt x="272796" y="467297"/>
                </a:lnTo>
                <a:cubicBezTo>
                  <a:pt x="269517" y="468099"/>
                  <a:pt x="266167" y="468577"/>
                  <a:pt x="262795" y="468725"/>
                </a:cubicBezTo>
                <a:lnTo>
                  <a:pt x="260794" y="456533"/>
                </a:lnTo>
                <a:cubicBezTo>
                  <a:pt x="263920" y="455770"/>
                  <a:pt x="267108" y="455292"/>
                  <a:pt x="270320" y="455105"/>
                </a:cubicBezTo>
                <a:moveTo>
                  <a:pt x="412242" y="363093"/>
                </a:moveTo>
                <a:lnTo>
                  <a:pt x="422243" y="370523"/>
                </a:lnTo>
                <a:lnTo>
                  <a:pt x="416243" y="378619"/>
                </a:lnTo>
                <a:lnTo>
                  <a:pt x="406718" y="371189"/>
                </a:lnTo>
                <a:lnTo>
                  <a:pt x="412718" y="363093"/>
                </a:lnTo>
                <a:moveTo>
                  <a:pt x="451390" y="254699"/>
                </a:moveTo>
                <a:lnTo>
                  <a:pt x="463296" y="256032"/>
                </a:lnTo>
                <a:cubicBezTo>
                  <a:pt x="463296" y="259461"/>
                  <a:pt x="462629" y="262795"/>
                  <a:pt x="462629" y="266224"/>
                </a:cubicBezTo>
                <a:lnTo>
                  <a:pt x="450056" y="264890"/>
                </a:lnTo>
                <a:cubicBezTo>
                  <a:pt x="450723" y="261461"/>
                  <a:pt x="450723" y="258128"/>
                  <a:pt x="451390" y="254699"/>
                </a:cubicBezTo>
                <a:moveTo>
                  <a:pt x="447675" y="274225"/>
                </a:moveTo>
                <a:lnTo>
                  <a:pt x="460343" y="276320"/>
                </a:lnTo>
                <a:cubicBezTo>
                  <a:pt x="459772" y="279654"/>
                  <a:pt x="459010" y="283083"/>
                  <a:pt x="458343" y="286417"/>
                </a:cubicBezTo>
                <a:lnTo>
                  <a:pt x="445770" y="283750"/>
                </a:lnTo>
                <a:cubicBezTo>
                  <a:pt x="446437" y="280321"/>
                  <a:pt x="447104" y="276987"/>
                  <a:pt x="447675" y="274225"/>
                </a:cubicBezTo>
                <a:moveTo>
                  <a:pt x="443770" y="293275"/>
                </a:moveTo>
                <a:lnTo>
                  <a:pt x="455771" y="296704"/>
                </a:lnTo>
                <a:cubicBezTo>
                  <a:pt x="455009" y="299371"/>
                  <a:pt x="453771" y="302800"/>
                  <a:pt x="453104" y="306229"/>
                </a:cubicBezTo>
                <a:lnTo>
                  <a:pt x="441103" y="302895"/>
                </a:lnTo>
                <a:cubicBezTo>
                  <a:pt x="441770" y="299466"/>
                  <a:pt x="443103" y="296132"/>
                  <a:pt x="443770" y="293370"/>
                </a:cubicBezTo>
                <a:moveTo>
                  <a:pt x="399764" y="379095"/>
                </a:moveTo>
                <a:lnTo>
                  <a:pt x="409289" y="387191"/>
                </a:lnTo>
                <a:cubicBezTo>
                  <a:pt x="407271" y="390082"/>
                  <a:pt x="405042" y="392819"/>
                  <a:pt x="402622" y="395383"/>
                </a:cubicBezTo>
                <a:lnTo>
                  <a:pt x="393954" y="386525"/>
                </a:lnTo>
                <a:cubicBezTo>
                  <a:pt x="395954" y="383858"/>
                  <a:pt x="397955" y="381762"/>
                  <a:pt x="399955" y="379095"/>
                </a:cubicBezTo>
                <a:moveTo>
                  <a:pt x="463868" y="236220"/>
                </a:moveTo>
                <a:cubicBezTo>
                  <a:pt x="463978" y="239631"/>
                  <a:pt x="463754" y="243044"/>
                  <a:pt x="463201" y="246412"/>
                </a:cubicBezTo>
                <a:lnTo>
                  <a:pt x="451295" y="245650"/>
                </a:lnTo>
                <a:lnTo>
                  <a:pt x="451295" y="234315"/>
                </a:lnTo>
                <a:lnTo>
                  <a:pt x="463868" y="234315"/>
                </a:lnTo>
                <a:close/>
                <a:moveTo>
                  <a:pt x="421767" y="346710"/>
                </a:moveTo>
                <a:lnTo>
                  <a:pt x="432435" y="353473"/>
                </a:lnTo>
                <a:cubicBezTo>
                  <a:pt x="430893" y="356320"/>
                  <a:pt x="429109" y="359029"/>
                  <a:pt x="427101" y="361569"/>
                </a:cubicBezTo>
                <a:lnTo>
                  <a:pt x="417100" y="354806"/>
                </a:lnTo>
                <a:cubicBezTo>
                  <a:pt x="418433" y="352139"/>
                  <a:pt x="420434" y="349377"/>
                  <a:pt x="421767" y="346710"/>
                </a:cubicBezTo>
                <a:moveTo>
                  <a:pt x="202692" y="456438"/>
                </a:moveTo>
                <a:cubicBezTo>
                  <a:pt x="205995" y="456991"/>
                  <a:pt x="209346" y="457215"/>
                  <a:pt x="212693" y="457105"/>
                </a:cubicBezTo>
                <a:lnTo>
                  <a:pt x="211360" y="469964"/>
                </a:lnTo>
                <a:cubicBezTo>
                  <a:pt x="208150" y="469817"/>
                  <a:pt x="204961" y="469371"/>
                  <a:pt x="201835" y="468630"/>
                </a:cubicBezTo>
                <a:close/>
                <a:moveTo>
                  <a:pt x="429959" y="329756"/>
                </a:moveTo>
                <a:lnTo>
                  <a:pt x="441293" y="335185"/>
                </a:lnTo>
                <a:cubicBezTo>
                  <a:pt x="439960" y="337947"/>
                  <a:pt x="438626" y="341281"/>
                  <a:pt x="437293" y="344043"/>
                </a:cubicBezTo>
                <a:lnTo>
                  <a:pt x="425958" y="338614"/>
                </a:lnTo>
                <a:cubicBezTo>
                  <a:pt x="427292" y="335185"/>
                  <a:pt x="428625" y="332518"/>
                  <a:pt x="429959" y="329756"/>
                </a:cubicBezTo>
                <a:moveTo>
                  <a:pt x="438150" y="311468"/>
                </a:moveTo>
                <a:lnTo>
                  <a:pt x="450151" y="316230"/>
                </a:lnTo>
                <a:cubicBezTo>
                  <a:pt x="448818" y="318897"/>
                  <a:pt x="447485" y="322326"/>
                  <a:pt x="446151" y="325755"/>
                </a:cubicBezTo>
                <a:lnTo>
                  <a:pt x="434816" y="320993"/>
                </a:lnTo>
                <a:cubicBezTo>
                  <a:pt x="436222" y="317929"/>
                  <a:pt x="437339" y="314740"/>
                  <a:pt x="438150" y="311468"/>
                </a:cubicBezTo>
                <a:moveTo>
                  <a:pt x="77248" y="392716"/>
                </a:moveTo>
                <a:lnTo>
                  <a:pt x="67723" y="402241"/>
                </a:lnTo>
                <a:cubicBezTo>
                  <a:pt x="65723" y="399479"/>
                  <a:pt x="62960" y="397478"/>
                  <a:pt x="60960" y="394811"/>
                </a:cubicBezTo>
                <a:lnTo>
                  <a:pt x="70485" y="385953"/>
                </a:lnTo>
                <a:cubicBezTo>
                  <a:pt x="72334" y="388547"/>
                  <a:pt x="74585" y="390830"/>
                  <a:pt x="77153" y="392716"/>
                </a:cubicBezTo>
                <a:moveTo>
                  <a:pt x="64008" y="378524"/>
                </a:moveTo>
                <a:lnTo>
                  <a:pt x="54483" y="386620"/>
                </a:lnTo>
                <a:cubicBezTo>
                  <a:pt x="52074" y="384317"/>
                  <a:pt x="49845" y="381833"/>
                  <a:pt x="47816" y="379190"/>
                </a:cubicBezTo>
                <a:lnTo>
                  <a:pt x="57341" y="371094"/>
                </a:lnTo>
                <a:cubicBezTo>
                  <a:pt x="59207" y="373702"/>
                  <a:pt x="61243" y="376184"/>
                  <a:pt x="63437" y="378523"/>
                </a:cubicBezTo>
                <a:moveTo>
                  <a:pt x="19431" y="292799"/>
                </a:moveTo>
                <a:lnTo>
                  <a:pt x="7429" y="296228"/>
                </a:lnTo>
                <a:cubicBezTo>
                  <a:pt x="6763" y="292799"/>
                  <a:pt x="6096" y="289465"/>
                  <a:pt x="5429" y="286703"/>
                </a:cubicBezTo>
                <a:lnTo>
                  <a:pt x="17431" y="283369"/>
                </a:lnTo>
                <a:cubicBezTo>
                  <a:pt x="18098" y="286703"/>
                  <a:pt x="18764" y="290132"/>
                  <a:pt x="19431" y="292894"/>
                </a:cubicBezTo>
                <a:moveTo>
                  <a:pt x="12764" y="254794"/>
                </a:moveTo>
                <a:lnTo>
                  <a:pt x="762" y="256127"/>
                </a:lnTo>
                <a:cubicBezTo>
                  <a:pt x="187" y="252570"/>
                  <a:pt x="-36" y="248965"/>
                  <a:pt x="95" y="245364"/>
                </a:cubicBezTo>
                <a:lnTo>
                  <a:pt x="12668" y="245364"/>
                </a:lnTo>
                <a:cubicBezTo>
                  <a:pt x="12668" y="248031"/>
                  <a:pt x="13335" y="251460"/>
                  <a:pt x="13335" y="254889"/>
                </a:cubicBezTo>
                <a:moveTo>
                  <a:pt x="99060" y="411956"/>
                </a:moveTo>
                <a:cubicBezTo>
                  <a:pt x="101727" y="414052"/>
                  <a:pt x="104394" y="416052"/>
                  <a:pt x="106394" y="417386"/>
                </a:cubicBezTo>
                <a:lnTo>
                  <a:pt x="99251" y="428625"/>
                </a:lnTo>
                <a:lnTo>
                  <a:pt x="91250" y="422529"/>
                </a:lnTo>
                <a:close/>
                <a:moveTo>
                  <a:pt x="52673" y="363665"/>
                </a:moveTo>
                <a:lnTo>
                  <a:pt x="42005" y="370427"/>
                </a:lnTo>
                <a:cubicBezTo>
                  <a:pt x="40005" y="367665"/>
                  <a:pt x="38672" y="364998"/>
                  <a:pt x="36671" y="362236"/>
                </a:cubicBezTo>
                <a:lnTo>
                  <a:pt x="47625" y="355473"/>
                </a:lnTo>
                <a:cubicBezTo>
                  <a:pt x="49166" y="358351"/>
                  <a:pt x="50950" y="361091"/>
                  <a:pt x="52959" y="363665"/>
                </a:cubicBezTo>
                <a:moveTo>
                  <a:pt x="91535" y="406241"/>
                </a:moveTo>
                <a:lnTo>
                  <a:pt x="83534" y="415766"/>
                </a:lnTo>
                <a:cubicBezTo>
                  <a:pt x="80706" y="413710"/>
                  <a:pt x="78032" y="411449"/>
                  <a:pt x="75533" y="409004"/>
                </a:cubicBezTo>
                <a:lnTo>
                  <a:pt x="84201" y="399479"/>
                </a:lnTo>
                <a:cubicBezTo>
                  <a:pt x="86288" y="402092"/>
                  <a:pt x="88762" y="404372"/>
                  <a:pt x="91535" y="406241"/>
                </a:cubicBezTo>
                <a:moveTo>
                  <a:pt x="16002" y="274225"/>
                </a:moveTo>
                <a:lnTo>
                  <a:pt x="4000" y="276987"/>
                </a:lnTo>
                <a:lnTo>
                  <a:pt x="2000" y="266700"/>
                </a:lnTo>
                <a:lnTo>
                  <a:pt x="14669" y="264700"/>
                </a:lnTo>
                <a:cubicBezTo>
                  <a:pt x="14730" y="267917"/>
                  <a:pt x="15178" y="271115"/>
                  <a:pt x="16002" y="274225"/>
                </a:cubicBezTo>
                <a:moveTo>
                  <a:pt x="42005" y="347377"/>
                </a:moveTo>
                <a:lnTo>
                  <a:pt x="31337" y="353473"/>
                </a:lnTo>
                <a:cubicBezTo>
                  <a:pt x="29525" y="350696"/>
                  <a:pt x="27963" y="347763"/>
                  <a:pt x="26670" y="344710"/>
                </a:cubicBezTo>
                <a:lnTo>
                  <a:pt x="37338" y="338614"/>
                </a:lnTo>
                <a:cubicBezTo>
                  <a:pt x="38672" y="341281"/>
                  <a:pt x="40672" y="344043"/>
                  <a:pt x="42005" y="347377"/>
                </a:cubicBezTo>
                <a:moveTo>
                  <a:pt x="26003" y="312134"/>
                </a:moveTo>
                <a:lnTo>
                  <a:pt x="14002" y="316230"/>
                </a:lnTo>
                <a:cubicBezTo>
                  <a:pt x="13190" y="312958"/>
                  <a:pt x="12074" y="309769"/>
                  <a:pt x="10668" y="306705"/>
                </a:cubicBezTo>
                <a:lnTo>
                  <a:pt x="22670" y="302705"/>
                </a:lnTo>
                <a:cubicBezTo>
                  <a:pt x="24003" y="306038"/>
                  <a:pt x="24670" y="308800"/>
                  <a:pt x="26003" y="312230"/>
                </a:cubicBezTo>
                <a:moveTo>
                  <a:pt x="33338" y="329851"/>
                </a:moveTo>
                <a:lnTo>
                  <a:pt x="22003" y="335280"/>
                </a:lnTo>
                <a:cubicBezTo>
                  <a:pt x="20669" y="332613"/>
                  <a:pt x="19336" y="329184"/>
                  <a:pt x="18002" y="325755"/>
                </a:cubicBezTo>
                <a:lnTo>
                  <a:pt x="29337" y="320993"/>
                </a:lnTo>
                <a:cubicBezTo>
                  <a:pt x="30671" y="323660"/>
                  <a:pt x="32004" y="327089"/>
                  <a:pt x="33338" y="329756"/>
                </a:cubicBezTo>
                <a:moveTo>
                  <a:pt x="12668" y="235649"/>
                </a:moveTo>
                <a:lnTo>
                  <a:pt x="0" y="235649"/>
                </a:lnTo>
                <a:lnTo>
                  <a:pt x="0" y="225457"/>
                </a:lnTo>
                <a:lnTo>
                  <a:pt x="12668" y="226124"/>
                </a:lnTo>
                <a:lnTo>
                  <a:pt x="12668" y="235649"/>
                </a:lnTo>
                <a:moveTo>
                  <a:pt x="114300" y="423196"/>
                </a:moveTo>
                <a:cubicBezTo>
                  <a:pt x="116967" y="425291"/>
                  <a:pt x="120301" y="426625"/>
                  <a:pt x="122968" y="428625"/>
                </a:cubicBezTo>
                <a:lnTo>
                  <a:pt x="116300" y="439484"/>
                </a:lnTo>
                <a:cubicBezTo>
                  <a:pt x="113529" y="437491"/>
                  <a:pt x="110634" y="435678"/>
                  <a:pt x="107633" y="434054"/>
                </a:cubicBezTo>
                <a:close/>
                <a:moveTo>
                  <a:pt x="148304" y="441484"/>
                </a:moveTo>
                <a:cubicBezTo>
                  <a:pt x="151638" y="442817"/>
                  <a:pt x="154305" y="443484"/>
                  <a:pt x="157829" y="444913"/>
                </a:cubicBezTo>
                <a:lnTo>
                  <a:pt x="152400" y="457200"/>
                </a:lnTo>
                <a:cubicBezTo>
                  <a:pt x="149733" y="455867"/>
                  <a:pt x="146399" y="454438"/>
                  <a:pt x="142875" y="453104"/>
                </a:cubicBezTo>
                <a:close/>
                <a:moveTo>
                  <a:pt x="184976" y="453009"/>
                </a:moveTo>
                <a:lnTo>
                  <a:pt x="194501" y="455009"/>
                </a:lnTo>
                <a:lnTo>
                  <a:pt x="192500" y="467201"/>
                </a:lnTo>
                <a:lnTo>
                  <a:pt x="182975" y="465201"/>
                </a:lnTo>
                <a:close/>
                <a:moveTo>
                  <a:pt x="130588" y="433388"/>
                </a:moveTo>
                <a:cubicBezTo>
                  <a:pt x="133922" y="434721"/>
                  <a:pt x="136589" y="436055"/>
                  <a:pt x="139256" y="437388"/>
                </a:cubicBezTo>
                <a:lnTo>
                  <a:pt x="133922" y="448913"/>
                </a:lnTo>
                <a:cubicBezTo>
                  <a:pt x="130899" y="447619"/>
                  <a:pt x="127998" y="446057"/>
                  <a:pt x="125254" y="444246"/>
                </a:cubicBezTo>
                <a:close/>
                <a:moveTo>
                  <a:pt x="165926" y="448247"/>
                </a:moveTo>
                <a:cubicBezTo>
                  <a:pt x="169217" y="448703"/>
                  <a:pt x="172425" y="449634"/>
                  <a:pt x="175451" y="451009"/>
                </a:cubicBezTo>
                <a:lnTo>
                  <a:pt x="172117" y="463201"/>
                </a:lnTo>
                <a:cubicBezTo>
                  <a:pt x="168783" y="461772"/>
                  <a:pt x="166116" y="461105"/>
                  <a:pt x="162592" y="459772"/>
                </a:cubicBezTo>
                <a:close/>
                <a:moveTo>
                  <a:pt x="348425" y="351473"/>
                </a:moveTo>
                <a:cubicBezTo>
                  <a:pt x="349541" y="348569"/>
                  <a:pt x="349296" y="345318"/>
                  <a:pt x="347758" y="342614"/>
                </a:cubicBezTo>
                <a:cubicBezTo>
                  <a:pt x="345257" y="340787"/>
                  <a:pt x="342024" y="340290"/>
                  <a:pt x="339090" y="341281"/>
                </a:cubicBezTo>
                <a:lnTo>
                  <a:pt x="339090" y="341281"/>
                </a:lnTo>
                <a:cubicBezTo>
                  <a:pt x="342155" y="339781"/>
                  <a:pt x="345789" y="340035"/>
                  <a:pt x="348615" y="341948"/>
                </a:cubicBezTo>
                <a:cubicBezTo>
                  <a:pt x="351282" y="344710"/>
                  <a:pt x="350615" y="348710"/>
                  <a:pt x="350615" y="352139"/>
                </a:cubicBezTo>
                <a:cubicBezTo>
                  <a:pt x="349673" y="354891"/>
                  <a:pt x="350174" y="357931"/>
                  <a:pt x="351949" y="360236"/>
                </a:cubicBezTo>
                <a:cubicBezTo>
                  <a:pt x="353282" y="361569"/>
                  <a:pt x="356616" y="360902"/>
                  <a:pt x="358616" y="360236"/>
                </a:cubicBezTo>
                <a:lnTo>
                  <a:pt x="359283" y="360236"/>
                </a:lnTo>
                <a:cubicBezTo>
                  <a:pt x="361005" y="359687"/>
                  <a:pt x="362813" y="359461"/>
                  <a:pt x="364617" y="359569"/>
                </a:cubicBezTo>
                <a:cubicBezTo>
                  <a:pt x="366588" y="359511"/>
                  <a:pt x="368504" y="360229"/>
                  <a:pt x="369951" y="361569"/>
                </a:cubicBezTo>
                <a:cubicBezTo>
                  <a:pt x="371541" y="363300"/>
                  <a:pt x="372685" y="365393"/>
                  <a:pt x="373285" y="367665"/>
                </a:cubicBezTo>
                <a:cubicBezTo>
                  <a:pt x="373285" y="369761"/>
                  <a:pt x="372618" y="371761"/>
                  <a:pt x="372618" y="373094"/>
                </a:cubicBezTo>
                <a:lnTo>
                  <a:pt x="371951" y="373761"/>
                </a:lnTo>
                <a:lnTo>
                  <a:pt x="371951" y="373761"/>
                </a:lnTo>
                <a:cubicBezTo>
                  <a:pt x="371665" y="374891"/>
                  <a:pt x="371443" y="376036"/>
                  <a:pt x="371285" y="377190"/>
                </a:cubicBezTo>
                <a:cubicBezTo>
                  <a:pt x="371299" y="378236"/>
                  <a:pt x="371790" y="379218"/>
                  <a:pt x="372618" y="379857"/>
                </a:cubicBezTo>
                <a:cubicBezTo>
                  <a:pt x="374425" y="381979"/>
                  <a:pt x="377195" y="383022"/>
                  <a:pt x="379952" y="382619"/>
                </a:cubicBezTo>
                <a:lnTo>
                  <a:pt x="379952" y="383286"/>
                </a:lnTo>
                <a:lnTo>
                  <a:pt x="379952" y="383286"/>
                </a:lnTo>
                <a:cubicBezTo>
                  <a:pt x="378460" y="383833"/>
                  <a:pt x="376870" y="384060"/>
                  <a:pt x="375285" y="383953"/>
                </a:cubicBezTo>
                <a:cubicBezTo>
                  <a:pt x="371492" y="384555"/>
                  <a:pt x="367930" y="381969"/>
                  <a:pt x="367327" y="378176"/>
                </a:cubicBezTo>
                <a:cubicBezTo>
                  <a:pt x="367310" y="378070"/>
                  <a:pt x="367296" y="377964"/>
                  <a:pt x="367284" y="377857"/>
                </a:cubicBezTo>
                <a:cubicBezTo>
                  <a:pt x="367176" y="375802"/>
                  <a:pt x="367401" y="373743"/>
                  <a:pt x="367951" y="371761"/>
                </a:cubicBezTo>
                <a:lnTo>
                  <a:pt x="367284" y="372428"/>
                </a:lnTo>
                <a:cubicBezTo>
                  <a:pt x="368150" y="370196"/>
                  <a:pt x="367903" y="367685"/>
                  <a:pt x="366617" y="365665"/>
                </a:cubicBezTo>
                <a:cubicBezTo>
                  <a:pt x="365950" y="364331"/>
                  <a:pt x="362617" y="363665"/>
                  <a:pt x="359950" y="364331"/>
                </a:cubicBezTo>
                <a:lnTo>
                  <a:pt x="359950" y="364331"/>
                </a:lnTo>
                <a:cubicBezTo>
                  <a:pt x="358238" y="364924"/>
                  <a:pt x="356421" y="365151"/>
                  <a:pt x="354616" y="364998"/>
                </a:cubicBezTo>
                <a:cubicBezTo>
                  <a:pt x="352544" y="364815"/>
                  <a:pt x="350627" y="363822"/>
                  <a:pt x="349282" y="362236"/>
                </a:cubicBezTo>
                <a:cubicBezTo>
                  <a:pt x="347220" y="359039"/>
                  <a:pt x="346729" y="355076"/>
                  <a:pt x="347948" y="351472"/>
                </a:cubicBezTo>
                <a:moveTo>
                  <a:pt x="237173" y="419862"/>
                </a:moveTo>
                <a:cubicBezTo>
                  <a:pt x="238593" y="421618"/>
                  <a:pt x="239514" y="423723"/>
                  <a:pt x="239840" y="425958"/>
                </a:cubicBezTo>
                <a:cubicBezTo>
                  <a:pt x="239636" y="428226"/>
                  <a:pt x="238700" y="430366"/>
                  <a:pt x="237173" y="432054"/>
                </a:cubicBezTo>
                <a:cubicBezTo>
                  <a:pt x="236010" y="433356"/>
                  <a:pt x="234662" y="434480"/>
                  <a:pt x="233172" y="435388"/>
                </a:cubicBezTo>
                <a:lnTo>
                  <a:pt x="233172" y="435388"/>
                </a:lnTo>
                <a:cubicBezTo>
                  <a:pt x="231976" y="435903"/>
                  <a:pt x="230855" y="436575"/>
                  <a:pt x="229838" y="437388"/>
                </a:cubicBezTo>
                <a:cubicBezTo>
                  <a:pt x="229026" y="438081"/>
                  <a:pt x="228543" y="439083"/>
                  <a:pt x="228505" y="440150"/>
                </a:cubicBezTo>
                <a:cubicBezTo>
                  <a:pt x="228872" y="442898"/>
                  <a:pt x="230030" y="445479"/>
                  <a:pt x="231839" y="447580"/>
                </a:cubicBezTo>
                <a:lnTo>
                  <a:pt x="231839" y="447580"/>
                </a:lnTo>
                <a:cubicBezTo>
                  <a:pt x="230360" y="446930"/>
                  <a:pt x="229007" y="446027"/>
                  <a:pt x="227838" y="444913"/>
                </a:cubicBezTo>
                <a:cubicBezTo>
                  <a:pt x="226212" y="443868"/>
                  <a:pt x="225213" y="442083"/>
                  <a:pt x="225171" y="440150"/>
                </a:cubicBezTo>
                <a:cubicBezTo>
                  <a:pt x="224892" y="438236"/>
                  <a:pt x="225370" y="436288"/>
                  <a:pt x="226504" y="434721"/>
                </a:cubicBezTo>
                <a:cubicBezTo>
                  <a:pt x="227691" y="433220"/>
                  <a:pt x="229032" y="431847"/>
                  <a:pt x="230505" y="430625"/>
                </a:cubicBezTo>
                <a:lnTo>
                  <a:pt x="230505" y="431292"/>
                </a:lnTo>
                <a:cubicBezTo>
                  <a:pt x="233172" y="429292"/>
                  <a:pt x="234506" y="427292"/>
                  <a:pt x="234506" y="425958"/>
                </a:cubicBezTo>
                <a:cubicBezTo>
                  <a:pt x="234506" y="424625"/>
                  <a:pt x="232505" y="421862"/>
                  <a:pt x="230505" y="419862"/>
                </a:cubicBezTo>
                <a:lnTo>
                  <a:pt x="231172" y="419862"/>
                </a:lnTo>
                <a:cubicBezTo>
                  <a:pt x="229363" y="419110"/>
                  <a:pt x="227762" y="417934"/>
                  <a:pt x="226505" y="416433"/>
                </a:cubicBezTo>
                <a:cubicBezTo>
                  <a:pt x="225150" y="414957"/>
                  <a:pt x="224431" y="413006"/>
                  <a:pt x="224504" y="411004"/>
                </a:cubicBezTo>
                <a:cubicBezTo>
                  <a:pt x="225313" y="407237"/>
                  <a:pt x="227757" y="404025"/>
                  <a:pt x="231172" y="402241"/>
                </a:cubicBezTo>
                <a:cubicBezTo>
                  <a:pt x="233839" y="400907"/>
                  <a:pt x="236506" y="398812"/>
                  <a:pt x="236506" y="396145"/>
                </a:cubicBezTo>
                <a:cubicBezTo>
                  <a:pt x="236799" y="392900"/>
                  <a:pt x="234889" y="389859"/>
                  <a:pt x="231839" y="388715"/>
                </a:cubicBezTo>
                <a:lnTo>
                  <a:pt x="231839" y="388049"/>
                </a:lnTo>
                <a:lnTo>
                  <a:pt x="231839" y="388049"/>
                </a:lnTo>
                <a:cubicBezTo>
                  <a:pt x="235212" y="389546"/>
                  <a:pt x="237683" y="392546"/>
                  <a:pt x="238506" y="396145"/>
                </a:cubicBezTo>
                <a:cubicBezTo>
                  <a:pt x="237532" y="399471"/>
                  <a:pt x="235405" y="402342"/>
                  <a:pt x="232505" y="404241"/>
                </a:cubicBezTo>
                <a:cubicBezTo>
                  <a:pt x="229838" y="406241"/>
                  <a:pt x="227838" y="408337"/>
                  <a:pt x="227838" y="411004"/>
                </a:cubicBezTo>
                <a:cubicBezTo>
                  <a:pt x="227838" y="413671"/>
                  <a:pt x="230505" y="415100"/>
                  <a:pt x="232505" y="416433"/>
                </a:cubicBezTo>
                <a:lnTo>
                  <a:pt x="233172" y="416433"/>
                </a:lnTo>
                <a:cubicBezTo>
                  <a:pt x="234506" y="417767"/>
                  <a:pt x="235839" y="418433"/>
                  <a:pt x="237173" y="419862"/>
                </a:cubicBezTo>
                <a:moveTo>
                  <a:pt x="108585" y="367665"/>
                </a:moveTo>
                <a:cubicBezTo>
                  <a:pt x="108553" y="369853"/>
                  <a:pt x="107856" y="371980"/>
                  <a:pt x="106585" y="373761"/>
                </a:cubicBezTo>
                <a:cubicBezTo>
                  <a:pt x="105167" y="375620"/>
                  <a:pt x="102919" y="376655"/>
                  <a:pt x="100584" y="376523"/>
                </a:cubicBezTo>
                <a:cubicBezTo>
                  <a:pt x="98779" y="376676"/>
                  <a:pt x="96962" y="376449"/>
                  <a:pt x="95250" y="375857"/>
                </a:cubicBezTo>
                <a:lnTo>
                  <a:pt x="95250" y="375857"/>
                </a:lnTo>
                <a:cubicBezTo>
                  <a:pt x="93990" y="375314"/>
                  <a:pt x="92617" y="375085"/>
                  <a:pt x="91250" y="375190"/>
                </a:cubicBezTo>
                <a:cubicBezTo>
                  <a:pt x="90310" y="375090"/>
                  <a:pt x="89365" y="375326"/>
                  <a:pt x="88583" y="375857"/>
                </a:cubicBezTo>
                <a:cubicBezTo>
                  <a:pt x="86582" y="377190"/>
                  <a:pt x="86582" y="380524"/>
                  <a:pt x="85916" y="383286"/>
                </a:cubicBezTo>
                <a:lnTo>
                  <a:pt x="85916" y="383953"/>
                </a:lnTo>
                <a:lnTo>
                  <a:pt x="85725" y="383953"/>
                </a:lnTo>
                <a:cubicBezTo>
                  <a:pt x="85725" y="381953"/>
                  <a:pt x="85058" y="380524"/>
                  <a:pt x="85058" y="379190"/>
                </a:cubicBezTo>
                <a:cubicBezTo>
                  <a:pt x="84592" y="377361"/>
                  <a:pt x="84830" y="375423"/>
                  <a:pt x="85725" y="373761"/>
                </a:cubicBezTo>
                <a:cubicBezTo>
                  <a:pt x="87074" y="372078"/>
                  <a:pt x="88955" y="370902"/>
                  <a:pt x="91059" y="370427"/>
                </a:cubicBezTo>
                <a:cubicBezTo>
                  <a:pt x="92863" y="370319"/>
                  <a:pt x="94671" y="370545"/>
                  <a:pt x="96393" y="371094"/>
                </a:cubicBezTo>
                <a:lnTo>
                  <a:pt x="96393" y="371094"/>
                </a:lnTo>
                <a:cubicBezTo>
                  <a:pt x="99060" y="371761"/>
                  <a:pt x="101727" y="371761"/>
                  <a:pt x="102394" y="370427"/>
                </a:cubicBezTo>
                <a:cubicBezTo>
                  <a:pt x="103836" y="368490"/>
                  <a:pt x="104326" y="366004"/>
                  <a:pt x="103727" y="363665"/>
                </a:cubicBezTo>
                <a:lnTo>
                  <a:pt x="103727" y="363665"/>
                </a:lnTo>
                <a:cubicBezTo>
                  <a:pt x="103394" y="361870"/>
                  <a:pt x="103394" y="360030"/>
                  <a:pt x="103727" y="358235"/>
                </a:cubicBezTo>
                <a:cubicBezTo>
                  <a:pt x="103759" y="356047"/>
                  <a:pt x="104457" y="353921"/>
                  <a:pt x="105728" y="352139"/>
                </a:cubicBezTo>
                <a:cubicBezTo>
                  <a:pt x="108978" y="350244"/>
                  <a:pt x="112934" y="349996"/>
                  <a:pt x="116396" y="351473"/>
                </a:cubicBezTo>
                <a:cubicBezTo>
                  <a:pt x="119269" y="352314"/>
                  <a:pt x="122352" y="352077"/>
                  <a:pt x="125063" y="350806"/>
                </a:cubicBezTo>
                <a:cubicBezTo>
                  <a:pt x="126838" y="348212"/>
                  <a:pt x="127329" y="344949"/>
                  <a:pt x="126397" y="341948"/>
                </a:cubicBezTo>
                <a:lnTo>
                  <a:pt x="126397" y="341281"/>
                </a:lnTo>
                <a:cubicBezTo>
                  <a:pt x="126765" y="341281"/>
                  <a:pt x="127064" y="341579"/>
                  <a:pt x="127064" y="341948"/>
                </a:cubicBezTo>
                <a:cubicBezTo>
                  <a:pt x="128180" y="345077"/>
                  <a:pt x="127938" y="348530"/>
                  <a:pt x="126397" y="351473"/>
                </a:cubicBezTo>
                <a:cubicBezTo>
                  <a:pt x="123673" y="353513"/>
                  <a:pt x="120186" y="354245"/>
                  <a:pt x="116872" y="353473"/>
                </a:cubicBezTo>
                <a:cubicBezTo>
                  <a:pt x="113538" y="353473"/>
                  <a:pt x="110204" y="353473"/>
                  <a:pt x="108871" y="354806"/>
                </a:cubicBezTo>
                <a:cubicBezTo>
                  <a:pt x="107537" y="356140"/>
                  <a:pt x="107537" y="359569"/>
                  <a:pt x="108204" y="362236"/>
                </a:cubicBezTo>
                <a:lnTo>
                  <a:pt x="108204" y="362236"/>
                </a:lnTo>
                <a:cubicBezTo>
                  <a:pt x="108711" y="363999"/>
                  <a:pt x="108936" y="365831"/>
                  <a:pt x="108871" y="367665"/>
                </a:cubicBezTo>
                <a:moveTo>
                  <a:pt x="39624" y="234315"/>
                </a:moveTo>
                <a:lnTo>
                  <a:pt x="39624" y="234315"/>
                </a:lnTo>
                <a:cubicBezTo>
                  <a:pt x="41624" y="236315"/>
                  <a:pt x="42958" y="238316"/>
                  <a:pt x="44958" y="238316"/>
                </a:cubicBezTo>
                <a:cubicBezTo>
                  <a:pt x="47160" y="237668"/>
                  <a:pt x="49054" y="236248"/>
                  <a:pt x="50292" y="234315"/>
                </a:cubicBezTo>
                <a:lnTo>
                  <a:pt x="50292" y="234315"/>
                </a:lnTo>
                <a:cubicBezTo>
                  <a:pt x="51449" y="232788"/>
                  <a:pt x="52793" y="231412"/>
                  <a:pt x="54293" y="230219"/>
                </a:cubicBezTo>
                <a:cubicBezTo>
                  <a:pt x="55672" y="228692"/>
                  <a:pt x="57577" y="227739"/>
                  <a:pt x="59627" y="227552"/>
                </a:cubicBezTo>
                <a:cubicBezTo>
                  <a:pt x="63382" y="228395"/>
                  <a:pt x="66563" y="230877"/>
                  <a:pt x="68294" y="234315"/>
                </a:cubicBezTo>
                <a:cubicBezTo>
                  <a:pt x="69335" y="237076"/>
                  <a:pt x="71473" y="239283"/>
                  <a:pt x="74200" y="240411"/>
                </a:cubicBezTo>
                <a:cubicBezTo>
                  <a:pt x="76867" y="240411"/>
                  <a:pt x="79534" y="237649"/>
                  <a:pt x="81534" y="234982"/>
                </a:cubicBezTo>
                <a:lnTo>
                  <a:pt x="81534" y="234982"/>
                </a:lnTo>
                <a:lnTo>
                  <a:pt x="81534" y="235649"/>
                </a:lnTo>
                <a:cubicBezTo>
                  <a:pt x="80201" y="238316"/>
                  <a:pt x="78200" y="241744"/>
                  <a:pt x="74200" y="241744"/>
                </a:cubicBezTo>
                <a:cubicBezTo>
                  <a:pt x="70818" y="241382"/>
                  <a:pt x="67847" y="239341"/>
                  <a:pt x="66294" y="236315"/>
                </a:cubicBezTo>
                <a:cubicBezTo>
                  <a:pt x="64294" y="233648"/>
                  <a:pt x="61532" y="230886"/>
                  <a:pt x="59627" y="230886"/>
                </a:cubicBezTo>
                <a:cubicBezTo>
                  <a:pt x="57722" y="230886"/>
                  <a:pt x="54959" y="233648"/>
                  <a:pt x="54293" y="236315"/>
                </a:cubicBezTo>
                <a:lnTo>
                  <a:pt x="54293" y="236315"/>
                </a:lnTo>
                <a:cubicBezTo>
                  <a:pt x="53135" y="237842"/>
                  <a:pt x="51791" y="239218"/>
                  <a:pt x="50292" y="240411"/>
                </a:cubicBezTo>
                <a:cubicBezTo>
                  <a:pt x="49005" y="242056"/>
                  <a:pt x="47046" y="243035"/>
                  <a:pt x="44958" y="243078"/>
                </a:cubicBezTo>
                <a:cubicBezTo>
                  <a:pt x="42788" y="243114"/>
                  <a:pt x="40671" y="242409"/>
                  <a:pt x="38957" y="241078"/>
                </a:cubicBezTo>
                <a:cubicBezTo>
                  <a:pt x="37481" y="239780"/>
                  <a:pt x="36338" y="238147"/>
                  <a:pt x="35623" y="236315"/>
                </a:cubicBezTo>
                <a:lnTo>
                  <a:pt x="35624" y="236315"/>
                </a:lnTo>
                <a:cubicBezTo>
                  <a:pt x="34957" y="235649"/>
                  <a:pt x="34290" y="234315"/>
                  <a:pt x="33623" y="233648"/>
                </a:cubicBezTo>
                <a:cubicBezTo>
                  <a:pt x="32957" y="232981"/>
                  <a:pt x="31623" y="232219"/>
                  <a:pt x="30956" y="231553"/>
                </a:cubicBezTo>
                <a:cubicBezTo>
                  <a:pt x="28199" y="232261"/>
                  <a:pt x="25672" y="233673"/>
                  <a:pt x="23622" y="235649"/>
                </a:cubicBezTo>
                <a:lnTo>
                  <a:pt x="23622" y="235649"/>
                </a:lnTo>
                <a:lnTo>
                  <a:pt x="23622" y="234982"/>
                </a:lnTo>
                <a:cubicBezTo>
                  <a:pt x="24269" y="233473"/>
                  <a:pt x="25171" y="232088"/>
                  <a:pt x="26289" y="230886"/>
                </a:cubicBezTo>
                <a:cubicBezTo>
                  <a:pt x="26670" y="229553"/>
                  <a:pt x="28575" y="228600"/>
                  <a:pt x="30671" y="228600"/>
                </a:cubicBezTo>
                <a:cubicBezTo>
                  <a:pt x="32642" y="228542"/>
                  <a:pt x="34557" y="229260"/>
                  <a:pt x="36005" y="230600"/>
                </a:cubicBezTo>
                <a:cubicBezTo>
                  <a:pt x="37625" y="231457"/>
                  <a:pt x="38828" y="232935"/>
                  <a:pt x="39338" y="234696"/>
                </a:cubicBezTo>
                <a:moveTo>
                  <a:pt x="93917" y="96203"/>
                </a:moveTo>
                <a:cubicBezTo>
                  <a:pt x="94065" y="95046"/>
                  <a:pt x="94288" y="93901"/>
                  <a:pt x="94583" y="92774"/>
                </a:cubicBezTo>
                <a:cubicBezTo>
                  <a:pt x="94425" y="91619"/>
                  <a:pt x="94202" y="90474"/>
                  <a:pt x="93917" y="89345"/>
                </a:cubicBezTo>
                <a:cubicBezTo>
                  <a:pt x="91425" y="87842"/>
                  <a:pt x="88623" y="86929"/>
                  <a:pt x="85725" y="86678"/>
                </a:cubicBezTo>
                <a:lnTo>
                  <a:pt x="85725" y="86678"/>
                </a:lnTo>
                <a:cubicBezTo>
                  <a:pt x="87264" y="86036"/>
                  <a:pt x="88916" y="85712"/>
                  <a:pt x="90583" y="85725"/>
                </a:cubicBezTo>
                <a:cubicBezTo>
                  <a:pt x="92425" y="85853"/>
                  <a:pt x="94231" y="86304"/>
                  <a:pt x="95917" y="87059"/>
                </a:cubicBezTo>
                <a:cubicBezTo>
                  <a:pt x="97458" y="88468"/>
                  <a:pt x="98411" y="90407"/>
                  <a:pt x="98584" y="92488"/>
                </a:cubicBezTo>
                <a:cubicBezTo>
                  <a:pt x="98917" y="94282"/>
                  <a:pt x="98917" y="96123"/>
                  <a:pt x="98584" y="97917"/>
                </a:cubicBezTo>
                <a:lnTo>
                  <a:pt x="98584" y="97917"/>
                </a:lnTo>
                <a:cubicBezTo>
                  <a:pt x="97717" y="100149"/>
                  <a:pt x="97965" y="102660"/>
                  <a:pt x="99251" y="104680"/>
                </a:cubicBezTo>
                <a:cubicBezTo>
                  <a:pt x="101334" y="105651"/>
                  <a:pt x="103621" y="106108"/>
                  <a:pt x="105918" y="106013"/>
                </a:cubicBezTo>
                <a:lnTo>
                  <a:pt x="105918" y="106013"/>
                </a:lnTo>
                <a:cubicBezTo>
                  <a:pt x="107640" y="105464"/>
                  <a:pt x="109448" y="105238"/>
                  <a:pt x="111252" y="105347"/>
                </a:cubicBezTo>
                <a:cubicBezTo>
                  <a:pt x="113373" y="105246"/>
                  <a:pt x="115394" y="106256"/>
                  <a:pt x="116586" y="108014"/>
                </a:cubicBezTo>
                <a:cubicBezTo>
                  <a:pt x="118605" y="111013"/>
                  <a:pt x="119098" y="114787"/>
                  <a:pt x="117920" y="118205"/>
                </a:cubicBezTo>
                <a:cubicBezTo>
                  <a:pt x="117253" y="121634"/>
                  <a:pt x="116586" y="124968"/>
                  <a:pt x="118586" y="126968"/>
                </a:cubicBezTo>
                <a:cubicBezTo>
                  <a:pt x="121070" y="128828"/>
                  <a:pt x="124305" y="129361"/>
                  <a:pt x="127254" y="128397"/>
                </a:cubicBezTo>
                <a:lnTo>
                  <a:pt x="127254" y="129064"/>
                </a:lnTo>
                <a:lnTo>
                  <a:pt x="127254" y="129064"/>
                </a:lnTo>
                <a:cubicBezTo>
                  <a:pt x="124189" y="130564"/>
                  <a:pt x="120555" y="130310"/>
                  <a:pt x="117729" y="128397"/>
                </a:cubicBezTo>
                <a:cubicBezTo>
                  <a:pt x="115062" y="125635"/>
                  <a:pt x="115729" y="120872"/>
                  <a:pt x="115729" y="118205"/>
                </a:cubicBezTo>
                <a:cubicBezTo>
                  <a:pt x="116627" y="115529"/>
                  <a:pt x="116386" y="112602"/>
                  <a:pt x="115062" y="110109"/>
                </a:cubicBezTo>
                <a:cubicBezTo>
                  <a:pt x="112838" y="108808"/>
                  <a:pt x="110150" y="108563"/>
                  <a:pt x="107728" y="109442"/>
                </a:cubicBezTo>
                <a:lnTo>
                  <a:pt x="107728" y="109442"/>
                </a:lnTo>
                <a:lnTo>
                  <a:pt x="107061" y="110109"/>
                </a:lnTo>
                <a:lnTo>
                  <a:pt x="101727" y="110109"/>
                </a:lnTo>
                <a:cubicBezTo>
                  <a:pt x="97256" y="110057"/>
                  <a:pt x="93674" y="106390"/>
                  <a:pt x="93726" y="101919"/>
                </a:cubicBezTo>
                <a:cubicBezTo>
                  <a:pt x="93726" y="101918"/>
                  <a:pt x="93726" y="101918"/>
                  <a:pt x="93726" y="101918"/>
                </a:cubicBezTo>
                <a:cubicBezTo>
                  <a:pt x="93284" y="100118"/>
                  <a:pt x="93521" y="98219"/>
                  <a:pt x="94393" y="96584"/>
                </a:cubicBezTo>
                <a:close/>
                <a:moveTo>
                  <a:pt x="226505" y="50768"/>
                </a:moveTo>
                <a:cubicBezTo>
                  <a:pt x="225208" y="49189"/>
                  <a:pt x="224296" y="47330"/>
                  <a:pt x="223838" y="45339"/>
                </a:cubicBezTo>
                <a:cubicBezTo>
                  <a:pt x="223880" y="43033"/>
                  <a:pt x="224840" y="40839"/>
                  <a:pt x="226505" y="39243"/>
                </a:cubicBezTo>
                <a:cubicBezTo>
                  <a:pt x="227667" y="37941"/>
                  <a:pt x="229015" y="36817"/>
                  <a:pt x="230505" y="35909"/>
                </a:cubicBezTo>
                <a:lnTo>
                  <a:pt x="230505" y="35909"/>
                </a:lnTo>
                <a:cubicBezTo>
                  <a:pt x="231726" y="35402"/>
                  <a:pt x="232853" y="34694"/>
                  <a:pt x="233839" y="33814"/>
                </a:cubicBezTo>
                <a:cubicBezTo>
                  <a:pt x="234506" y="32480"/>
                  <a:pt x="235172" y="31814"/>
                  <a:pt x="235172" y="31147"/>
                </a:cubicBezTo>
                <a:cubicBezTo>
                  <a:pt x="235057" y="28334"/>
                  <a:pt x="233863" y="25673"/>
                  <a:pt x="231839" y="23717"/>
                </a:cubicBezTo>
                <a:lnTo>
                  <a:pt x="231839" y="23051"/>
                </a:lnTo>
                <a:lnTo>
                  <a:pt x="231839" y="23051"/>
                </a:lnTo>
                <a:cubicBezTo>
                  <a:pt x="233172" y="23717"/>
                  <a:pt x="234506" y="25051"/>
                  <a:pt x="235839" y="25718"/>
                </a:cubicBezTo>
                <a:cubicBezTo>
                  <a:pt x="237340" y="26875"/>
                  <a:pt x="238303" y="28595"/>
                  <a:pt x="238506" y="30480"/>
                </a:cubicBezTo>
                <a:cubicBezTo>
                  <a:pt x="238759" y="32604"/>
                  <a:pt x="238289" y="34751"/>
                  <a:pt x="237173" y="36576"/>
                </a:cubicBezTo>
                <a:cubicBezTo>
                  <a:pt x="236011" y="37878"/>
                  <a:pt x="234662" y="39002"/>
                  <a:pt x="233172" y="39910"/>
                </a:cubicBezTo>
                <a:lnTo>
                  <a:pt x="233172" y="39910"/>
                </a:lnTo>
                <a:cubicBezTo>
                  <a:pt x="230927" y="40828"/>
                  <a:pt x="229383" y="42923"/>
                  <a:pt x="229172" y="45339"/>
                </a:cubicBezTo>
                <a:cubicBezTo>
                  <a:pt x="229798" y="47576"/>
                  <a:pt x="231221" y="49507"/>
                  <a:pt x="233172" y="50768"/>
                </a:cubicBezTo>
                <a:lnTo>
                  <a:pt x="232505" y="50768"/>
                </a:lnTo>
                <a:cubicBezTo>
                  <a:pt x="234195" y="51716"/>
                  <a:pt x="235763" y="52868"/>
                  <a:pt x="237173" y="54197"/>
                </a:cubicBezTo>
                <a:cubicBezTo>
                  <a:pt x="238524" y="55937"/>
                  <a:pt x="239231" y="58091"/>
                  <a:pt x="239173" y="60293"/>
                </a:cubicBezTo>
                <a:cubicBezTo>
                  <a:pt x="238558" y="63990"/>
                  <a:pt x="236016" y="67077"/>
                  <a:pt x="232505" y="68390"/>
                </a:cubicBezTo>
                <a:cubicBezTo>
                  <a:pt x="229838" y="70390"/>
                  <a:pt x="227171" y="72485"/>
                  <a:pt x="227171" y="75152"/>
                </a:cubicBezTo>
                <a:cubicBezTo>
                  <a:pt x="227171" y="77819"/>
                  <a:pt x="229172" y="80582"/>
                  <a:pt x="231839" y="82582"/>
                </a:cubicBezTo>
                <a:lnTo>
                  <a:pt x="231839" y="82582"/>
                </a:lnTo>
                <a:cubicBezTo>
                  <a:pt x="228513" y="81376"/>
                  <a:pt x="226011" y="78588"/>
                  <a:pt x="225171" y="75152"/>
                </a:cubicBezTo>
                <a:cubicBezTo>
                  <a:pt x="225741" y="71546"/>
                  <a:pt x="227960" y="68411"/>
                  <a:pt x="231172" y="66675"/>
                </a:cubicBezTo>
                <a:cubicBezTo>
                  <a:pt x="233642" y="65543"/>
                  <a:pt x="235391" y="63259"/>
                  <a:pt x="235839" y="60579"/>
                </a:cubicBezTo>
                <a:cubicBezTo>
                  <a:pt x="235516" y="57996"/>
                  <a:pt x="233677" y="55857"/>
                  <a:pt x="231172" y="55150"/>
                </a:cubicBezTo>
                <a:lnTo>
                  <a:pt x="231172" y="55150"/>
                </a:lnTo>
                <a:lnTo>
                  <a:pt x="230505" y="54483"/>
                </a:lnTo>
                <a:cubicBezTo>
                  <a:pt x="229013" y="53539"/>
                  <a:pt x="227666" y="52384"/>
                  <a:pt x="226505" y="51054"/>
                </a:cubicBezTo>
                <a:moveTo>
                  <a:pt x="339090" y="128683"/>
                </a:moveTo>
                <a:cubicBezTo>
                  <a:pt x="337911" y="125264"/>
                  <a:pt x="338405" y="121491"/>
                  <a:pt x="340423" y="118491"/>
                </a:cubicBezTo>
                <a:cubicBezTo>
                  <a:pt x="343207" y="116559"/>
                  <a:pt x="346742" y="116064"/>
                  <a:pt x="349948" y="117158"/>
                </a:cubicBezTo>
                <a:cubicBezTo>
                  <a:pt x="352616" y="117158"/>
                  <a:pt x="355949" y="117158"/>
                  <a:pt x="357283" y="115824"/>
                </a:cubicBezTo>
                <a:cubicBezTo>
                  <a:pt x="358616" y="114491"/>
                  <a:pt x="358616" y="111062"/>
                  <a:pt x="357950" y="108299"/>
                </a:cubicBezTo>
                <a:lnTo>
                  <a:pt x="357950" y="108299"/>
                </a:lnTo>
                <a:cubicBezTo>
                  <a:pt x="357400" y="106349"/>
                  <a:pt x="357175" y="104322"/>
                  <a:pt x="357283" y="102299"/>
                </a:cubicBezTo>
                <a:cubicBezTo>
                  <a:pt x="357432" y="100338"/>
                  <a:pt x="358124" y="98458"/>
                  <a:pt x="359283" y="96869"/>
                </a:cubicBezTo>
                <a:cubicBezTo>
                  <a:pt x="360784" y="95117"/>
                  <a:pt x="362976" y="94108"/>
                  <a:pt x="365284" y="94107"/>
                </a:cubicBezTo>
                <a:cubicBezTo>
                  <a:pt x="367410" y="93973"/>
                  <a:pt x="369537" y="94366"/>
                  <a:pt x="371475" y="95250"/>
                </a:cubicBezTo>
                <a:lnTo>
                  <a:pt x="371475" y="95250"/>
                </a:lnTo>
                <a:cubicBezTo>
                  <a:pt x="372473" y="95859"/>
                  <a:pt x="373654" y="96095"/>
                  <a:pt x="374809" y="95917"/>
                </a:cubicBezTo>
                <a:cubicBezTo>
                  <a:pt x="376142" y="95917"/>
                  <a:pt x="376809" y="95917"/>
                  <a:pt x="377476" y="95250"/>
                </a:cubicBezTo>
                <a:cubicBezTo>
                  <a:pt x="379590" y="93122"/>
                  <a:pt x="380578" y="90122"/>
                  <a:pt x="380143" y="87154"/>
                </a:cubicBezTo>
                <a:lnTo>
                  <a:pt x="381000" y="87154"/>
                </a:lnTo>
                <a:cubicBezTo>
                  <a:pt x="381511" y="88687"/>
                  <a:pt x="381737" y="90301"/>
                  <a:pt x="381667" y="91916"/>
                </a:cubicBezTo>
                <a:cubicBezTo>
                  <a:pt x="381936" y="93830"/>
                  <a:pt x="381458" y="95774"/>
                  <a:pt x="380333" y="97345"/>
                </a:cubicBezTo>
                <a:cubicBezTo>
                  <a:pt x="379141" y="99103"/>
                  <a:pt x="377120" y="100113"/>
                  <a:pt x="374999" y="100012"/>
                </a:cubicBezTo>
                <a:cubicBezTo>
                  <a:pt x="373284" y="100682"/>
                  <a:pt x="371380" y="100682"/>
                  <a:pt x="369665" y="100012"/>
                </a:cubicBezTo>
                <a:lnTo>
                  <a:pt x="369665" y="100013"/>
                </a:lnTo>
                <a:cubicBezTo>
                  <a:pt x="366998" y="99346"/>
                  <a:pt x="364331" y="99346"/>
                  <a:pt x="363665" y="100679"/>
                </a:cubicBezTo>
                <a:cubicBezTo>
                  <a:pt x="362153" y="102585"/>
                  <a:pt x="361656" y="105105"/>
                  <a:pt x="362331" y="107442"/>
                </a:cubicBezTo>
                <a:lnTo>
                  <a:pt x="362331" y="107442"/>
                </a:lnTo>
                <a:cubicBezTo>
                  <a:pt x="362331" y="109538"/>
                  <a:pt x="362998" y="110871"/>
                  <a:pt x="362998" y="112871"/>
                </a:cubicBezTo>
                <a:cubicBezTo>
                  <a:pt x="362521" y="114856"/>
                  <a:pt x="361610" y="116710"/>
                  <a:pt x="360331" y="118301"/>
                </a:cubicBezTo>
                <a:cubicBezTo>
                  <a:pt x="356997" y="121730"/>
                  <a:pt x="352997" y="120301"/>
                  <a:pt x="349663" y="119634"/>
                </a:cubicBezTo>
                <a:cubicBezTo>
                  <a:pt x="346329" y="118967"/>
                  <a:pt x="342995" y="118301"/>
                  <a:pt x="340995" y="120301"/>
                </a:cubicBezTo>
                <a:cubicBezTo>
                  <a:pt x="339103" y="122847"/>
                  <a:pt x="338603" y="126168"/>
                  <a:pt x="339662" y="129159"/>
                </a:cubicBezTo>
                <a:lnTo>
                  <a:pt x="339090" y="129159"/>
                </a:lnTo>
                <a:moveTo>
                  <a:pt x="424815" y="236792"/>
                </a:moveTo>
                <a:lnTo>
                  <a:pt x="424815" y="236792"/>
                </a:lnTo>
                <a:cubicBezTo>
                  <a:pt x="422815" y="234791"/>
                  <a:pt x="421481" y="232696"/>
                  <a:pt x="419481" y="232696"/>
                </a:cubicBezTo>
                <a:cubicBezTo>
                  <a:pt x="417264" y="233367"/>
                  <a:pt x="415368" y="234823"/>
                  <a:pt x="414147" y="236792"/>
                </a:cubicBezTo>
                <a:lnTo>
                  <a:pt x="414147" y="236792"/>
                </a:lnTo>
                <a:cubicBezTo>
                  <a:pt x="412990" y="238318"/>
                  <a:pt x="411646" y="239694"/>
                  <a:pt x="410147" y="240887"/>
                </a:cubicBezTo>
                <a:cubicBezTo>
                  <a:pt x="408876" y="242490"/>
                  <a:pt x="406824" y="243260"/>
                  <a:pt x="404813" y="242888"/>
                </a:cubicBezTo>
                <a:cubicBezTo>
                  <a:pt x="400145" y="242888"/>
                  <a:pt x="398145" y="238792"/>
                  <a:pt x="396145" y="236792"/>
                </a:cubicBezTo>
                <a:cubicBezTo>
                  <a:pt x="395073" y="234018"/>
                  <a:pt x="392900" y="231811"/>
                  <a:pt x="390144" y="230696"/>
                </a:cubicBezTo>
                <a:cubicBezTo>
                  <a:pt x="386810" y="230696"/>
                  <a:pt x="384810" y="233458"/>
                  <a:pt x="382810" y="236125"/>
                </a:cubicBezTo>
                <a:lnTo>
                  <a:pt x="382810" y="236125"/>
                </a:lnTo>
                <a:cubicBezTo>
                  <a:pt x="382810" y="236125"/>
                  <a:pt x="382143" y="235458"/>
                  <a:pt x="382810" y="235458"/>
                </a:cubicBezTo>
                <a:cubicBezTo>
                  <a:pt x="384143" y="232696"/>
                  <a:pt x="386144" y="229362"/>
                  <a:pt x="390144" y="229362"/>
                </a:cubicBezTo>
                <a:cubicBezTo>
                  <a:pt x="393554" y="229711"/>
                  <a:pt x="396561" y="231751"/>
                  <a:pt x="398145" y="234791"/>
                </a:cubicBezTo>
                <a:cubicBezTo>
                  <a:pt x="400145" y="237458"/>
                  <a:pt x="402812" y="240221"/>
                  <a:pt x="404813" y="239554"/>
                </a:cubicBezTo>
                <a:cubicBezTo>
                  <a:pt x="407385" y="239181"/>
                  <a:pt x="409485" y="237305"/>
                  <a:pt x="410147" y="234791"/>
                </a:cubicBezTo>
                <a:lnTo>
                  <a:pt x="410147" y="234791"/>
                </a:lnTo>
                <a:cubicBezTo>
                  <a:pt x="411480" y="232696"/>
                  <a:pt x="412147" y="231362"/>
                  <a:pt x="414147" y="230696"/>
                </a:cubicBezTo>
                <a:cubicBezTo>
                  <a:pt x="415434" y="229050"/>
                  <a:pt x="417393" y="228071"/>
                  <a:pt x="419481" y="228028"/>
                </a:cubicBezTo>
                <a:cubicBezTo>
                  <a:pt x="421651" y="227992"/>
                  <a:pt x="423768" y="228698"/>
                  <a:pt x="425482" y="230029"/>
                </a:cubicBezTo>
                <a:cubicBezTo>
                  <a:pt x="426979" y="231308"/>
                  <a:pt x="428126" y="232947"/>
                  <a:pt x="428816" y="234791"/>
                </a:cubicBezTo>
                <a:lnTo>
                  <a:pt x="428816" y="234791"/>
                </a:lnTo>
                <a:cubicBezTo>
                  <a:pt x="429482" y="235458"/>
                  <a:pt x="430149" y="236792"/>
                  <a:pt x="430816" y="237458"/>
                </a:cubicBezTo>
                <a:cubicBezTo>
                  <a:pt x="431483" y="238125"/>
                  <a:pt x="432816" y="238792"/>
                  <a:pt x="433483" y="239554"/>
                </a:cubicBezTo>
                <a:cubicBezTo>
                  <a:pt x="436240" y="238845"/>
                  <a:pt x="438767" y="237434"/>
                  <a:pt x="440817" y="235458"/>
                </a:cubicBezTo>
                <a:lnTo>
                  <a:pt x="440817" y="235458"/>
                </a:lnTo>
                <a:lnTo>
                  <a:pt x="440817" y="236125"/>
                </a:lnTo>
                <a:cubicBezTo>
                  <a:pt x="440147" y="237621"/>
                  <a:pt x="439247" y="239003"/>
                  <a:pt x="438150" y="240221"/>
                </a:cubicBezTo>
                <a:cubicBezTo>
                  <a:pt x="436777" y="241397"/>
                  <a:pt x="435193" y="242302"/>
                  <a:pt x="433483" y="242888"/>
                </a:cubicBezTo>
                <a:cubicBezTo>
                  <a:pt x="431511" y="242946"/>
                  <a:pt x="429596" y="242227"/>
                  <a:pt x="428149" y="240887"/>
                </a:cubicBezTo>
                <a:cubicBezTo>
                  <a:pt x="426815" y="239554"/>
                  <a:pt x="425482" y="238792"/>
                  <a:pt x="424815" y="236792"/>
                </a:cubicBezTo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8" name="Grafik 275">
            <a:extLst>
              <a:ext uri="{FF2B5EF4-FFF2-40B4-BE49-F238E27FC236}">
                <a16:creationId xmlns:a16="http://schemas.microsoft.com/office/drawing/2014/main" id="{6FDA205C-EE61-4125-9AE7-7B2F728B8021}"/>
              </a:ext>
            </a:extLst>
          </p:cNvPr>
          <p:cNvSpPr/>
          <p:nvPr/>
        </p:nvSpPr>
        <p:spPr>
          <a:xfrm>
            <a:off x="8733352" y="1278280"/>
            <a:ext cx="231944" cy="505772"/>
          </a:xfrm>
          <a:custGeom>
            <a:avLst/>
            <a:gdLst>
              <a:gd name="connsiteX0" fmla="*/ 197650 w 197657"/>
              <a:gd name="connsiteY0" fmla="*/ 330518 h 431006"/>
              <a:gd name="connsiteX1" fmla="*/ 99455 w 197657"/>
              <a:gd name="connsiteY1" fmla="*/ 431001 h 431006"/>
              <a:gd name="connsiteX2" fmla="*/ 98781 w 197657"/>
              <a:gd name="connsiteY2" fmla="*/ 431006 h 431006"/>
              <a:gd name="connsiteX3" fmla="*/ 2 w 197657"/>
              <a:gd name="connsiteY3" fmla="*/ 331097 h 431006"/>
              <a:gd name="connsiteX4" fmla="*/ 7 w 197657"/>
              <a:gd name="connsiteY4" fmla="*/ 330518 h 431006"/>
              <a:gd name="connsiteX5" fmla="*/ 14389 w 197657"/>
              <a:gd name="connsiteY5" fmla="*/ 278511 h 431006"/>
              <a:gd name="connsiteX6" fmla="*/ 14389 w 197657"/>
              <a:gd name="connsiteY6" fmla="*/ 278511 h 431006"/>
              <a:gd name="connsiteX7" fmla="*/ 16199 w 197657"/>
              <a:gd name="connsiteY7" fmla="*/ 275749 h 431006"/>
              <a:gd name="connsiteX8" fmla="*/ 18009 w 197657"/>
              <a:gd name="connsiteY8" fmla="*/ 273939 h 431006"/>
              <a:gd name="connsiteX9" fmla="*/ 97924 w 197657"/>
              <a:gd name="connsiteY9" fmla="*/ 0 h 431006"/>
              <a:gd name="connsiteX10" fmla="*/ 99733 w 197657"/>
              <a:gd name="connsiteY10" fmla="*/ 0 h 431006"/>
              <a:gd name="connsiteX11" fmla="*/ 179648 w 197657"/>
              <a:gd name="connsiteY11" fmla="*/ 273939 h 431006"/>
              <a:gd name="connsiteX12" fmla="*/ 181458 w 197657"/>
              <a:gd name="connsiteY12" fmla="*/ 275749 h 431006"/>
              <a:gd name="connsiteX13" fmla="*/ 183268 w 197657"/>
              <a:gd name="connsiteY13" fmla="*/ 278511 h 431006"/>
              <a:gd name="connsiteX14" fmla="*/ 183268 w 197657"/>
              <a:gd name="connsiteY14" fmla="*/ 278511 h 431006"/>
              <a:gd name="connsiteX15" fmla="*/ 197650 w 197657"/>
              <a:gd name="connsiteY15" fmla="*/ 330518 h 431006"/>
              <a:gd name="connsiteX16" fmla="*/ 166218 w 197657"/>
              <a:gd name="connsiteY16" fmla="*/ 316801 h 431006"/>
              <a:gd name="connsiteX17" fmla="*/ 152407 w 197657"/>
              <a:gd name="connsiteY17" fmla="*/ 346043 h 431006"/>
              <a:gd name="connsiteX18" fmla="*/ 135357 w 197657"/>
              <a:gd name="connsiteY18" fmla="*/ 369761 h 431006"/>
              <a:gd name="connsiteX19" fmla="*/ 112021 w 197657"/>
              <a:gd name="connsiteY19" fmla="*/ 387191 h 431006"/>
              <a:gd name="connsiteX20" fmla="*/ 83446 w 197657"/>
              <a:gd name="connsiteY20" fmla="*/ 400812 h 431006"/>
              <a:gd name="connsiteX21" fmla="*/ 117545 w 197657"/>
              <a:gd name="connsiteY21" fmla="*/ 400812 h 431006"/>
              <a:gd name="connsiteX22" fmla="*/ 148120 w 197657"/>
              <a:gd name="connsiteY22" fmla="*/ 382619 h 431006"/>
              <a:gd name="connsiteX23" fmla="*/ 166123 w 197657"/>
              <a:gd name="connsiteY23" fmla="*/ 351568 h 431006"/>
              <a:gd name="connsiteX24" fmla="*/ 166123 w 197657"/>
              <a:gd name="connsiteY24" fmla="*/ 316802 h 431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97657" h="431006">
                <a:moveTo>
                  <a:pt x="197650" y="330518"/>
                </a:moveTo>
                <a:cubicBezTo>
                  <a:pt x="198282" y="385381"/>
                  <a:pt x="154319" y="430369"/>
                  <a:pt x="99455" y="431001"/>
                </a:cubicBezTo>
                <a:cubicBezTo>
                  <a:pt x="99231" y="431003"/>
                  <a:pt x="99006" y="431005"/>
                  <a:pt x="98781" y="431006"/>
                </a:cubicBezTo>
                <a:cubicBezTo>
                  <a:pt x="43915" y="430694"/>
                  <a:pt x="-310" y="385963"/>
                  <a:pt x="2" y="331097"/>
                </a:cubicBezTo>
                <a:cubicBezTo>
                  <a:pt x="3" y="330904"/>
                  <a:pt x="4" y="330711"/>
                  <a:pt x="7" y="330518"/>
                </a:cubicBezTo>
                <a:cubicBezTo>
                  <a:pt x="93" y="312212"/>
                  <a:pt x="5057" y="294260"/>
                  <a:pt x="14389" y="278511"/>
                </a:cubicBezTo>
                <a:lnTo>
                  <a:pt x="14389" y="278511"/>
                </a:lnTo>
                <a:cubicBezTo>
                  <a:pt x="15247" y="277559"/>
                  <a:pt x="15247" y="276701"/>
                  <a:pt x="16199" y="275749"/>
                </a:cubicBezTo>
                <a:lnTo>
                  <a:pt x="18009" y="273939"/>
                </a:lnTo>
                <a:cubicBezTo>
                  <a:pt x="47632" y="226409"/>
                  <a:pt x="90780" y="135160"/>
                  <a:pt x="97924" y="0"/>
                </a:cubicBezTo>
                <a:lnTo>
                  <a:pt x="99733" y="0"/>
                </a:lnTo>
                <a:cubicBezTo>
                  <a:pt x="106877" y="135160"/>
                  <a:pt x="149168" y="226409"/>
                  <a:pt x="179648" y="273939"/>
                </a:cubicBezTo>
                <a:cubicBezTo>
                  <a:pt x="180601" y="274796"/>
                  <a:pt x="181458" y="274796"/>
                  <a:pt x="181458" y="275749"/>
                </a:cubicBezTo>
                <a:cubicBezTo>
                  <a:pt x="181458" y="276701"/>
                  <a:pt x="182315" y="277559"/>
                  <a:pt x="183268" y="278511"/>
                </a:cubicBezTo>
                <a:lnTo>
                  <a:pt x="183268" y="278511"/>
                </a:lnTo>
                <a:cubicBezTo>
                  <a:pt x="192600" y="294260"/>
                  <a:pt x="197564" y="312212"/>
                  <a:pt x="197650" y="330518"/>
                </a:cubicBezTo>
                <a:moveTo>
                  <a:pt x="166218" y="316801"/>
                </a:moveTo>
                <a:cubicBezTo>
                  <a:pt x="162568" y="326971"/>
                  <a:pt x="157943" y="336764"/>
                  <a:pt x="152407" y="346043"/>
                </a:cubicBezTo>
                <a:cubicBezTo>
                  <a:pt x="147796" y="354668"/>
                  <a:pt x="142063" y="362643"/>
                  <a:pt x="135357" y="369761"/>
                </a:cubicBezTo>
                <a:cubicBezTo>
                  <a:pt x="128394" y="376590"/>
                  <a:pt x="120545" y="382453"/>
                  <a:pt x="112021" y="387191"/>
                </a:cubicBezTo>
                <a:cubicBezTo>
                  <a:pt x="102924" y="392580"/>
                  <a:pt x="93360" y="397138"/>
                  <a:pt x="83446" y="400812"/>
                </a:cubicBezTo>
                <a:cubicBezTo>
                  <a:pt x="94508" y="404529"/>
                  <a:pt x="106483" y="404529"/>
                  <a:pt x="117545" y="400812"/>
                </a:cubicBezTo>
                <a:cubicBezTo>
                  <a:pt x="129063" y="397321"/>
                  <a:pt x="139557" y="391076"/>
                  <a:pt x="148120" y="382619"/>
                </a:cubicBezTo>
                <a:cubicBezTo>
                  <a:pt x="156479" y="373828"/>
                  <a:pt x="162646" y="363190"/>
                  <a:pt x="166123" y="351568"/>
                </a:cubicBezTo>
                <a:cubicBezTo>
                  <a:pt x="169647" y="340247"/>
                  <a:pt x="169647" y="328122"/>
                  <a:pt x="166123" y="316802"/>
                </a:cubicBezTo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9" name="Grafik 3">
            <a:extLst>
              <a:ext uri="{FF2B5EF4-FFF2-40B4-BE49-F238E27FC236}">
                <a16:creationId xmlns:a16="http://schemas.microsoft.com/office/drawing/2014/main" id="{F186BB4D-D81E-409E-902A-0E09515551E9}"/>
              </a:ext>
            </a:extLst>
          </p:cNvPr>
          <p:cNvSpPr/>
          <p:nvPr/>
        </p:nvSpPr>
        <p:spPr>
          <a:xfrm>
            <a:off x="9181661" y="1313600"/>
            <a:ext cx="296756" cy="435132"/>
          </a:xfrm>
          <a:custGeom>
            <a:avLst/>
            <a:gdLst>
              <a:gd name="connsiteX0" fmla="*/ 96298 w 252888"/>
              <a:gd name="connsiteY0" fmla="*/ 17336 h 370808"/>
              <a:gd name="connsiteX1" fmla="*/ 88392 w 252888"/>
              <a:gd name="connsiteY1" fmla="*/ 17336 h 370808"/>
              <a:gd name="connsiteX2" fmla="*/ 88392 w 252888"/>
              <a:gd name="connsiteY2" fmla="*/ 0 h 370808"/>
              <a:gd name="connsiteX3" fmla="*/ 168212 w 252888"/>
              <a:gd name="connsiteY3" fmla="*/ 0 h 370808"/>
              <a:gd name="connsiteX4" fmla="*/ 168212 w 252888"/>
              <a:gd name="connsiteY4" fmla="*/ 17336 h 370808"/>
              <a:gd name="connsiteX5" fmla="*/ 160306 w 252888"/>
              <a:gd name="connsiteY5" fmla="*/ 17336 h 370808"/>
              <a:gd name="connsiteX6" fmla="*/ 160306 w 252888"/>
              <a:gd name="connsiteY6" fmla="*/ 7811 h 370808"/>
              <a:gd name="connsiteX7" fmla="*/ 96298 w 252888"/>
              <a:gd name="connsiteY7" fmla="*/ 7811 h 370808"/>
              <a:gd name="connsiteX8" fmla="*/ 252889 w 252888"/>
              <a:gd name="connsiteY8" fmla="*/ 37148 h 370808"/>
              <a:gd name="connsiteX9" fmla="*/ 252889 w 252888"/>
              <a:gd name="connsiteY9" fmla="*/ 76200 h 370808"/>
              <a:gd name="connsiteX10" fmla="*/ 238887 w 252888"/>
              <a:gd name="connsiteY10" fmla="*/ 83630 h 370808"/>
              <a:gd name="connsiteX11" fmla="*/ 234601 w 252888"/>
              <a:gd name="connsiteY11" fmla="*/ 83630 h 370808"/>
              <a:gd name="connsiteX12" fmla="*/ 234601 w 252888"/>
              <a:gd name="connsiteY12" fmla="*/ 350330 h 370808"/>
              <a:gd name="connsiteX13" fmla="*/ 214888 w 252888"/>
              <a:gd name="connsiteY13" fmla="*/ 370805 h 370808"/>
              <a:gd name="connsiteX14" fmla="*/ 214503 w 252888"/>
              <a:gd name="connsiteY14" fmla="*/ 370808 h 370808"/>
              <a:gd name="connsiteX15" fmla="*/ 42101 w 252888"/>
              <a:gd name="connsiteY15" fmla="*/ 370808 h 370808"/>
              <a:gd name="connsiteX16" fmla="*/ 21906 w 252888"/>
              <a:gd name="connsiteY16" fmla="*/ 350049 h 370808"/>
              <a:gd name="connsiteX17" fmla="*/ 21908 w 252888"/>
              <a:gd name="connsiteY17" fmla="*/ 349949 h 370808"/>
              <a:gd name="connsiteX18" fmla="*/ 21908 w 252888"/>
              <a:gd name="connsiteY18" fmla="*/ 83249 h 370808"/>
              <a:gd name="connsiteX19" fmla="*/ 14002 w 252888"/>
              <a:gd name="connsiteY19" fmla="*/ 83249 h 370808"/>
              <a:gd name="connsiteX20" fmla="*/ 0 w 252888"/>
              <a:gd name="connsiteY20" fmla="*/ 76200 h 370808"/>
              <a:gd name="connsiteX21" fmla="*/ 0 w 252888"/>
              <a:gd name="connsiteY21" fmla="*/ 37148 h 370808"/>
              <a:gd name="connsiteX22" fmla="*/ 14002 w 252888"/>
              <a:gd name="connsiteY22" fmla="*/ 29718 h 370808"/>
              <a:gd name="connsiteX23" fmla="*/ 238887 w 252888"/>
              <a:gd name="connsiteY23" fmla="*/ 29718 h 370808"/>
              <a:gd name="connsiteX24" fmla="*/ 252889 w 252888"/>
              <a:gd name="connsiteY24" fmla="*/ 37148 h 370808"/>
              <a:gd name="connsiteX25" fmla="*/ 105442 w 252888"/>
              <a:gd name="connsiteY25" fmla="*/ 91059 h 370808"/>
              <a:gd name="connsiteX26" fmla="*/ 109728 w 252888"/>
              <a:gd name="connsiteY26" fmla="*/ 91059 h 370808"/>
              <a:gd name="connsiteX27" fmla="*/ 109728 w 252888"/>
              <a:gd name="connsiteY27" fmla="*/ 85725 h 370808"/>
              <a:gd name="connsiteX28" fmla="*/ 145637 w 252888"/>
              <a:gd name="connsiteY28" fmla="*/ 85725 h 370808"/>
              <a:gd name="connsiteX29" fmla="*/ 145637 w 252888"/>
              <a:gd name="connsiteY29" fmla="*/ 91345 h 370808"/>
              <a:gd name="connsiteX30" fmla="*/ 149924 w 252888"/>
              <a:gd name="connsiteY30" fmla="*/ 91345 h 370808"/>
              <a:gd name="connsiteX31" fmla="*/ 149924 w 252888"/>
              <a:gd name="connsiteY31" fmla="*/ 81820 h 370808"/>
              <a:gd name="connsiteX32" fmla="*/ 105442 w 252888"/>
              <a:gd name="connsiteY32" fmla="*/ 81820 h 370808"/>
              <a:gd name="connsiteX33" fmla="*/ 197453 w 252888"/>
              <a:gd name="connsiteY33" fmla="*/ 101632 h 370808"/>
              <a:gd name="connsiteX34" fmla="*/ 189548 w 252888"/>
              <a:gd name="connsiteY34" fmla="*/ 97822 h 370808"/>
              <a:gd name="connsiteX35" fmla="*/ 63341 w 252888"/>
              <a:gd name="connsiteY35" fmla="*/ 97822 h 370808"/>
              <a:gd name="connsiteX36" fmla="*/ 55436 w 252888"/>
              <a:gd name="connsiteY36" fmla="*/ 101632 h 370808"/>
              <a:gd name="connsiteX37" fmla="*/ 55436 w 252888"/>
              <a:gd name="connsiteY37" fmla="*/ 123825 h 370808"/>
              <a:gd name="connsiteX38" fmla="*/ 63341 w 252888"/>
              <a:gd name="connsiteY38" fmla="*/ 128111 h 370808"/>
              <a:gd name="connsiteX39" fmla="*/ 67628 w 252888"/>
              <a:gd name="connsiteY39" fmla="*/ 128111 h 370808"/>
              <a:gd name="connsiteX40" fmla="*/ 67628 w 252888"/>
              <a:gd name="connsiteY40" fmla="*/ 277463 h 370808"/>
              <a:gd name="connsiteX41" fmla="*/ 78472 w 252888"/>
              <a:gd name="connsiteY41" fmla="*/ 289268 h 370808"/>
              <a:gd name="connsiteX42" fmla="*/ 79248 w 252888"/>
              <a:gd name="connsiteY42" fmla="*/ 289274 h 370808"/>
              <a:gd name="connsiteX43" fmla="*/ 176117 w 252888"/>
              <a:gd name="connsiteY43" fmla="*/ 289274 h 370808"/>
              <a:gd name="connsiteX44" fmla="*/ 187738 w 252888"/>
              <a:gd name="connsiteY44" fmla="*/ 277464 h 370808"/>
              <a:gd name="connsiteX45" fmla="*/ 187738 w 252888"/>
              <a:gd name="connsiteY45" fmla="*/ 277463 h 370808"/>
              <a:gd name="connsiteX46" fmla="*/ 187738 w 252888"/>
              <a:gd name="connsiteY46" fmla="*/ 128207 h 370808"/>
              <a:gd name="connsiteX47" fmla="*/ 189548 w 252888"/>
              <a:gd name="connsiteY47" fmla="*/ 128207 h 370808"/>
              <a:gd name="connsiteX48" fmla="*/ 197453 w 252888"/>
              <a:gd name="connsiteY48" fmla="*/ 123920 h 370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252888" h="370808">
                <a:moveTo>
                  <a:pt x="96298" y="17336"/>
                </a:moveTo>
                <a:lnTo>
                  <a:pt x="88392" y="17336"/>
                </a:lnTo>
                <a:lnTo>
                  <a:pt x="88392" y="0"/>
                </a:lnTo>
                <a:lnTo>
                  <a:pt x="168212" y="0"/>
                </a:lnTo>
                <a:lnTo>
                  <a:pt x="168212" y="17336"/>
                </a:lnTo>
                <a:lnTo>
                  <a:pt x="160306" y="17336"/>
                </a:lnTo>
                <a:lnTo>
                  <a:pt x="160306" y="7811"/>
                </a:lnTo>
                <a:lnTo>
                  <a:pt x="96298" y="7811"/>
                </a:lnTo>
                <a:close/>
                <a:moveTo>
                  <a:pt x="252889" y="37148"/>
                </a:moveTo>
                <a:lnTo>
                  <a:pt x="252889" y="76200"/>
                </a:lnTo>
                <a:cubicBezTo>
                  <a:pt x="252889" y="79248"/>
                  <a:pt x="246793" y="83630"/>
                  <a:pt x="238887" y="83630"/>
                </a:cubicBezTo>
                <a:lnTo>
                  <a:pt x="234601" y="83630"/>
                </a:lnTo>
                <a:lnTo>
                  <a:pt x="234601" y="350330"/>
                </a:lnTo>
                <a:cubicBezTo>
                  <a:pt x="234811" y="361427"/>
                  <a:pt x="225985" y="370594"/>
                  <a:pt x="214888" y="370805"/>
                </a:cubicBezTo>
                <a:cubicBezTo>
                  <a:pt x="214759" y="370807"/>
                  <a:pt x="214631" y="370808"/>
                  <a:pt x="214503" y="370808"/>
                </a:cubicBezTo>
                <a:lnTo>
                  <a:pt x="42101" y="370808"/>
                </a:lnTo>
                <a:cubicBezTo>
                  <a:pt x="30791" y="370652"/>
                  <a:pt x="21750" y="361358"/>
                  <a:pt x="21906" y="350049"/>
                </a:cubicBezTo>
                <a:cubicBezTo>
                  <a:pt x="21906" y="350016"/>
                  <a:pt x="21907" y="349982"/>
                  <a:pt x="21908" y="349949"/>
                </a:cubicBezTo>
                <a:lnTo>
                  <a:pt x="21908" y="83249"/>
                </a:lnTo>
                <a:lnTo>
                  <a:pt x="14002" y="83249"/>
                </a:lnTo>
                <a:cubicBezTo>
                  <a:pt x="6096" y="83630"/>
                  <a:pt x="0" y="79248"/>
                  <a:pt x="0" y="76200"/>
                </a:cubicBezTo>
                <a:lnTo>
                  <a:pt x="0" y="37148"/>
                </a:lnTo>
                <a:cubicBezTo>
                  <a:pt x="0" y="33433"/>
                  <a:pt x="6096" y="29718"/>
                  <a:pt x="14002" y="29718"/>
                </a:cubicBezTo>
                <a:lnTo>
                  <a:pt x="238887" y="29718"/>
                </a:lnTo>
                <a:cubicBezTo>
                  <a:pt x="246793" y="29718"/>
                  <a:pt x="252889" y="33433"/>
                  <a:pt x="252889" y="37148"/>
                </a:cubicBezTo>
                <a:moveTo>
                  <a:pt x="105442" y="91059"/>
                </a:moveTo>
                <a:lnTo>
                  <a:pt x="109728" y="91059"/>
                </a:lnTo>
                <a:lnTo>
                  <a:pt x="109728" y="85725"/>
                </a:lnTo>
                <a:lnTo>
                  <a:pt x="145637" y="85725"/>
                </a:lnTo>
                <a:lnTo>
                  <a:pt x="145637" y="91345"/>
                </a:lnTo>
                <a:lnTo>
                  <a:pt x="149924" y="91345"/>
                </a:lnTo>
                <a:lnTo>
                  <a:pt x="149924" y="81820"/>
                </a:lnTo>
                <a:lnTo>
                  <a:pt x="105442" y="81820"/>
                </a:lnTo>
                <a:close/>
                <a:moveTo>
                  <a:pt x="197453" y="101632"/>
                </a:moveTo>
                <a:cubicBezTo>
                  <a:pt x="197453" y="99727"/>
                  <a:pt x="194405" y="97822"/>
                  <a:pt x="189548" y="97822"/>
                </a:cubicBezTo>
                <a:lnTo>
                  <a:pt x="63341" y="97822"/>
                </a:lnTo>
                <a:cubicBezTo>
                  <a:pt x="59150" y="97822"/>
                  <a:pt x="55436" y="99727"/>
                  <a:pt x="55436" y="101632"/>
                </a:cubicBezTo>
                <a:lnTo>
                  <a:pt x="55436" y="123825"/>
                </a:lnTo>
                <a:cubicBezTo>
                  <a:pt x="55436" y="125635"/>
                  <a:pt x="59150" y="128111"/>
                  <a:pt x="63341" y="128111"/>
                </a:cubicBezTo>
                <a:lnTo>
                  <a:pt x="67628" y="128111"/>
                </a:lnTo>
                <a:lnTo>
                  <a:pt x="67628" y="277463"/>
                </a:lnTo>
                <a:cubicBezTo>
                  <a:pt x="67362" y="283718"/>
                  <a:pt x="72218" y="289003"/>
                  <a:pt x="78472" y="289268"/>
                </a:cubicBezTo>
                <a:cubicBezTo>
                  <a:pt x="78730" y="289279"/>
                  <a:pt x="78989" y="289281"/>
                  <a:pt x="79248" y="289274"/>
                </a:cubicBezTo>
                <a:lnTo>
                  <a:pt x="176117" y="289274"/>
                </a:lnTo>
                <a:cubicBezTo>
                  <a:pt x="182587" y="289222"/>
                  <a:pt x="187790" y="283934"/>
                  <a:pt x="187738" y="277464"/>
                </a:cubicBezTo>
                <a:cubicBezTo>
                  <a:pt x="187738" y="277464"/>
                  <a:pt x="187738" y="277464"/>
                  <a:pt x="187738" y="277463"/>
                </a:cubicBezTo>
                <a:lnTo>
                  <a:pt x="187738" y="128207"/>
                </a:lnTo>
                <a:lnTo>
                  <a:pt x="189548" y="128207"/>
                </a:lnTo>
                <a:cubicBezTo>
                  <a:pt x="194405" y="128207"/>
                  <a:pt x="197453" y="125730"/>
                  <a:pt x="197453" y="123920"/>
                </a:cubicBez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20" name="Grafik 22">
            <a:extLst>
              <a:ext uri="{FF2B5EF4-FFF2-40B4-BE49-F238E27FC236}">
                <a16:creationId xmlns:a16="http://schemas.microsoft.com/office/drawing/2014/main" id="{14BF02E5-82FD-4126-BC5A-868149CDD270}"/>
              </a:ext>
            </a:extLst>
          </p:cNvPr>
          <p:cNvSpPr/>
          <p:nvPr/>
        </p:nvSpPr>
        <p:spPr>
          <a:xfrm>
            <a:off x="9694782" y="1302032"/>
            <a:ext cx="474140" cy="458269"/>
          </a:xfrm>
          <a:custGeom>
            <a:avLst/>
            <a:gdLst>
              <a:gd name="connsiteX0" fmla="*/ 160020 w 404050"/>
              <a:gd name="connsiteY0" fmla="*/ 147828 h 390525"/>
              <a:gd name="connsiteX1" fmla="*/ 163354 w 404050"/>
              <a:gd name="connsiteY1" fmla="*/ 149828 h 390525"/>
              <a:gd name="connsiteX2" fmla="*/ 166688 w 404050"/>
              <a:gd name="connsiteY2" fmla="*/ 149828 h 390525"/>
              <a:gd name="connsiteX3" fmla="*/ 170021 w 404050"/>
              <a:gd name="connsiteY3" fmla="*/ 149162 h 390525"/>
              <a:gd name="connsiteX4" fmla="*/ 173355 w 404050"/>
              <a:gd name="connsiteY4" fmla="*/ 147161 h 390525"/>
              <a:gd name="connsiteX5" fmla="*/ 174022 w 404050"/>
              <a:gd name="connsiteY5" fmla="*/ 146495 h 390525"/>
              <a:gd name="connsiteX6" fmla="*/ 174689 w 404050"/>
              <a:gd name="connsiteY6" fmla="*/ 145828 h 390525"/>
              <a:gd name="connsiteX7" fmla="*/ 182594 w 404050"/>
              <a:gd name="connsiteY7" fmla="*/ 152591 h 390525"/>
              <a:gd name="connsiteX8" fmla="*/ 178689 w 404050"/>
              <a:gd name="connsiteY8" fmla="*/ 154591 h 390525"/>
              <a:gd name="connsiteX9" fmla="*/ 174022 w 404050"/>
              <a:gd name="connsiteY9" fmla="*/ 152591 h 390525"/>
              <a:gd name="connsiteX10" fmla="*/ 170021 w 404050"/>
              <a:gd name="connsiteY10" fmla="*/ 157925 h 390525"/>
              <a:gd name="connsiteX11" fmla="*/ 178689 w 404050"/>
              <a:gd name="connsiteY11" fmla="*/ 160687 h 390525"/>
              <a:gd name="connsiteX12" fmla="*/ 186595 w 404050"/>
              <a:gd name="connsiteY12" fmla="*/ 156591 h 390525"/>
              <a:gd name="connsiteX13" fmla="*/ 189929 w 404050"/>
              <a:gd name="connsiteY13" fmla="*/ 159258 h 390525"/>
              <a:gd name="connsiteX14" fmla="*/ 191929 w 404050"/>
              <a:gd name="connsiteY14" fmla="*/ 157258 h 390525"/>
              <a:gd name="connsiteX15" fmla="*/ 188595 w 404050"/>
              <a:gd name="connsiteY15" fmla="*/ 154591 h 390525"/>
              <a:gd name="connsiteX16" fmla="*/ 191262 w 404050"/>
              <a:gd name="connsiteY16" fmla="*/ 148495 h 390525"/>
              <a:gd name="connsiteX17" fmla="*/ 191929 w 404050"/>
              <a:gd name="connsiteY17" fmla="*/ 143828 h 390525"/>
              <a:gd name="connsiteX18" fmla="*/ 190595 w 404050"/>
              <a:gd name="connsiteY18" fmla="*/ 140399 h 390525"/>
              <a:gd name="connsiteX19" fmla="*/ 188595 w 404050"/>
              <a:gd name="connsiteY19" fmla="*/ 138398 h 390525"/>
              <a:gd name="connsiteX20" fmla="*/ 186595 w 404050"/>
              <a:gd name="connsiteY20" fmla="*/ 136398 h 390525"/>
              <a:gd name="connsiteX21" fmla="*/ 183261 w 404050"/>
              <a:gd name="connsiteY21" fmla="*/ 135636 h 390525"/>
              <a:gd name="connsiteX22" fmla="*/ 179356 w 404050"/>
              <a:gd name="connsiteY22" fmla="*/ 135636 h 390525"/>
              <a:gd name="connsiteX23" fmla="*/ 174022 w 404050"/>
              <a:gd name="connsiteY23" fmla="*/ 138398 h 390525"/>
              <a:gd name="connsiteX24" fmla="*/ 172688 w 404050"/>
              <a:gd name="connsiteY24" fmla="*/ 139065 h 390525"/>
              <a:gd name="connsiteX25" fmla="*/ 172022 w 404050"/>
              <a:gd name="connsiteY25" fmla="*/ 139732 h 390525"/>
              <a:gd name="connsiteX26" fmla="*/ 165354 w 404050"/>
              <a:gd name="connsiteY26" fmla="*/ 134303 h 390525"/>
              <a:gd name="connsiteX27" fmla="*/ 168021 w 404050"/>
              <a:gd name="connsiteY27" fmla="*/ 132969 h 390525"/>
              <a:gd name="connsiteX28" fmla="*/ 171355 w 404050"/>
              <a:gd name="connsiteY28" fmla="*/ 134303 h 390525"/>
              <a:gd name="connsiteX29" fmla="*/ 176022 w 404050"/>
              <a:gd name="connsiteY29" fmla="*/ 128969 h 390525"/>
              <a:gd name="connsiteX30" fmla="*/ 172022 w 404050"/>
              <a:gd name="connsiteY30" fmla="*/ 126873 h 390525"/>
              <a:gd name="connsiteX31" fmla="*/ 168021 w 404050"/>
              <a:gd name="connsiteY31" fmla="*/ 126206 h 390525"/>
              <a:gd name="connsiteX32" fmla="*/ 164687 w 404050"/>
              <a:gd name="connsiteY32" fmla="*/ 127540 h 390525"/>
              <a:gd name="connsiteX33" fmla="*/ 161354 w 404050"/>
              <a:gd name="connsiteY33" fmla="*/ 130302 h 390525"/>
              <a:gd name="connsiteX34" fmla="*/ 158020 w 404050"/>
              <a:gd name="connsiteY34" fmla="*/ 127540 h 390525"/>
              <a:gd name="connsiteX35" fmla="*/ 156781 w 404050"/>
              <a:gd name="connsiteY35" fmla="*/ 130302 h 390525"/>
              <a:gd name="connsiteX36" fmla="*/ 159353 w 404050"/>
              <a:gd name="connsiteY36" fmla="*/ 132302 h 390525"/>
              <a:gd name="connsiteX37" fmla="*/ 157353 w 404050"/>
              <a:gd name="connsiteY37" fmla="*/ 136398 h 390525"/>
              <a:gd name="connsiteX38" fmla="*/ 156020 w 404050"/>
              <a:gd name="connsiteY38" fmla="*/ 140399 h 390525"/>
              <a:gd name="connsiteX39" fmla="*/ 157353 w 404050"/>
              <a:gd name="connsiteY39" fmla="*/ 144494 h 390525"/>
              <a:gd name="connsiteX40" fmla="*/ 160020 w 404050"/>
              <a:gd name="connsiteY40" fmla="*/ 147828 h 390525"/>
              <a:gd name="connsiteX41" fmla="*/ 180975 w 404050"/>
              <a:gd name="connsiteY41" fmla="*/ 142875 h 390525"/>
              <a:gd name="connsiteX42" fmla="*/ 183642 w 404050"/>
              <a:gd name="connsiteY42" fmla="*/ 143542 h 390525"/>
              <a:gd name="connsiteX43" fmla="*/ 184976 w 404050"/>
              <a:gd name="connsiteY43" fmla="*/ 145637 h 390525"/>
              <a:gd name="connsiteX44" fmla="*/ 184976 w 404050"/>
              <a:gd name="connsiteY44" fmla="*/ 147638 h 390525"/>
              <a:gd name="connsiteX45" fmla="*/ 184976 w 404050"/>
              <a:gd name="connsiteY45" fmla="*/ 149638 h 390525"/>
              <a:gd name="connsiteX46" fmla="*/ 183642 w 404050"/>
              <a:gd name="connsiteY46" fmla="*/ 150971 h 390525"/>
              <a:gd name="connsiteX47" fmla="*/ 177070 w 404050"/>
              <a:gd name="connsiteY47" fmla="*/ 144971 h 390525"/>
              <a:gd name="connsiteX48" fmla="*/ 180975 w 404050"/>
              <a:gd name="connsiteY48" fmla="*/ 142875 h 390525"/>
              <a:gd name="connsiteX49" fmla="*/ 161925 w 404050"/>
              <a:gd name="connsiteY49" fmla="*/ 139541 h 390525"/>
              <a:gd name="connsiteX50" fmla="*/ 162592 w 404050"/>
              <a:gd name="connsiteY50" fmla="*/ 138208 h 390525"/>
              <a:gd name="connsiteX51" fmla="*/ 163259 w 404050"/>
              <a:gd name="connsiteY51" fmla="*/ 136874 h 390525"/>
              <a:gd name="connsiteX52" fmla="*/ 169259 w 404050"/>
              <a:gd name="connsiteY52" fmla="*/ 142208 h 390525"/>
              <a:gd name="connsiteX53" fmla="*/ 165926 w 404050"/>
              <a:gd name="connsiteY53" fmla="*/ 143542 h 390525"/>
              <a:gd name="connsiteX54" fmla="*/ 163925 w 404050"/>
              <a:gd name="connsiteY54" fmla="*/ 142875 h 390525"/>
              <a:gd name="connsiteX55" fmla="*/ 162592 w 404050"/>
              <a:gd name="connsiteY55" fmla="*/ 141542 h 390525"/>
              <a:gd name="connsiteX56" fmla="*/ 161925 w 404050"/>
              <a:gd name="connsiteY56" fmla="*/ 139541 h 390525"/>
              <a:gd name="connsiteX57" fmla="*/ 204502 w 404050"/>
              <a:gd name="connsiteY57" fmla="*/ 161830 h 390525"/>
              <a:gd name="connsiteX58" fmla="*/ 205740 w 404050"/>
              <a:gd name="connsiteY58" fmla="*/ 160496 h 390525"/>
              <a:gd name="connsiteX59" fmla="*/ 201835 w 404050"/>
              <a:gd name="connsiteY59" fmla="*/ 150305 h 390525"/>
              <a:gd name="connsiteX60" fmla="*/ 205073 w 404050"/>
              <a:gd name="connsiteY60" fmla="*/ 140208 h 390525"/>
              <a:gd name="connsiteX61" fmla="*/ 213074 w 404050"/>
              <a:gd name="connsiteY61" fmla="*/ 135446 h 390525"/>
              <a:gd name="connsiteX62" fmla="*/ 215741 w 404050"/>
              <a:gd name="connsiteY62" fmla="*/ 141542 h 390525"/>
              <a:gd name="connsiteX63" fmla="*/ 209741 w 404050"/>
              <a:gd name="connsiteY63" fmla="*/ 144971 h 390525"/>
              <a:gd name="connsiteX64" fmla="*/ 210407 w 404050"/>
              <a:gd name="connsiteY64" fmla="*/ 154496 h 390525"/>
              <a:gd name="connsiteX65" fmla="*/ 218408 w 404050"/>
              <a:gd name="connsiteY65" fmla="*/ 145733 h 390525"/>
              <a:gd name="connsiteX66" fmla="*/ 219742 w 404050"/>
              <a:gd name="connsiteY66" fmla="*/ 149066 h 390525"/>
              <a:gd name="connsiteX67" fmla="*/ 212408 w 404050"/>
              <a:gd name="connsiteY67" fmla="*/ 157163 h 390525"/>
              <a:gd name="connsiteX68" fmla="*/ 214408 w 404050"/>
              <a:gd name="connsiteY68" fmla="*/ 159163 h 390525"/>
              <a:gd name="connsiteX69" fmla="*/ 221075 w 404050"/>
              <a:gd name="connsiteY69" fmla="*/ 151067 h 390525"/>
              <a:gd name="connsiteX70" fmla="*/ 222409 w 404050"/>
              <a:gd name="connsiteY70" fmla="*/ 154496 h 390525"/>
              <a:gd name="connsiteX71" fmla="*/ 217075 w 404050"/>
              <a:gd name="connsiteY71" fmla="*/ 161258 h 390525"/>
              <a:gd name="connsiteX72" fmla="*/ 227743 w 404050"/>
              <a:gd name="connsiteY72" fmla="*/ 160592 h 390525"/>
              <a:gd name="connsiteX73" fmla="*/ 230315 w 404050"/>
              <a:gd name="connsiteY73" fmla="*/ 152495 h 390525"/>
              <a:gd name="connsiteX74" fmla="*/ 235649 w 404050"/>
              <a:gd name="connsiteY74" fmla="*/ 157829 h 390525"/>
              <a:gd name="connsiteX75" fmla="*/ 232315 w 404050"/>
              <a:gd name="connsiteY75" fmla="*/ 164592 h 390525"/>
              <a:gd name="connsiteX76" fmla="*/ 222790 w 404050"/>
              <a:gd name="connsiteY76" fmla="*/ 169354 h 390525"/>
              <a:gd name="connsiteX77" fmla="*/ 212122 w 404050"/>
              <a:gd name="connsiteY77" fmla="*/ 166592 h 390525"/>
              <a:gd name="connsiteX78" fmla="*/ 209455 w 404050"/>
              <a:gd name="connsiteY78" fmla="*/ 169355 h 390525"/>
              <a:gd name="connsiteX79" fmla="*/ 208121 w 404050"/>
              <a:gd name="connsiteY79" fmla="*/ 165926 h 390525"/>
              <a:gd name="connsiteX80" fmla="*/ 209455 w 404050"/>
              <a:gd name="connsiteY80" fmla="*/ 164592 h 390525"/>
              <a:gd name="connsiteX81" fmla="*/ 208121 w 404050"/>
              <a:gd name="connsiteY81" fmla="*/ 163259 h 390525"/>
              <a:gd name="connsiteX82" fmla="*/ 207836 w 404050"/>
              <a:gd name="connsiteY82" fmla="*/ 161925 h 390525"/>
              <a:gd name="connsiteX83" fmla="*/ 205835 w 404050"/>
              <a:gd name="connsiteY83" fmla="*/ 165259 h 390525"/>
              <a:gd name="connsiteX84" fmla="*/ 185452 w 404050"/>
              <a:gd name="connsiteY84" fmla="*/ 192881 h 390525"/>
              <a:gd name="connsiteX85" fmla="*/ 166878 w 404050"/>
              <a:gd name="connsiteY85" fmla="*/ 188786 h 390525"/>
              <a:gd name="connsiteX86" fmla="*/ 170879 w 404050"/>
              <a:gd name="connsiteY86" fmla="*/ 184118 h 390525"/>
              <a:gd name="connsiteX87" fmla="*/ 187452 w 404050"/>
              <a:gd name="connsiteY87" fmla="*/ 188119 h 390525"/>
              <a:gd name="connsiteX88" fmla="*/ 180975 w 404050"/>
              <a:gd name="connsiteY88" fmla="*/ 171450 h 390525"/>
              <a:gd name="connsiteX89" fmla="*/ 184880 w 404050"/>
              <a:gd name="connsiteY89" fmla="*/ 167450 h 390525"/>
              <a:gd name="connsiteX90" fmla="*/ 191548 w 404050"/>
              <a:gd name="connsiteY90" fmla="*/ 185642 h 390525"/>
              <a:gd name="connsiteX91" fmla="*/ 194881 w 404050"/>
              <a:gd name="connsiteY91" fmla="*/ 181547 h 390525"/>
              <a:gd name="connsiteX92" fmla="*/ 197549 w 404050"/>
              <a:gd name="connsiteY92" fmla="*/ 183642 h 390525"/>
              <a:gd name="connsiteX93" fmla="*/ 192881 w 404050"/>
              <a:gd name="connsiteY93" fmla="*/ 188976 h 390525"/>
              <a:gd name="connsiteX94" fmla="*/ 195548 w 404050"/>
              <a:gd name="connsiteY94" fmla="*/ 191072 h 390525"/>
              <a:gd name="connsiteX95" fmla="*/ 200216 w 404050"/>
              <a:gd name="connsiteY95" fmla="*/ 186309 h 390525"/>
              <a:gd name="connsiteX96" fmla="*/ 202216 w 404050"/>
              <a:gd name="connsiteY96" fmla="*/ 188309 h 390525"/>
              <a:gd name="connsiteX97" fmla="*/ 198215 w 404050"/>
              <a:gd name="connsiteY97" fmla="*/ 193072 h 390525"/>
              <a:gd name="connsiteX98" fmla="*/ 204216 w 404050"/>
              <a:gd name="connsiteY98" fmla="*/ 198501 h 390525"/>
              <a:gd name="connsiteX99" fmla="*/ 200216 w 404050"/>
              <a:gd name="connsiteY99" fmla="*/ 202502 h 390525"/>
              <a:gd name="connsiteX100" fmla="*/ 194215 w 404050"/>
              <a:gd name="connsiteY100" fmla="*/ 197072 h 390525"/>
              <a:gd name="connsiteX101" fmla="*/ 190214 w 404050"/>
              <a:gd name="connsiteY101" fmla="*/ 202502 h 390525"/>
              <a:gd name="connsiteX102" fmla="*/ 187547 w 404050"/>
              <a:gd name="connsiteY102" fmla="*/ 200501 h 390525"/>
              <a:gd name="connsiteX103" fmla="*/ 192215 w 404050"/>
              <a:gd name="connsiteY103" fmla="*/ 195072 h 390525"/>
              <a:gd name="connsiteX104" fmla="*/ 189548 w 404050"/>
              <a:gd name="connsiteY104" fmla="*/ 193072 h 390525"/>
              <a:gd name="connsiteX105" fmla="*/ 184880 w 404050"/>
              <a:gd name="connsiteY105" fmla="*/ 198501 h 390525"/>
              <a:gd name="connsiteX106" fmla="*/ 182880 w 404050"/>
              <a:gd name="connsiteY106" fmla="*/ 196406 h 390525"/>
              <a:gd name="connsiteX107" fmla="*/ 336233 w 404050"/>
              <a:gd name="connsiteY107" fmla="*/ 132112 h 390525"/>
              <a:gd name="connsiteX108" fmla="*/ 345758 w 404050"/>
              <a:gd name="connsiteY108" fmla="*/ 131445 h 390525"/>
              <a:gd name="connsiteX109" fmla="*/ 402908 w 404050"/>
              <a:gd name="connsiteY109" fmla="*/ 117920 h 390525"/>
              <a:gd name="connsiteX110" fmla="*/ 402908 w 404050"/>
              <a:gd name="connsiteY110" fmla="*/ 128016 h 390525"/>
              <a:gd name="connsiteX111" fmla="*/ 345186 w 404050"/>
              <a:gd name="connsiteY111" fmla="*/ 145637 h 390525"/>
              <a:gd name="connsiteX112" fmla="*/ 279368 w 404050"/>
              <a:gd name="connsiteY112" fmla="*/ 128016 h 390525"/>
              <a:gd name="connsiteX113" fmla="*/ 279368 w 404050"/>
              <a:gd name="connsiteY113" fmla="*/ 119253 h 390525"/>
              <a:gd name="connsiteX114" fmla="*/ 336518 w 404050"/>
              <a:gd name="connsiteY114" fmla="*/ 132112 h 390525"/>
              <a:gd name="connsiteX115" fmla="*/ 336518 w 404050"/>
              <a:gd name="connsiteY115" fmla="*/ 153067 h 390525"/>
              <a:gd name="connsiteX116" fmla="*/ 346043 w 404050"/>
              <a:gd name="connsiteY116" fmla="*/ 152400 h 390525"/>
              <a:gd name="connsiteX117" fmla="*/ 403193 w 404050"/>
              <a:gd name="connsiteY117" fmla="*/ 138875 h 390525"/>
              <a:gd name="connsiteX118" fmla="*/ 403193 w 404050"/>
              <a:gd name="connsiteY118" fmla="*/ 148971 h 390525"/>
              <a:gd name="connsiteX119" fmla="*/ 345472 w 404050"/>
              <a:gd name="connsiteY119" fmla="*/ 166497 h 390525"/>
              <a:gd name="connsiteX120" fmla="*/ 279654 w 404050"/>
              <a:gd name="connsiteY120" fmla="*/ 148971 h 390525"/>
              <a:gd name="connsiteX121" fmla="*/ 279654 w 404050"/>
              <a:gd name="connsiteY121" fmla="*/ 140208 h 390525"/>
              <a:gd name="connsiteX122" fmla="*/ 336804 w 404050"/>
              <a:gd name="connsiteY122" fmla="*/ 153067 h 390525"/>
              <a:gd name="connsiteX123" fmla="*/ 336804 w 404050"/>
              <a:gd name="connsiteY123" fmla="*/ 173927 h 390525"/>
              <a:gd name="connsiteX124" fmla="*/ 346329 w 404050"/>
              <a:gd name="connsiteY124" fmla="*/ 173260 h 390525"/>
              <a:gd name="connsiteX125" fmla="*/ 403479 w 404050"/>
              <a:gd name="connsiteY125" fmla="*/ 159734 h 390525"/>
              <a:gd name="connsiteX126" fmla="*/ 403479 w 404050"/>
              <a:gd name="connsiteY126" fmla="*/ 169926 h 390525"/>
              <a:gd name="connsiteX127" fmla="*/ 345758 w 404050"/>
              <a:gd name="connsiteY127" fmla="*/ 187452 h 390525"/>
              <a:gd name="connsiteX128" fmla="*/ 279940 w 404050"/>
              <a:gd name="connsiteY128" fmla="*/ 169926 h 390525"/>
              <a:gd name="connsiteX129" fmla="*/ 279940 w 404050"/>
              <a:gd name="connsiteY129" fmla="*/ 161163 h 390525"/>
              <a:gd name="connsiteX130" fmla="*/ 337090 w 404050"/>
              <a:gd name="connsiteY130" fmla="*/ 173927 h 390525"/>
              <a:gd name="connsiteX131" fmla="*/ 337090 w 404050"/>
              <a:gd name="connsiteY131" fmla="*/ 194881 h 390525"/>
              <a:gd name="connsiteX132" fmla="*/ 346615 w 404050"/>
              <a:gd name="connsiteY132" fmla="*/ 194215 h 390525"/>
              <a:gd name="connsiteX133" fmla="*/ 403765 w 404050"/>
              <a:gd name="connsiteY133" fmla="*/ 180689 h 390525"/>
              <a:gd name="connsiteX134" fmla="*/ 403765 w 404050"/>
              <a:gd name="connsiteY134" fmla="*/ 190500 h 390525"/>
              <a:gd name="connsiteX135" fmla="*/ 346043 w 404050"/>
              <a:gd name="connsiteY135" fmla="*/ 208121 h 390525"/>
              <a:gd name="connsiteX136" fmla="*/ 280226 w 404050"/>
              <a:gd name="connsiteY136" fmla="*/ 190500 h 390525"/>
              <a:gd name="connsiteX137" fmla="*/ 280226 w 404050"/>
              <a:gd name="connsiteY137" fmla="*/ 181737 h 390525"/>
              <a:gd name="connsiteX138" fmla="*/ 337375 w 404050"/>
              <a:gd name="connsiteY138" fmla="*/ 194596 h 390525"/>
              <a:gd name="connsiteX139" fmla="*/ 337375 w 404050"/>
              <a:gd name="connsiteY139" fmla="*/ 215551 h 390525"/>
              <a:gd name="connsiteX140" fmla="*/ 346900 w 404050"/>
              <a:gd name="connsiteY140" fmla="*/ 214884 h 390525"/>
              <a:gd name="connsiteX141" fmla="*/ 404050 w 404050"/>
              <a:gd name="connsiteY141" fmla="*/ 201359 h 390525"/>
              <a:gd name="connsiteX142" fmla="*/ 404050 w 404050"/>
              <a:gd name="connsiteY142" fmla="*/ 211455 h 390525"/>
              <a:gd name="connsiteX143" fmla="*/ 346329 w 404050"/>
              <a:gd name="connsiteY143" fmla="*/ 228981 h 390525"/>
              <a:gd name="connsiteX144" fmla="*/ 280511 w 404050"/>
              <a:gd name="connsiteY144" fmla="*/ 211455 h 390525"/>
              <a:gd name="connsiteX145" fmla="*/ 280511 w 404050"/>
              <a:gd name="connsiteY145" fmla="*/ 202692 h 390525"/>
              <a:gd name="connsiteX146" fmla="*/ 337661 w 404050"/>
              <a:gd name="connsiteY146" fmla="*/ 215551 h 390525"/>
              <a:gd name="connsiteX147" fmla="*/ 336995 w 404050"/>
              <a:gd name="connsiteY147" fmla="*/ 236411 h 390525"/>
              <a:gd name="connsiteX148" fmla="*/ 346520 w 404050"/>
              <a:gd name="connsiteY148" fmla="*/ 235744 h 390525"/>
              <a:gd name="connsiteX149" fmla="*/ 403670 w 404050"/>
              <a:gd name="connsiteY149" fmla="*/ 222314 h 390525"/>
              <a:gd name="connsiteX150" fmla="*/ 403670 w 404050"/>
              <a:gd name="connsiteY150" fmla="*/ 232410 h 390525"/>
              <a:gd name="connsiteX151" fmla="*/ 345948 w 404050"/>
              <a:gd name="connsiteY151" fmla="*/ 249936 h 390525"/>
              <a:gd name="connsiteX152" fmla="*/ 280130 w 404050"/>
              <a:gd name="connsiteY152" fmla="*/ 232410 h 390525"/>
              <a:gd name="connsiteX153" fmla="*/ 280130 w 404050"/>
              <a:gd name="connsiteY153" fmla="*/ 223647 h 390525"/>
              <a:gd name="connsiteX154" fmla="*/ 336614 w 404050"/>
              <a:gd name="connsiteY154" fmla="*/ 236411 h 390525"/>
              <a:gd name="connsiteX155" fmla="*/ 336614 w 404050"/>
              <a:gd name="connsiteY155" fmla="*/ 278321 h 390525"/>
              <a:gd name="connsiteX156" fmla="*/ 346139 w 404050"/>
              <a:gd name="connsiteY156" fmla="*/ 277654 h 390525"/>
              <a:gd name="connsiteX157" fmla="*/ 403289 w 404050"/>
              <a:gd name="connsiteY157" fmla="*/ 264128 h 390525"/>
              <a:gd name="connsiteX158" fmla="*/ 403289 w 404050"/>
              <a:gd name="connsiteY158" fmla="*/ 274225 h 390525"/>
              <a:gd name="connsiteX159" fmla="*/ 345567 w 404050"/>
              <a:gd name="connsiteY159" fmla="*/ 291846 h 390525"/>
              <a:gd name="connsiteX160" fmla="*/ 279749 w 404050"/>
              <a:gd name="connsiteY160" fmla="*/ 274225 h 390525"/>
              <a:gd name="connsiteX161" fmla="*/ 279749 w 404050"/>
              <a:gd name="connsiteY161" fmla="*/ 265462 h 390525"/>
              <a:gd name="connsiteX162" fmla="*/ 336233 w 404050"/>
              <a:gd name="connsiteY162" fmla="*/ 278321 h 390525"/>
              <a:gd name="connsiteX163" fmla="*/ 336233 w 404050"/>
              <a:gd name="connsiteY163" fmla="*/ 320135 h 390525"/>
              <a:gd name="connsiteX164" fmla="*/ 345758 w 404050"/>
              <a:gd name="connsiteY164" fmla="*/ 319469 h 390525"/>
              <a:gd name="connsiteX165" fmla="*/ 402908 w 404050"/>
              <a:gd name="connsiteY165" fmla="*/ 305943 h 390525"/>
              <a:gd name="connsiteX166" fmla="*/ 402908 w 404050"/>
              <a:gd name="connsiteY166" fmla="*/ 316135 h 390525"/>
              <a:gd name="connsiteX167" fmla="*/ 345186 w 404050"/>
              <a:gd name="connsiteY167" fmla="*/ 333661 h 390525"/>
              <a:gd name="connsiteX168" fmla="*/ 279368 w 404050"/>
              <a:gd name="connsiteY168" fmla="*/ 316135 h 390525"/>
              <a:gd name="connsiteX169" fmla="*/ 279368 w 404050"/>
              <a:gd name="connsiteY169" fmla="*/ 308039 h 390525"/>
              <a:gd name="connsiteX170" fmla="*/ 335851 w 404050"/>
              <a:gd name="connsiteY170" fmla="*/ 320135 h 390525"/>
              <a:gd name="connsiteX171" fmla="*/ 335851 w 404050"/>
              <a:gd name="connsiteY171" fmla="*/ 299180 h 390525"/>
              <a:gd name="connsiteX172" fmla="*/ 345376 w 404050"/>
              <a:gd name="connsiteY172" fmla="*/ 298514 h 390525"/>
              <a:gd name="connsiteX173" fmla="*/ 402526 w 404050"/>
              <a:gd name="connsiteY173" fmla="*/ 285083 h 390525"/>
              <a:gd name="connsiteX174" fmla="*/ 402526 w 404050"/>
              <a:gd name="connsiteY174" fmla="*/ 295275 h 390525"/>
              <a:gd name="connsiteX175" fmla="*/ 344805 w 404050"/>
              <a:gd name="connsiteY175" fmla="*/ 312801 h 390525"/>
              <a:gd name="connsiteX176" fmla="*/ 278987 w 404050"/>
              <a:gd name="connsiteY176" fmla="*/ 295275 h 390525"/>
              <a:gd name="connsiteX177" fmla="*/ 278987 w 404050"/>
              <a:gd name="connsiteY177" fmla="*/ 286512 h 390525"/>
              <a:gd name="connsiteX178" fmla="*/ 335471 w 404050"/>
              <a:gd name="connsiteY178" fmla="*/ 299276 h 390525"/>
              <a:gd name="connsiteX179" fmla="*/ 335471 w 404050"/>
              <a:gd name="connsiteY179" fmla="*/ 257461 h 390525"/>
              <a:gd name="connsiteX180" fmla="*/ 344996 w 404050"/>
              <a:gd name="connsiteY180" fmla="*/ 256794 h 390525"/>
              <a:gd name="connsiteX181" fmla="*/ 402146 w 404050"/>
              <a:gd name="connsiteY181" fmla="*/ 243269 h 390525"/>
              <a:gd name="connsiteX182" fmla="*/ 402146 w 404050"/>
              <a:gd name="connsiteY182" fmla="*/ 253460 h 390525"/>
              <a:gd name="connsiteX183" fmla="*/ 344424 w 404050"/>
              <a:gd name="connsiteY183" fmla="*/ 270986 h 390525"/>
              <a:gd name="connsiteX184" fmla="*/ 278606 w 404050"/>
              <a:gd name="connsiteY184" fmla="*/ 253460 h 390525"/>
              <a:gd name="connsiteX185" fmla="*/ 278606 w 404050"/>
              <a:gd name="connsiteY185" fmla="*/ 244602 h 390525"/>
              <a:gd name="connsiteX186" fmla="*/ 335090 w 404050"/>
              <a:gd name="connsiteY186" fmla="*/ 257461 h 390525"/>
              <a:gd name="connsiteX187" fmla="*/ 335090 w 404050"/>
              <a:gd name="connsiteY187" fmla="*/ 341186 h 390525"/>
              <a:gd name="connsiteX188" fmla="*/ 344615 w 404050"/>
              <a:gd name="connsiteY188" fmla="*/ 340519 h 390525"/>
              <a:gd name="connsiteX189" fmla="*/ 401765 w 404050"/>
              <a:gd name="connsiteY189" fmla="*/ 326993 h 390525"/>
              <a:gd name="connsiteX190" fmla="*/ 401765 w 404050"/>
              <a:gd name="connsiteY190" fmla="*/ 337090 h 390525"/>
              <a:gd name="connsiteX191" fmla="*/ 344043 w 404050"/>
              <a:gd name="connsiteY191" fmla="*/ 354711 h 390525"/>
              <a:gd name="connsiteX192" fmla="*/ 278225 w 404050"/>
              <a:gd name="connsiteY192" fmla="*/ 337090 h 390525"/>
              <a:gd name="connsiteX193" fmla="*/ 278225 w 404050"/>
              <a:gd name="connsiteY193" fmla="*/ 328994 h 390525"/>
              <a:gd name="connsiteX194" fmla="*/ 334709 w 404050"/>
              <a:gd name="connsiteY194" fmla="*/ 341186 h 390525"/>
              <a:gd name="connsiteX195" fmla="*/ 335375 w 404050"/>
              <a:gd name="connsiteY195" fmla="*/ 362141 h 390525"/>
              <a:gd name="connsiteX196" fmla="*/ 344900 w 404050"/>
              <a:gd name="connsiteY196" fmla="*/ 361379 h 390525"/>
              <a:gd name="connsiteX197" fmla="*/ 402050 w 404050"/>
              <a:gd name="connsiteY197" fmla="*/ 347948 h 390525"/>
              <a:gd name="connsiteX198" fmla="*/ 402050 w 404050"/>
              <a:gd name="connsiteY198" fmla="*/ 358045 h 390525"/>
              <a:gd name="connsiteX199" fmla="*/ 344329 w 404050"/>
              <a:gd name="connsiteY199" fmla="*/ 375571 h 390525"/>
              <a:gd name="connsiteX200" fmla="*/ 278511 w 404050"/>
              <a:gd name="connsiteY200" fmla="*/ 358045 h 390525"/>
              <a:gd name="connsiteX201" fmla="*/ 278511 w 404050"/>
              <a:gd name="connsiteY201" fmla="*/ 349949 h 390525"/>
              <a:gd name="connsiteX202" fmla="*/ 335661 w 404050"/>
              <a:gd name="connsiteY202" fmla="*/ 362141 h 390525"/>
              <a:gd name="connsiteX203" fmla="*/ 269939 w 404050"/>
              <a:gd name="connsiteY203" fmla="*/ 100870 h 390525"/>
              <a:gd name="connsiteX204" fmla="*/ 269939 w 404050"/>
              <a:gd name="connsiteY204" fmla="*/ 100870 h 390525"/>
              <a:gd name="connsiteX205" fmla="*/ 271939 w 404050"/>
              <a:gd name="connsiteY205" fmla="*/ 96774 h 390525"/>
              <a:gd name="connsiteX206" fmla="*/ 344996 w 404050"/>
              <a:gd name="connsiteY206" fmla="*/ 79915 h 390525"/>
              <a:gd name="connsiteX207" fmla="*/ 354521 w 404050"/>
              <a:gd name="connsiteY207" fmla="*/ 80582 h 390525"/>
              <a:gd name="connsiteX208" fmla="*/ 250412 w 404050"/>
              <a:gd name="connsiteY208" fmla="*/ 0 h 390525"/>
              <a:gd name="connsiteX209" fmla="*/ 0 w 404050"/>
              <a:gd name="connsiteY209" fmla="*/ 214027 h 390525"/>
              <a:gd name="connsiteX210" fmla="*/ 129540 w 404050"/>
              <a:gd name="connsiteY210" fmla="*/ 313182 h 390525"/>
              <a:gd name="connsiteX211" fmla="*/ 270320 w 404050"/>
              <a:gd name="connsiteY211" fmla="*/ 190500 h 390525"/>
              <a:gd name="connsiteX212" fmla="*/ 217837 w 404050"/>
              <a:gd name="connsiteY212" fmla="*/ 209550 h 390525"/>
              <a:gd name="connsiteX213" fmla="*/ 139926 w 404050"/>
              <a:gd name="connsiteY213" fmla="*/ 188052 h 390525"/>
              <a:gd name="connsiteX214" fmla="*/ 138779 w 404050"/>
              <a:gd name="connsiteY214" fmla="*/ 185928 h 390525"/>
              <a:gd name="connsiteX215" fmla="*/ 158687 w 404050"/>
              <a:gd name="connsiteY215" fmla="*/ 104775 h 390525"/>
              <a:gd name="connsiteX216" fmla="*/ 236233 w 404050"/>
              <a:gd name="connsiteY216" fmla="*/ 127552 h 390525"/>
              <a:gd name="connsiteX217" fmla="*/ 237077 w 404050"/>
              <a:gd name="connsiteY217" fmla="*/ 129159 h 390525"/>
              <a:gd name="connsiteX218" fmla="*/ 218027 w 404050"/>
              <a:gd name="connsiteY218" fmla="*/ 210121 h 390525"/>
              <a:gd name="connsiteX219" fmla="*/ 270320 w 404050"/>
              <a:gd name="connsiteY219" fmla="*/ 228600 h 390525"/>
              <a:gd name="connsiteX220" fmla="*/ 128873 w 404050"/>
              <a:gd name="connsiteY220" fmla="*/ 352425 h 390525"/>
              <a:gd name="connsiteX221" fmla="*/ 0 w 404050"/>
              <a:gd name="connsiteY221" fmla="*/ 253270 h 390525"/>
              <a:gd name="connsiteX222" fmla="*/ 17907 w 404050"/>
              <a:gd name="connsiteY222" fmla="*/ 247174 h 390525"/>
              <a:gd name="connsiteX223" fmla="*/ 129540 w 404050"/>
              <a:gd name="connsiteY223" fmla="*/ 332137 h 390525"/>
              <a:gd name="connsiteX224" fmla="*/ 270320 w 404050"/>
              <a:gd name="connsiteY224" fmla="*/ 209550 h 390525"/>
              <a:gd name="connsiteX225" fmla="*/ 270320 w 404050"/>
              <a:gd name="connsiteY225" fmla="*/ 267748 h 390525"/>
              <a:gd name="connsiteX226" fmla="*/ 128873 w 404050"/>
              <a:gd name="connsiteY226" fmla="*/ 390525 h 390525"/>
              <a:gd name="connsiteX227" fmla="*/ 0 w 404050"/>
              <a:gd name="connsiteY227" fmla="*/ 291275 h 390525"/>
              <a:gd name="connsiteX228" fmla="*/ 17907 w 404050"/>
              <a:gd name="connsiteY228" fmla="*/ 285274 h 390525"/>
              <a:gd name="connsiteX229" fmla="*/ 129540 w 404050"/>
              <a:gd name="connsiteY229" fmla="*/ 370999 h 390525"/>
              <a:gd name="connsiteX230" fmla="*/ 270320 w 404050"/>
              <a:gd name="connsiteY230" fmla="*/ 248793 h 390525"/>
              <a:gd name="connsiteX231" fmla="*/ 279845 w 404050"/>
              <a:gd name="connsiteY231" fmla="*/ 100394 h 390525"/>
              <a:gd name="connsiteX232" fmla="*/ 341662 w 404050"/>
              <a:gd name="connsiteY232" fmla="*/ 86868 h 390525"/>
              <a:gd name="connsiteX233" fmla="*/ 402050 w 404050"/>
              <a:gd name="connsiteY233" fmla="*/ 105061 h 390525"/>
              <a:gd name="connsiteX234" fmla="*/ 344329 w 404050"/>
              <a:gd name="connsiteY234" fmla="*/ 122015 h 390525"/>
              <a:gd name="connsiteX235" fmla="*/ 336328 w 404050"/>
              <a:gd name="connsiteY235" fmla="*/ 122015 h 390525"/>
              <a:gd name="connsiteX236" fmla="*/ 278511 w 404050"/>
              <a:gd name="connsiteY236" fmla="*/ 104394 h 390525"/>
              <a:gd name="connsiteX237" fmla="*/ 279845 w 404050"/>
              <a:gd name="connsiteY237" fmla="*/ 100394 h 390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</a:cxnLst>
            <a:rect l="l" t="t" r="r" b="b"/>
            <a:pathLst>
              <a:path w="404050" h="390525">
                <a:moveTo>
                  <a:pt x="160020" y="147828"/>
                </a:moveTo>
                <a:cubicBezTo>
                  <a:pt x="160648" y="149086"/>
                  <a:pt x="161948" y="149866"/>
                  <a:pt x="163354" y="149828"/>
                </a:cubicBezTo>
                <a:cubicBezTo>
                  <a:pt x="164359" y="150516"/>
                  <a:pt x="165683" y="150516"/>
                  <a:pt x="166688" y="149828"/>
                </a:cubicBezTo>
                <a:cubicBezTo>
                  <a:pt x="167843" y="150006"/>
                  <a:pt x="169023" y="149770"/>
                  <a:pt x="170021" y="149162"/>
                </a:cubicBezTo>
                <a:cubicBezTo>
                  <a:pt x="171217" y="148647"/>
                  <a:pt x="172338" y="147974"/>
                  <a:pt x="173355" y="147161"/>
                </a:cubicBezTo>
                <a:lnTo>
                  <a:pt x="174022" y="146495"/>
                </a:lnTo>
                <a:cubicBezTo>
                  <a:pt x="174689" y="146495"/>
                  <a:pt x="174689" y="146495"/>
                  <a:pt x="174689" y="145828"/>
                </a:cubicBezTo>
                <a:lnTo>
                  <a:pt x="182594" y="152591"/>
                </a:lnTo>
                <a:cubicBezTo>
                  <a:pt x="181261" y="153924"/>
                  <a:pt x="180023" y="153924"/>
                  <a:pt x="178689" y="154591"/>
                </a:cubicBezTo>
                <a:cubicBezTo>
                  <a:pt x="176943" y="154509"/>
                  <a:pt x="175285" y="153799"/>
                  <a:pt x="174022" y="152591"/>
                </a:cubicBezTo>
                <a:lnTo>
                  <a:pt x="170021" y="157925"/>
                </a:lnTo>
                <a:cubicBezTo>
                  <a:pt x="172373" y="160058"/>
                  <a:pt x="175536" y="161066"/>
                  <a:pt x="178689" y="160687"/>
                </a:cubicBezTo>
                <a:cubicBezTo>
                  <a:pt x="181761" y="160415"/>
                  <a:pt x="184601" y="158943"/>
                  <a:pt x="186595" y="156591"/>
                </a:cubicBezTo>
                <a:lnTo>
                  <a:pt x="189929" y="159258"/>
                </a:lnTo>
                <a:lnTo>
                  <a:pt x="191929" y="157258"/>
                </a:lnTo>
                <a:lnTo>
                  <a:pt x="188595" y="154591"/>
                </a:lnTo>
                <a:cubicBezTo>
                  <a:pt x="189759" y="152691"/>
                  <a:pt x="190657" y="150639"/>
                  <a:pt x="191262" y="148495"/>
                </a:cubicBezTo>
                <a:cubicBezTo>
                  <a:pt x="191872" y="147019"/>
                  <a:pt x="192101" y="145415"/>
                  <a:pt x="191929" y="143828"/>
                </a:cubicBezTo>
                <a:cubicBezTo>
                  <a:pt x="191262" y="142399"/>
                  <a:pt x="191262" y="141732"/>
                  <a:pt x="190595" y="140399"/>
                </a:cubicBezTo>
                <a:lnTo>
                  <a:pt x="188595" y="138398"/>
                </a:lnTo>
                <a:lnTo>
                  <a:pt x="186595" y="136398"/>
                </a:lnTo>
                <a:cubicBezTo>
                  <a:pt x="185928" y="135636"/>
                  <a:pt x="184594" y="135636"/>
                  <a:pt x="183261" y="135636"/>
                </a:cubicBezTo>
                <a:cubicBezTo>
                  <a:pt x="181928" y="135636"/>
                  <a:pt x="181261" y="134969"/>
                  <a:pt x="179356" y="135636"/>
                </a:cubicBezTo>
                <a:cubicBezTo>
                  <a:pt x="177393" y="136145"/>
                  <a:pt x="175570" y="137089"/>
                  <a:pt x="174022" y="138398"/>
                </a:cubicBezTo>
                <a:cubicBezTo>
                  <a:pt x="173355" y="138398"/>
                  <a:pt x="173355" y="139065"/>
                  <a:pt x="172688" y="139065"/>
                </a:cubicBezTo>
                <a:lnTo>
                  <a:pt x="172022" y="139732"/>
                </a:lnTo>
                <a:lnTo>
                  <a:pt x="165354" y="134303"/>
                </a:lnTo>
                <a:cubicBezTo>
                  <a:pt x="165888" y="133356"/>
                  <a:pt x="166943" y="132829"/>
                  <a:pt x="168021" y="132969"/>
                </a:cubicBezTo>
                <a:cubicBezTo>
                  <a:pt x="169355" y="132969"/>
                  <a:pt x="170688" y="132969"/>
                  <a:pt x="171355" y="134303"/>
                </a:cubicBezTo>
                <a:lnTo>
                  <a:pt x="176022" y="128969"/>
                </a:lnTo>
                <a:cubicBezTo>
                  <a:pt x="175048" y="127732"/>
                  <a:pt x="173593" y="126970"/>
                  <a:pt x="172022" y="126873"/>
                </a:cubicBezTo>
                <a:cubicBezTo>
                  <a:pt x="170762" y="126330"/>
                  <a:pt x="169389" y="126102"/>
                  <a:pt x="168021" y="126206"/>
                </a:cubicBezTo>
                <a:cubicBezTo>
                  <a:pt x="166688" y="126873"/>
                  <a:pt x="166021" y="126873"/>
                  <a:pt x="164687" y="127540"/>
                </a:cubicBezTo>
                <a:cubicBezTo>
                  <a:pt x="163446" y="128291"/>
                  <a:pt x="162322" y="129221"/>
                  <a:pt x="161354" y="130302"/>
                </a:cubicBezTo>
                <a:lnTo>
                  <a:pt x="158020" y="127540"/>
                </a:lnTo>
                <a:lnTo>
                  <a:pt x="156781" y="130302"/>
                </a:lnTo>
                <a:lnTo>
                  <a:pt x="159353" y="132302"/>
                </a:lnTo>
                <a:cubicBezTo>
                  <a:pt x="158687" y="133636"/>
                  <a:pt x="157353" y="134969"/>
                  <a:pt x="157353" y="136398"/>
                </a:cubicBezTo>
                <a:cubicBezTo>
                  <a:pt x="156656" y="137634"/>
                  <a:pt x="156203" y="138992"/>
                  <a:pt x="156020" y="140399"/>
                </a:cubicBezTo>
                <a:cubicBezTo>
                  <a:pt x="156215" y="141833"/>
                  <a:pt x="156667" y="143220"/>
                  <a:pt x="157353" y="144494"/>
                </a:cubicBezTo>
                <a:cubicBezTo>
                  <a:pt x="157621" y="145985"/>
                  <a:pt x="158624" y="147240"/>
                  <a:pt x="160020" y="147828"/>
                </a:cubicBezTo>
                <a:moveTo>
                  <a:pt x="180975" y="142875"/>
                </a:moveTo>
                <a:cubicBezTo>
                  <a:pt x="181915" y="142775"/>
                  <a:pt x="182860" y="143011"/>
                  <a:pt x="183642" y="143542"/>
                </a:cubicBezTo>
                <a:cubicBezTo>
                  <a:pt x="184309" y="144304"/>
                  <a:pt x="184976" y="144971"/>
                  <a:pt x="184976" y="145637"/>
                </a:cubicBezTo>
                <a:cubicBezTo>
                  <a:pt x="184976" y="146304"/>
                  <a:pt x="185642" y="146971"/>
                  <a:pt x="184976" y="147638"/>
                </a:cubicBezTo>
                <a:lnTo>
                  <a:pt x="184976" y="149638"/>
                </a:lnTo>
                <a:lnTo>
                  <a:pt x="183642" y="150971"/>
                </a:lnTo>
                <a:lnTo>
                  <a:pt x="177070" y="144971"/>
                </a:lnTo>
                <a:cubicBezTo>
                  <a:pt x="178022" y="143758"/>
                  <a:pt x="179438" y="142998"/>
                  <a:pt x="180975" y="142875"/>
                </a:cubicBezTo>
                <a:moveTo>
                  <a:pt x="161925" y="139541"/>
                </a:moveTo>
                <a:cubicBezTo>
                  <a:pt x="162592" y="138875"/>
                  <a:pt x="162592" y="138875"/>
                  <a:pt x="162592" y="138208"/>
                </a:cubicBezTo>
                <a:cubicBezTo>
                  <a:pt x="162592" y="137541"/>
                  <a:pt x="163259" y="137541"/>
                  <a:pt x="163259" y="136874"/>
                </a:cubicBezTo>
                <a:lnTo>
                  <a:pt x="169259" y="142208"/>
                </a:lnTo>
                <a:cubicBezTo>
                  <a:pt x="167926" y="142875"/>
                  <a:pt x="167259" y="143542"/>
                  <a:pt x="165926" y="143542"/>
                </a:cubicBezTo>
                <a:cubicBezTo>
                  <a:pt x="165193" y="143629"/>
                  <a:pt x="164459" y="143384"/>
                  <a:pt x="163925" y="142875"/>
                </a:cubicBezTo>
                <a:lnTo>
                  <a:pt x="162592" y="141542"/>
                </a:lnTo>
                <a:cubicBezTo>
                  <a:pt x="162592" y="140875"/>
                  <a:pt x="161925" y="140208"/>
                  <a:pt x="161925" y="139541"/>
                </a:cubicBezTo>
                <a:moveTo>
                  <a:pt x="204502" y="161830"/>
                </a:moveTo>
                <a:lnTo>
                  <a:pt x="205740" y="160496"/>
                </a:lnTo>
                <a:cubicBezTo>
                  <a:pt x="203350" y="157622"/>
                  <a:pt x="201978" y="154039"/>
                  <a:pt x="201835" y="150305"/>
                </a:cubicBezTo>
                <a:cubicBezTo>
                  <a:pt x="202031" y="146717"/>
                  <a:pt x="203146" y="143240"/>
                  <a:pt x="205073" y="140208"/>
                </a:cubicBezTo>
                <a:cubicBezTo>
                  <a:pt x="207415" y="138129"/>
                  <a:pt x="210130" y="136513"/>
                  <a:pt x="213074" y="135446"/>
                </a:cubicBezTo>
                <a:lnTo>
                  <a:pt x="215741" y="141542"/>
                </a:lnTo>
                <a:cubicBezTo>
                  <a:pt x="213452" y="142082"/>
                  <a:pt x="211368" y="143273"/>
                  <a:pt x="209741" y="144971"/>
                </a:cubicBezTo>
                <a:cubicBezTo>
                  <a:pt x="207583" y="147875"/>
                  <a:pt x="207866" y="151920"/>
                  <a:pt x="210407" y="154496"/>
                </a:cubicBezTo>
                <a:lnTo>
                  <a:pt x="218408" y="145733"/>
                </a:lnTo>
                <a:lnTo>
                  <a:pt x="219742" y="149066"/>
                </a:lnTo>
                <a:lnTo>
                  <a:pt x="212408" y="157163"/>
                </a:lnTo>
                <a:lnTo>
                  <a:pt x="214408" y="159163"/>
                </a:lnTo>
                <a:lnTo>
                  <a:pt x="221075" y="151067"/>
                </a:lnTo>
                <a:lnTo>
                  <a:pt x="222409" y="154496"/>
                </a:lnTo>
                <a:lnTo>
                  <a:pt x="217075" y="161258"/>
                </a:lnTo>
                <a:cubicBezTo>
                  <a:pt x="221742" y="163259"/>
                  <a:pt x="225076" y="163259"/>
                  <a:pt x="227743" y="160592"/>
                </a:cubicBezTo>
                <a:cubicBezTo>
                  <a:pt x="229078" y="158069"/>
                  <a:pt x="229949" y="155326"/>
                  <a:pt x="230315" y="152495"/>
                </a:cubicBezTo>
                <a:lnTo>
                  <a:pt x="235649" y="157829"/>
                </a:lnTo>
                <a:cubicBezTo>
                  <a:pt x="234809" y="160208"/>
                  <a:pt x="233690" y="162478"/>
                  <a:pt x="232315" y="164592"/>
                </a:cubicBezTo>
                <a:cubicBezTo>
                  <a:pt x="230130" y="167665"/>
                  <a:pt x="226559" y="169450"/>
                  <a:pt x="222790" y="169354"/>
                </a:cubicBezTo>
                <a:cubicBezTo>
                  <a:pt x="219022" y="169685"/>
                  <a:pt x="215255" y="168710"/>
                  <a:pt x="212122" y="166592"/>
                </a:cubicBezTo>
                <a:lnTo>
                  <a:pt x="209455" y="169355"/>
                </a:lnTo>
                <a:lnTo>
                  <a:pt x="208121" y="165926"/>
                </a:lnTo>
                <a:lnTo>
                  <a:pt x="209455" y="164592"/>
                </a:lnTo>
                <a:lnTo>
                  <a:pt x="208121" y="163259"/>
                </a:lnTo>
                <a:lnTo>
                  <a:pt x="207836" y="161925"/>
                </a:lnTo>
                <a:lnTo>
                  <a:pt x="205835" y="165259"/>
                </a:lnTo>
                <a:close/>
                <a:moveTo>
                  <a:pt x="185452" y="192881"/>
                </a:moveTo>
                <a:lnTo>
                  <a:pt x="166878" y="188786"/>
                </a:lnTo>
                <a:lnTo>
                  <a:pt x="170879" y="184118"/>
                </a:lnTo>
                <a:lnTo>
                  <a:pt x="187452" y="188119"/>
                </a:lnTo>
                <a:lnTo>
                  <a:pt x="180975" y="171450"/>
                </a:lnTo>
                <a:lnTo>
                  <a:pt x="184880" y="167450"/>
                </a:lnTo>
                <a:lnTo>
                  <a:pt x="191548" y="185642"/>
                </a:lnTo>
                <a:lnTo>
                  <a:pt x="194881" y="181547"/>
                </a:lnTo>
                <a:lnTo>
                  <a:pt x="197549" y="183642"/>
                </a:lnTo>
                <a:lnTo>
                  <a:pt x="192881" y="188976"/>
                </a:lnTo>
                <a:lnTo>
                  <a:pt x="195548" y="191072"/>
                </a:lnTo>
                <a:lnTo>
                  <a:pt x="200216" y="186309"/>
                </a:lnTo>
                <a:lnTo>
                  <a:pt x="202216" y="188309"/>
                </a:lnTo>
                <a:lnTo>
                  <a:pt x="198215" y="193072"/>
                </a:lnTo>
                <a:lnTo>
                  <a:pt x="204216" y="198501"/>
                </a:lnTo>
                <a:lnTo>
                  <a:pt x="200216" y="202502"/>
                </a:lnTo>
                <a:lnTo>
                  <a:pt x="194215" y="197072"/>
                </a:lnTo>
                <a:lnTo>
                  <a:pt x="190214" y="202502"/>
                </a:lnTo>
                <a:lnTo>
                  <a:pt x="187547" y="200501"/>
                </a:lnTo>
                <a:lnTo>
                  <a:pt x="192215" y="195072"/>
                </a:lnTo>
                <a:lnTo>
                  <a:pt x="189548" y="193072"/>
                </a:lnTo>
                <a:lnTo>
                  <a:pt x="184880" y="198501"/>
                </a:lnTo>
                <a:lnTo>
                  <a:pt x="182880" y="196406"/>
                </a:lnTo>
                <a:close/>
                <a:moveTo>
                  <a:pt x="336233" y="132112"/>
                </a:moveTo>
                <a:cubicBezTo>
                  <a:pt x="340900" y="132112"/>
                  <a:pt x="344234" y="131445"/>
                  <a:pt x="345758" y="131445"/>
                </a:cubicBezTo>
                <a:cubicBezTo>
                  <a:pt x="350330" y="131445"/>
                  <a:pt x="386239" y="130112"/>
                  <a:pt x="402908" y="117920"/>
                </a:cubicBezTo>
                <a:lnTo>
                  <a:pt x="402908" y="128016"/>
                </a:lnTo>
                <a:cubicBezTo>
                  <a:pt x="398907" y="139541"/>
                  <a:pt x="365760" y="144971"/>
                  <a:pt x="345186" y="145637"/>
                </a:cubicBezTo>
                <a:cubicBezTo>
                  <a:pt x="321278" y="146971"/>
                  <a:pt x="282702" y="142875"/>
                  <a:pt x="279368" y="128016"/>
                </a:cubicBezTo>
                <a:lnTo>
                  <a:pt x="279368" y="119253"/>
                </a:lnTo>
                <a:cubicBezTo>
                  <a:pt x="293370" y="130112"/>
                  <a:pt x="321278" y="132112"/>
                  <a:pt x="336518" y="132112"/>
                </a:cubicBezTo>
                <a:moveTo>
                  <a:pt x="336518" y="153067"/>
                </a:moveTo>
                <a:cubicBezTo>
                  <a:pt x="341186" y="153067"/>
                  <a:pt x="344519" y="152400"/>
                  <a:pt x="346043" y="152400"/>
                </a:cubicBezTo>
                <a:cubicBezTo>
                  <a:pt x="350615" y="152400"/>
                  <a:pt x="386525" y="150971"/>
                  <a:pt x="403193" y="138875"/>
                </a:cubicBezTo>
                <a:lnTo>
                  <a:pt x="403193" y="148971"/>
                </a:lnTo>
                <a:cubicBezTo>
                  <a:pt x="399193" y="160496"/>
                  <a:pt x="366046" y="165830"/>
                  <a:pt x="345472" y="166497"/>
                </a:cubicBezTo>
                <a:cubicBezTo>
                  <a:pt x="321564" y="167926"/>
                  <a:pt x="282988" y="163830"/>
                  <a:pt x="279654" y="148971"/>
                </a:cubicBezTo>
                <a:lnTo>
                  <a:pt x="279654" y="140208"/>
                </a:lnTo>
                <a:cubicBezTo>
                  <a:pt x="293656" y="150971"/>
                  <a:pt x="321564" y="153067"/>
                  <a:pt x="336804" y="153067"/>
                </a:cubicBezTo>
                <a:moveTo>
                  <a:pt x="336804" y="173927"/>
                </a:moveTo>
                <a:cubicBezTo>
                  <a:pt x="341471" y="173927"/>
                  <a:pt x="344805" y="173260"/>
                  <a:pt x="346329" y="173260"/>
                </a:cubicBezTo>
                <a:cubicBezTo>
                  <a:pt x="350901" y="173260"/>
                  <a:pt x="386810" y="171926"/>
                  <a:pt x="403479" y="159734"/>
                </a:cubicBezTo>
                <a:lnTo>
                  <a:pt x="403479" y="169926"/>
                </a:lnTo>
                <a:cubicBezTo>
                  <a:pt x="399479" y="181356"/>
                  <a:pt x="366332" y="186785"/>
                  <a:pt x="345758" y="187452"/>
                </a:cubicBezTo>
                <a:cubicBezTo>
                  <a:pt x="321850" y="188786"/>
                  <a:pt x="283274" y="184785"/>
                  <a:pt x="279940" y="169926"/>
                </a:cubicBezTo>
                <a:lnTo>
                  <a:pt x="279940" y="161163"/>
                </a:lnTo>
                <a:cubicBezTo>
                  <a:pt x="293942" y="171926"/>
                  <a:pt x="321850" y="173927"/>
                  <a:pt x="337090" y="173927"/>
                </a:cubicBezTo>
                <a:moveTo>
                  <a:pt x="337090" y="194881"/>
                </a:moveTo>
                <a:cubicBezTo>
                  <a:pt x="341757" y="194881"/>
                  <a:pt x="345091" y="194215"/>
                  <a:pt x="346615" y="194215"/>
                </a:cubicBezTo>
                <a:cubicBezTo>
                  <a:pt x="351187" y="194215"/>
                  <a:pt x="387096" y="192881"/>
                  <a:pt x="403765" y="180689"/>
                </a:cubicBezTo>
                <a:lnTo>
                  <a:pt x="403765" y="190500"/>
                </a:lnTo>
                <a:cubicBezTo>
                  <a:pt x="399764" y="202025"/>
                  <a:pt x="366617" y="207455"/>
                  <a:pt x="346043" y="208121"/>
                </a:cubicBezTo>
                <a:cubicBezTo>
                  <a:pt x="322136" y="209455"/>
                  <a:pt x="283559" y="205359"/>
                  <a:pt x="280226" y="190500"/>
                </a:cubicBezTo>
                <a:lnTo>
                  <a:pt x="280226" y="181737"/>
                </a:lnTo>
                <a:cubicBezTo>
                  <a:pt x="294227" y="192596"/>
                  <a:pt x="322136" y="194596"/>
                  <a:pt x="337375" y="194596"/>
                </a:cubicBezTo>
                <a:moveTo>
                  <a:pt x="337375" y="215551"/>
                </a:moveTo>
                <a:cubicBezTo>
                  <a:pt x="342043" y="215551"/>
                  <a:pt x="345376" y="214884"/>
                  <a:pt x="346900" y="214884"/>
                </a:cubicBezTo>
                <a:cubicBezTo>
                  <a:pt x="351473" y="214884"/>
                  <a:pt x="387382" y="213455"/>
                  <a:pt x="404050" y="201359"/>
                </a:cubicBezTo>
                <a:lnTo>
                  <a:pt x="404050" y="211455"/>
                </a:lnTo>
                <a:cubicBezTo>
                  <a:pt x="400050" y="222980"/>
                  <a:pt x="366903" y="228314"/>
                  <a:pt x="346329" y="228981"/>
                </a:cubicBezTo>
                <a:cubicBezTo>
                  <a:pt x="322421" y="230410"/>
                  <a:pt x="283845" y="226314"/>
                  <a:pt x="280511" y="211455"/>
                </a:cubicBezTo>
                <a:lnTo>
                  <a:pt x="280511" y="202692"/>
                </a:lnTo>
                <a:cubicBezTo>
                  <a:pt x="294513" y="213455"/>
                  <a:pt x="322421" y="215551"/>
                  <a:pt x="337661" y="215551"/>
                </a:cubicBezTo>
                <a:moveTo>
                  <a:pt x="336995" y="236411"/>
                </a:moveTo>
                <a:cubicBezTo>
                  <a:pt x="342329" y="236411"/>
                  <a:pt x="345662" y="235744"/>
                  <a:pt x="346520" y="235744"/>
                </a:cubicBezTo>
                <a:cubicBezTo>
                  <a:pt x="351092" y="235744"/>
                  <a:pt x="387001" y="234410"/>
                  <a:pt x="403670" y="222314"/>
                </a:cubicBezTo>
                <a:lnTo>
                  <a:pt x="403670" y="232410"/>
                </a:lnTo>
                <a:cubicBezTo>
                  <a:pt x="399669" y="243840"/>
                  <a:pt x="366522" y="249269"/>
                  <a:pt x="345948" y="249936"/>
                </a:cubicBezTo>
                <a:cubicBezTo>
                  <a:pt x="322040" y="251269"/>
                  <a:pt x="283464" y="247269"/>
                  <a:pt x="280130" y="232410"/>
                </a:cubicBezTo>
                <a:lnTo>
                  <a:pt x="280130" y="223647"/>
                </a:lnTo>
                <a:cubicBezTo>
                  <a:pt x="294132" y="234410"/>
                  <a:pt x="322040" y="236411"/>
                  <a:pt x="336614" y="236411"/>
                </a:cubicBezTo>
                <a:moveTo>
                  <a:pt x="336614" y="278321"/>
                </a:moveTo>
                <a:cubicBezTo>
                  <a:pt x="341948" y="278321"/>
                  <a:pt x="345281" y="277654"/>
                  <a:pt x="346139" y="277654"/>
                </a:cubicBezTo>
                <a:cubicBezTo>
                  <a:pt x="350711" y="277654"/>
                  <a:pt x="386620" y="276320"/>
                  <a:pt x="403289" y="264128"/>
                </a:cubicBezTo>
                <a:lnTo>
                  <a:pt x="403289" y="274225"/>
                </a:lnTo>
                <a:cubicBezTo>
                  <a:pt x="399288" y="285750"/>
                  <a:pt x="366141" y="291084"/>
                  <a:pt x="345567" y="291846"/>
                </a:cubicBezTo>
                <a:cubicBezTo>
                  <a:pt x="321659" y="293180"/>
                  <a:pt x="283083" y="289084"/>
                  <a:pt x="279749" y="274225"/>
                </a:cubicBezTo>
                <a:lnTo>
                  <a:pt x="279749" y="265462"/>
                </a:lnTo>
                <a:cubicBezTo>
                  <a:pt x="293751" y="276320"/>
                  <a:pt x="321659" y="278321"/>
                  <a:pt x="336233" y="278321"/>
                </a:cubicBezTo>
                <a:moveTo>
                  <a:pt x="336233" y="320135"/>
                </a:moveTo>
                <a:cubicBezTo>
                  <a:pt x="341567" y="320135"/>
                  <a:pt x="344900" y="319469"/>
                  <a:pt x="345758" y="319469"/>
                </a:cubicBezTo>
                <a:cubicBezTo>
                  <a:pt x="350330" y="319469"/>
                  <a:pt x="386239" y="318135"/>
                  <a:pt x="402908" y="305943"/>
                </a:cubicBezTo>
                <a:lnTo>
                  <a:pt x="402908" y="316135"/>
                </a:lnTo>
                <a:cubicBezTo>
                  <a:pt x="398907" y="327565"/>
                  <a:pt x="365760" y="332994"/>
                  <a:pt x="345186" y="333661"/>
                </a:cubicBezTo>
                <a:cubicBezTo>
                  <a:pt x="321278" y="334994"/>
                  <a:pt x="282702" y="330994"/>
                  <a:pt x="279368" y="316135"/>
                </a:cubicBezTo>
                <a:lnTo>
                  <a:pt x="279368" y="308039"/>
                </a:lnTo>
                <a:cubicBezTo>
                  <a:pt x="293370" y="318135"/>
                  <a:pt x="321278" y="320135"/>
                  <a:pt x="335851" y="320135"/>
                </a:cubicBezTo>
                <a:moveTo>
                  <a:pt x="335851" y="299180"/>
                </a:moveTo>
                <a:cubicBezTo>
                  <a:pt x="341186" y="299180"/>
                  <a:pt x="344519" y="298514"/>
                  <a:pt x="345376" y="298514"/>
                </a:cubicBezTo>
                <a:cubicBezTo>
                  <a:pt x="349949" y="298514"/>
                  <a:pt x="385858" y="297180"/>
                  <a:pt x="402526" y="285083"/>
                </a:cubicBezTo>
                <a:lnTo>
                  <a:pt x="402526" y="295275"/>
                </a:lnTo>
                <a:cubicBezTo>
                  <a:pt x="398526" y="306705"/>
                  <a:pt x="365379" y="312134"/>
                  <a:pt x="344805" y="312801"/>
                </a:cubicBezTo>
                <a:cubicBezTo>
                  <a:pt x="320897" y="314135"/>
                  <a:pt x="282321" y="310134"/>
                  <a:pt x="278987" y="295275"/>
                </a:cubicBezTo>
                <a:lnTo>
                  <a:pt x="278987" y="286512"/>
                </a:lnTo>
                <a:cubicBezTo>
                  <a:pt x="292989" y="297275"/>
                  <a:pt x="320897" y="299276"/>
                  <a:pt x="335471" y="299276"/>
                </a:cubicBezTo>
                <a:moveTo>
                  <a:pt x="335471" y="257461"/>
                </a:moveTo>
                <a:cubicBezTo>
                  <a:pt x="340805" y="257461"/>
                  <a:pt x="344138" y="256794"/>
                  <a:pt x="344996" y="256794"/>
                </a:cubicBezTo>
                <a:cubicBezTo>
                  <a:pt x="349568" y="256794"/>
                  <a:pt x="385477" y="255461"/>
                  <a:pt x="402146" y="243269"/>
                </a:cubicBezTo>
                <a:lnTo>
                  <a:pt x="402146" y="253460"/>
                </a:lnTo>
                <a:cubicBezTo>
                  <a:pt x="398145" y="264890"/>
                  <a:pt x="364998" y="270320"/>
                  <a:pt x="344424" y="270986"/>
                </a:cubicBezTo>
                <a:cubicBezTo>
                  <a:pt x="320516" y="272320"/>
                  <a:pt x="281940" y="268224"/>
                  <a:pt x="278606" y="253460"/>
                </a:cubicBezTo>
                <a:lnTo>
                  <a:pt x="278606" y="244602"/>
                </a:lnTo>
                <a:cubicBezTo>
                  <a:pt x="292608" y="255461"/>
                  <a:pt x="320516" y="257461"/>
                  <a:pt x="335090" y="257461"/>
                </a:cubicBezTo>
                <a:moveTo>
                  <a:pt x="335090" y="341186"/>
                </a:moveTo>
                <a:cubicBezTo>
                  <a:pt x="340424" y="341186"/>
                  <a:pt x="343757" y="340519"/>
                  <a:pt x="344615" y="340519"/>
                </a:cubicBezTo>
                <a:cubicBezTo>
                  <a:pt x="349187" y="340519"/>
                  <a:pt x="385096" y="339185"/>
                  <a:pt x="401765" y="326993"/>
                </a:cubicBezTo>
                <a:lnTo>
                  <a:pt x="401765" y="337090"/>
                </a:lnTo>
                <a:cubicBezTo>
                  <a:pt x="397764" y="348615"/>
                  <a:pt x="364617" y="354044"/>
                  <a:pt x="344043" y="354711"/>
                </a:cubicBezTo>
                <a:cubicBezTo>
                  <a:pt x="320135" y="356045"/>
                  <a:pt x="281559" y="351949"/>
                  <a:pt x="278225" y="337090"/>
                </a:cubicBezTo>
                <a:lnTo>
                  <a:pt x="278225" y="328994"/>
                </a:lnTo>
                <a:cubicBezTo>
                  <a:pt x="292227" y="339185"/>
                  <a:pt x="320135" y="341186"/>
                  <a:pt x="334709" y="341186"/>
                </a:cubicBezTo>
                <a:moveTo>
                  <a:pt x="335375" y="362141"/>
                </a:moveTo>
                <a:cubicBezTo>
                  <a:pt x="340043" y="362141"/>
                  <a:pt x="343376" y="361379"/>
                  <a:pt x="344900" y="361379"/>
                </a:cubicBezTo>
                <a:cubicBezTo>
                  <a:pt x="349472" y="361379"/>
                  <a:pt x="385382" y="360045"/>
                  <a:pt x="402050" y="347948"/>
                </a:cubicBezTo>
                <a:lnTo>
                  <a:pt x="402050" y="358045"/>
                </a:lnTo>
                <a:cubicBezTo>
                  <a:pt x="398050" y="369570"/>
                  <a:pt x="364903" y="374904"/>
                  <a:pt x="344329" y="375571"/>
                </a:cubicBezTo>
                <a:cubicBezTo>
                  <a:pt x="320421" y="377000"/>
                  <a:pt x="281845" y="372904"/>
                  <a:pt x="278511" y="358045"/>
                </a:cubicBezTo>
                <a:lnTo>
                  <a:pt x="278511" y="349949"/>
                </a:lnTo>
                <a:cubicBezTo>
                  <a:pt x="292513" y="360045"/>
                  <a:pt x="320421" y="362141"/>
                  <a:pt x="335661" y="362141"/>
                </a:cubicBezTo>
                <a:moveTo>
                  <a:pt x="269939" y="100870"/>
                </a:moveTo>
                <a:lnTo>
                  <a:pt x="269939" y="100870"/>
                </a:lnTo>
                <a:cubicBezTo>
                  <a:pt x="269972" y="99277"/>
                  <a:pt x="270703" y="97780"/>
                  <a:pt x="271939" y="96774"/>
                </a:cubicBezTo>
                <a:cubicBezTo>
                  <a:pt x="279845" y="87249"/>
                  <a:pt x="310039" y="79915"/>
                  <a:pt x="344996" y="79915"/>
                </a:cubicBezTo>
                <a:cubicBezTo>
                  <a:pt x="348329" y="79915"/>
                  <a:pt x="350901" y="80582"/>
                  <a:pt x="354521" y="80582"/>
                </a:cubicBezTo>
                <a:cubicBezTo>
                  <a:pt x="323850" y="55340"/>
                  <a:pt x="284893" y="26956"/>
                  <a:pt x="250412" y="0"/>
                </a:cubicBezTo>
                <a:cubicBezTo>
                  <a:pt x="161925" y="16859"/>
                  <a:pt x="97631" y="188976"/>
                  <a:pt x="0" y="214027"/>
                </a:cubicBezTo>
                <a:cubicBezTo>
                  <a:pt x="62389" y="262604"/>
                  <a:pt x="90964" y="284226"/>
                  <a:pt x="129540" y="313182"/>
                </a:cubicBezTo>
                <a:cubicBezTo>
                  <a:pt x="189929" y="295275"/>
                  <a:pt x="229172" y="240316"/>
                  <a:pt x="270320" y="190500"/>
                </a:cubicBezTo>
                <a:close/>
                <a:moveTo>
                  <a:pt x="217837" y="209550"/>
                </a:moveTo>
                <a:cubicBezTo>
                  <a:pt x="190386" y="225128"/>
                  <a:pt x="155504" y="215503"/>
                  <a:pt x="139926" y="188052"/>
                </a:cubicBezTo>
                <a:cubicBezTo>
                  <a:pt x="139529" y="187352"/>
                  <a:pt x="139147" y="186644"/>
                  <a:pt x="138779" y="185928"/>
                </a:cubicBezTo>
                <a:cubicBezTo>
                  <a:pt x="122503" y="157926"/>
                  <a:pt x="131300" y="122066"/>
                  <a:pt x="158687" y="104775"/>
                </a:cubicBezTo>
                <a:cubicBezTo>
                  <a:pt x="186390" y="89651"/>
                  <a:pt x="221109" y="99849"/>
                  <a:pt x="236233" y="127552"/>
                </a:cubicBezTo>
                <a:cubicBezTo>
                  <a:pt x="236523" y="128083"/>
                  <a:pt x="236804" y="128619"/>
                  <a:pt x="237077" y="129159"/>
                </a:cubicBezTo>
                <a:cubicBezTo>
                  <a:pt x="254032" y="156800"/>
                  <a:pt x="245528" y="192941"/>
                  <a:pt x="218027" y="210121"/>
                </a:cubicBezTo>
                <a:moveTo>
                  <a:pt x="270320" y="228600"/>
                </a:moveTo>
                <a:cubicBezTo>
                  <a:pt x="229172" y="279273"/>
                  <a:pt x="189929" y="334613"/>
                  <a:pt x="128873" y="352425"/>
                </a:cubicBezTo>
                <a:cubicBezTo>
                  <a:pt x="90773" y="323850"/>
                  <a:pt x="62198" y="301847"/>
                  <a:pt x="0" y="253270"/>
                </a:cubicBezTo>
                <a:cubicBezTo>
                  <a:pt x="6149" y="251812"/>
                  <a:pt x="12145" y="249771"/>
                  <a:pt x="17907" y="247174"/>
                </a:cubicBezTo>
                <a:cubicBezTo>
                  <a:pt x="68390" y="285750"/>
                  <a:pt x="95250" y="305753"/>
                  <a:pt x="129540" y="332137"/>
                </a:cubicBezTo>
                <a:cubicBezTo>
                  <a:pt x="189929" y="314325"/>
                  <a:pt x="229743" y="259842"/>
                  <a:pt x="270320" y="209550"/>
                </a:cubicBezTo>
                <a:close/>
                <a:moveTo>
                  <a:pt x="270320" y="267748"/>
                </a:moveTo>
                <a:cubicBezTo>
                  <a:pt x="229172" y="317278"/>
                  <a:pt x="189929" y="372618"/>
                  <a:pt x="128873" y="390525"/>
                </a:cubicBezTo>
                <a:cubicBezTo>
                  <a:pt x="90773" y="361474"/>
                  <a:pt x="62198" y="339947"/>
                  <a:pt x="0" y="291275"/>
                </a:cubicBezTo>
                <a:cubicBezTo>
                  <a:pt x="6159" y="289894"/>
                  <a:pt x="12160" y="287883"/>
                  <a:pt x="17907" y="285274"/>
                </a:cubicBezTo>
                <a:cubicBezTo>
                  <a:pt x="68390" y="325088"/>
                  <a:pt x="95631" y="344615"/>
                  <a:pt x="129540" y="370999"/>
                </a:cubicBezTo>
                <a:cubicBezTo>
                  <a:pt x="189929" y="354140"/>
                  <a:pt x="229743" y="298704"/>
                  <a:pt x="270320" y="248793"/>
                </a:cubicBezTo>
                <a:close/>
                <a:moveTo>
                  <a:pt x="279845" y="100394"/>
                </a:moveTo>
                <a:cubicBezTo>
                  <a:pt x="287179" y="92297"/>
                  <a:pt x="313087" y="86868"/>
                  <a:pt x="341662" y="86868"/>
                </a:cubicBezTo>
                <a:cubicBezTo>
                  <a:pt x="374809" y="86868"/>
                  <a:pt x="400050" y="94298"/>
                  <a:pt x="402050" y="105061"/>
                </a:cubicBezTo>
                <a:cubicBezTo>
                  <a:pt x="397478" y="115919"/>
                  <a:pt x="363950" y="121349"/>
                  <a:pt x="344329" y="122015"/>
                </a:cubicBezTo>
                <a:lnTo>
                  <a:pt x="336328" y="122015"/>
                </a:lnTo>
                <a:cubicBezTo>
                  <a:pt x="309753" y="122015"/>
                  <a:pt x="280511" y="117253"/>
                  <a:pt x="278511" y="104394"/>
                </a:cubicBezTo>
                <a:cubicBezTo>
                  <a:pt x="278504" y="102950"/>
                  <a:pt x="278973" y="101544"/>
                  <a:pt x="279845" y="100394"/>
                </a:cubicBezTo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21" name="Grafik 269">
            <a:extLst>
              <a:ext uri="{FF2B5EF4-FFF2-40B4-BE49-F238E27FC236}">
                <a16:creationId xmlns:a16="http://schemas.microsoft.com/office/drawing/2014/main" id="{984FF56D-95F2-4516-A928-4D2AED1E4A66}"/>
              </a:ext>
            </a:extLst>
          </p:cNvPr>
          <p:cNvSpPr/>
          <p:nvPr/>
        </p:nvSpPr>
        <p:spPr>
          <a:xfrm>
            <a:off x="10385286" y="1307959"/>
            <a:ext cx="203487" cy="446414"/>
          </a:xfrm>
          <a:custGeom>
            <a:avLst/>
            <a:gdLst>
              <a:gd name="connsiteX0" fmla="*/ 47571 w 173406"/>
              <a:gd name="connsiteY0" fmla="*/ 323725 h 380422"/>
              <a:gd name="connsiteX1" fmla="*/ 106149 w 173406"/>
              <a:gd name="connsiteY1" fmla="*/ 323725 h 380422"/>
              <a:gd name="connsiteX2" fmla="*/ 106149 w 173406"/>
              <a:gd name="connsiteY2" fmla="*/ 348871 h 380422"/>
              <a:gd name="connsiteX3" fmla="*/ 85671 w 173406"/>
              <a:gd name="connsiteY3" fmla="*/ 376399 h 380422"/>
              <a:gd name="connsiteX4" fmla="*/ 77289 w 173406"/>
              <a:gd name="connsiteY4" fmla="*/ 380399 h 380422"/>
              <a:gd name="connsiteX5" fmla="*/ 68811 w 173406"/>
              <a:gd name="connsiteY5" fmla="*/ 376399 h 380422"/>
              <a:gd name="connsiteX6" fmla="*/ 47571 w 173406"/>
              <a:gd name="connsiteY6" fmla="*/ 348395 h 380422"/>
              <a:gd name="connsiteX7" fmla="*/ 137391 w 173406"/>
              <a:gd name="connsiteY7" fmla="*/ 193233 h 380422"/>
              <a:gd name="connsiteX8" fmla="*/ 18996 w 173406"/>
              <a:gd name="connsiteY8" fmla="*/ 193233 h 380422"/>
              <a:gd name="connsiteX9" fmla="*/ 14519 w 173406"/>
              <a:gd name="connsiteY9" fmla="*/ 197614 h 380422"/>
              <a:gd name="connsiteX10" fmla="*/ 14519 w 173406"/>
              <a:gd name="connsiteY10" fmla="*/ 249430 h 380422"/>
              <a:gd name="connsiteX11" fmla="*/ 16329 w 173406"/>
              <a:gd name="connsiteY11" fmla="*/ 276100 h 380422"/>
              <a:gd name="connsiteX12" fmla="*/ 41951 w 173406"/>
              <a:gd name="connsiteY12" fmla="*/ 308485 h 380422"/>
              <a:gd name="connsiteX13" fmla="*/ 41951 w 173406"/>
              <a:gd name="connsiteY13" fmla="*/ 311914 h 380422"/>
              <a:gd name="connsiteX14" fmla="*/ 46332 w 173406"/>
              <a:gd name="connsiteY14" fmla="*/ 316296 h 380422"/>
              <a:gd name="connsiteX15" fmla="*/ 110531 w 173406"/>
              <a:gd name="connsiteY15" fmla="*/ 316296 h 380422"/>
              <a:gd name="connsiteX16" fmla="*/ 115008 w 173406"/>
              <a:gd name="connsiteY16" fmla="*/ 311914 h 380422"/>
              <a:gd name="connsiteX17" fmla="*/ 115008 w 173406"/>
              <a:gd name="connsiteY17" fmla="*/ 307914 h 380422"/>
              <a:gd name="connsiteX18" fmla="*/ 139677 w 173406"/>
              <a:gd name="connsiteY18" fmla="*/ 276100 h 380422"/>
              <a:gd name="connsiteX19" fmla="*/ 141963 w 173406"/>
              <a:gd name="connsiteY19" fmla="*/ 249907 h 380422"/>
              <a:gd name="connsiteX20" fmla="*/ 141963 w 173406"/>
              <a:gd name="connsiteY20" fmla="*/ 197138 h 380422"/>
              <a:gd name="connsiteX21" fmla="*/ 137582 w 173406"/>
              <a:gd name="connsiteY21" fmla="*/ 192757 h 380422"/>
              <a:gd name="connsiteX22" fmla="*/ 47571 w 173406"/>
              <a:gd name="connsiteY22" fmla="*/ 186661 h 380422"/>
              <a:gd name="connsiteX23" fmla="*/ 77098 w 173406"/>
              <a:gd name="connsiteY23" fmla="*/ 186661 h 380422"/>
              <a:gd name="connsiteX24" fmla="*/ 77098 w 173406"/>
              <a:gd name="connsiteY24" fmla="*/ 177993 h 380422"/>
              <a:gd name="connsiteX25" fmla="*/ 47571 w 173406"/>
              <a:gd name="connsiteY25" fmla="*/ 132654 h 380422"/>
              <a:gd name="connsiteX26" fmla="*/ 133296 w 173406"/>
              <a:gd name="connsiteY26" fmla="*/ 110365 h 380422"/>
              <a:gd name="connsiteX27" fmla="*/ 158537 w 173406"/>
              <a:gd name="connsiteY27" fmla="*/ 92649 h 380422"/>
              <a:gd name="connsiteX28" fmla="*/ 130724 w 173406"/>
              <a:gd name="connsiteY28" fmla="*/ 78742 h 380422"/>
              <a:gd name="connsiteX29" fmla="*/ 8899 w 173406"/>
              <a:gd name="connsiteY29" fmla="*/ 114175 h 380422"/>
              <a:gd name="connsiteX30" fmla="*/ 31473 w 173406"/>
              <a:gd name="connsiteY30" fmla="*/ 161800 h 380422"/>
              <a:gd name="connsiteX31" fmla="*/ 47571 w 173406"/>
              <a:gd name="connsiteY31" fmla="*/ 186661 h 380422"/>
              <a:gd name="connsiteX32" fmla="*/ 14043 w 173406"/>
              <a:gd name="connsiteY32" fmla="*/ 69217 h 380422"/>
              <a:gd name="connsiteX33" fmla="*/ 7947 w 173406"/>
              <a:gd name="connsiteY33" fmla="*/ 103126 h 380422"/>
              <a:gd name="connsiteX34" fmla="*/ 61096 w 173406"/>
              <a:gd name="connsiteY34" fmla="*/ 78742 h 380422"/>
              <a:gd name="connsiteX35" fmla="*/ 141963 w 173406"/>
              <a:gd name="connsiteY35" fmla="*/ 66550 h 380422"/>
              <a:gd name="connsiteX36" fmla="*/ 155013 w 173406"/>
              <a:gd name="connsiteY36" fmla="*/ 52644 h 380422"/>
              <a:gd name="connsiteX37" fmla="*/ 110721 w 173406"/>
              <a:gd name="connsiteY37" fmla="*/ 39595 h 380422"/>
              <a:gd name="connsiteX38" fmla="*/ 14043 w 173406"/>
              <a:gd name="connsiteY38" fmla="*/ 69217 h 380422"/>
              <a:gd name="connsiteX39" fmla="*/ 163204 w 173406"/>
              <a:gd name="connsiteY39" fmla="*/ 119700 h 380422"/>
              <a:gd name="connsiteX40" fmla="*/ 110150 w 173406"/>
              <a:gd name="connsiteY40" fmla="*/ 131701 h 380422"/>
              <a:gd name="connsiteX41" fmla="*/ 88147 w 173406"/>
              <a:gd name="connsiteY41" fmla="*/ 181708 h 380422"/>
              <a:gd name="connsiteX42" fmla="*/ 122532 w 173406"/>
              <a:gd name="connsiteY42" fmla="*/ 181708 h 380422"/>
              <a:gd name="connsiteX43" fmla="*/ 163204 w 173406"/>
              <a:gd name="connsiteY43" fmla="*/ 143608 h 380422"/>
              <a:gd name="connsiteX44" fmla="*/ 163204 w 173406"/>
              <a:gd name="connsiteY44" fmla="*/ 119700 h 380422"/>
              <a:gd name="connsiteX45" fmla="*/ 8899 w 173406"/>
              <a:gd name="connsiteY45" fmla="*/ 60073 h 380422"/>
              <a:gd name="connsiteX46" fmla="*/ 93291 w 173406"/>
              <a:gd name="connsiteY46" fmla="*/ 29974 h 380422"/>
              <a:gd name="connsiteX47" fmla="*/ 115008 w 173406"/>
              <a:gd name="connsiteY47" fmla="*/ 16449 h 380422"/>
              <a:gd name="connsiteX48" fmla="*/ 87385 w 173406"/>
              <a:gd name="connsiteY48" fmla="*/ 447 h 380422"/>
              <a:gd name="connsiteX49" fmla="*/ 8899 w 173406"/>
              <a:gd name="connsiteY49" fmla="*/ 34261 h 380422"/>
              <a:gd name="connsiteX50" fmla="*/ 6238 w 173406"/>
              <a:gd name="connsiteY50" fmla="*/ 57412 h 380422"/>
              <a:gd name="connsiteX51" fmla="*/ 8899 w 173406"/>
              <a:gd name="connsiteY51" fmla="*/ 60073 h 380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73406" h="380422">
                <a:moveTo>
                  <a:pt x="47571" y="323725"/>
                </a:moveTo>
                <a:lnTo>
                  <a:pt x="106149" y="323725"/>
                </a:lnTo>
                <a:lnTo>
                  <a:pt x="106149" y="348871"/>
                </a:lnTo>
                <a:cubicBezTo>
                  <a:pt x="105989" y="361508"/>
                  <a:pt x="97728" y="372612"/>
                  <a:pt x="85671" y="376399"/>
                </a:cubicBezTo>
                <a:cubicBezTo>
                  <a:pt x="85671" y="380971"/>
                  <a:pt x="81861" y="380399"/>
                  <a:pt x="77289" y="380399"/>
                </a:cubicBezTo>
                <a:cubicBezTo>
                  <a:pt x="72717" y="380399"/>
                  <a:pt x="69002" y="380971"/>
                  <a:pt x="68811" y="376399"/>
                </a:cubicBezTo>
                <a:cubicBezTo>
                  <a:pt x="56304" y="372808"/>
                  <a:pt x="47657" y="361407"/>
                  <a:pt x="47571" y="348395"/>
                </a:cubicBezTo>
                <a:close/>
                <a:moveTo>
                  <a:pt x="137391" y="193233"/>
                </a:moveTo>
                <a:lnTo>
                  <a:pt x="18996" y="193233"/>
                </a:lnTo>
                <a:cubicBezTo>
                  <a:pt x="16560" y="193232"/>
                  <a:pt x="14571" y="195179"/>
                  <a:pt x="14519" y="197614"/>
                </a:cubicBezTo>
                <a:lnTo>
                  <a:pt x="14519" y="249430"/>
                </a:lnTo>
                <a:cubicBezTo>
                  <a:pt x="14470" y="258353"/>
                  <a:pt x="15075" y="267267"/>
                  <a:pt x="16329" y="276100"/>
                </a:cubicBezTo>
                <a:cubicBezTo>
                  <a:pt x="20534" y="289712"/>
                  <a:pt x="29672" y="301261"/>
                  <a:pt x="41951" y="308485"/>
                </a:cubicBezTo>
                <a:lnTo>
                  <a:pt x="41951" y="311914"/>
                </a:lnTo>
                <a:cubicBezTo>
                  <a:pt x="42001" y="314313"/>
                  <a:pt x="43934" y="316245"/>
                  <a:pt x="46332" y="316296"/>
                </a:cubicBezTo>
                <a:lnTo>
                  <a:pt x="110531" y="316296"/>
                </a:lnTo>
                <a:cubicBezTo>
                  <a:pt x="112966" y="316296"/>
                  <a:pt x="114956" y="314350"/>
                  <a:pt x="115008" y="311914"/>
                </a:cubicBezTo>
                <a:lnTo>
                  <a:pt x="115008" y="307914"/>
                </a:lnTo>
                <a:cubicBezTo>
                  <a:pt x="126865" y="300706"/>
                  <a:pt x="135649" y="289379"/>
                  <a:pt x="139677" y="276100"/>
                </a:cubicBezTo>
                <a:cubicBezTo>
                  <a:pt x="141115" y="267441"/>
                  <a:pt x="141879" y="258684"/>
                  <a:pt x="141963" y="249907"/>
                </a:cubicBezTo>
                <a:lnTo>
                  <a:pt x="141963" y="197138"/>
                </a:lnTo>
                <a:cubicBezTo>
                  <a:pt x="141913" y="194740"/>
                  <a:pt x="139980" y="192807"/>
                  <a:pt x="137582" y="192757"/>
                </a:cubicBezTo>
                <a:close/>
                <a:moveTo>
                  <a:pt x="47571" y="186661"/>
                </a:moveTo>
                <a:lnTo>
                  <a:pt x="77098" y="186661"/>
                </a:lnTo>
                <a:lnTo>
                  <a:pt x="77098" y="177993"/>
                </a:lnTo>
                <a:cubicBezTo>
                  <a:pt x="71383" y="135321"/>
                  <a:pt x="41094" y="141417"/>
                  <a:pt x="47571" y="132654"/>
                </a:cubicBezTo>
                <a:cubicBezTo>
                  <a:pt x="54048" y="123891"/>
                  <a:pt x="101768" y="117890"/>
                  <a:pt x="133296" y="110365"/>
                </a:cubicBezTo>
                <a:cubicBezTo>
                  <a:pt x="164823" y="102841"/>
                  <a:pt x="158537" y="92649"/>
                  <a:pt x="158537" y="92649"/>
                </a:cubicBezTo>
                <a:cubicBezTo>
                  <a:pt x="152520" y="83261"/>
                  <a:pt x="141844" y="77923"/>
                  <a:pt x="130724" y="78742"/>
                </a:cubicBezTo>
                <a:cubicBezTo>
                  <a:pt x="108912" y="77885"/>
                  <a:pt x="31473" y="98745"/>
                  <a:pt x="8899" y="114175"/>
                </a:cubicBezTo>
                <a:cubicBezTo>
                  <a:pt x="-13675" y="129606"/>
                  <a:pt x="11471" y="154561"/>
                  <a:pt x="31473" y="161800"/>
                </a:cubicBezTo>
                <a:cubicBezTo>
                  <a:pt x="42505" y="164616"/>
                  <a:pt x="49515" y="175443"/>
                  <a:pt x="47571" y="186661"/>
                </a:cubicBezTo>
                <a:close/>
                <a:moveTo>
                  <a:pt x="14043" y="69217"/>
                </a:moveTo>
                <a:cubicBezTo>
                  <a:pt x="-4150" y="82267"/>
                  <a:pt x="7947" y="103126"/>
                  <a:pt x="7947" y="103126"/>
                </a:cubicBezTo>
                <a:cubicBezTo>
                  <a:pt x="24987" y="93599"/>
                  <a:pt x="42760" y="85445"/>
                  <a:pt x="61096" y="78742"/>
                </a:cubicBezTo>
                <a:cubicBezTo>
                  <a:pt x="76146" y="75218"/>
                  <a:pt x="122818" y="70932"/>
                  <a:pt x="141963" y="66550"/>
                </a:cubicBezTo>
                <a:cubicBezTo>
                  <a:pt x="161109" y="62169"/>
                  <a:pt x="155013" y="52644"/>
                  <a:pt x="155013" y="52644"/>
                </a:cubicBezTo>
                <a:cubicBezTo>
                  <a:pt x="155013" y="52644"/>
                  <a:pt x="158537" y="31784"/>
                  <a:pt x="110721" y="39595"/>
                </a:cubicBezTo>
                <a:cubicBezTo>
                  <a:pt x="77493" y="45842"/>
                  <a:pt x="45066" y="55777"/>
                  <a:pt x="14043" y="69217"/>
                </a:cubicBezTo>
                <a:close/>
                <a:moveTo>
                  <a:pt x="163204" y="119700"/>
                </a:moveTo>
                <a:cubicBezTo>
                  <a:pt x="144822" y="119476"/>
                  <a:pt x="126646" y="123587"/>
                  <a:pt x="110150" y="131701"/>
                </a:cubicBezTo>
                <a:cubicBezTo>
                  <a:pt x="81003" y="145417"/>
                  <a:pt x="88147" y="181708"/>
                  <a:pt x="88147" y="181708"/>
                </a:cubicBezTo>
                <a:lnTo>
                  <a:pt x="122532" y="181708"/>
                </a:lnTo>
                <a:cubicBezTo>
                  <a:pt x="134058" y="143036"/>
                  <a:pt x="140249" y="156752"/>
                  <a:pt x="163204" y="143608"/>
                </a:cubicBezTo>
                <a:cubicBezTo>
                  <a:pt x="186159" y="130463"/>
                  <a:pt x="163204" y="119700"/>
                  <a:pt x="163204" y="119700"/>
                </a:cubicBezTo>
                <a:close/>
                <a:moveTo>
                  <a:pt x="8899" y="60073"/>
                </a:moveTo>
                <a:cubicBezTo>
                  <a:pt x="23663" y="44833"/>
                  <a:pt x="78432" y="31498"/>
                  <a:pt x="93291" y="29974"/>
                </a:cubicBezTo>
                <a:cubicBezTo>
                  <a:pt x="108150" y="28450"/>
                  <a:pt x="114246" y="22164"/>
                  <a:pt x="115008" y="16449"/>
                </a:cubicBezTo>
                <a:cubicBezTo>
                  <a:pt x="115770" y="10734"/>
                  <a:pt x="117675" y="-2601"/>
                  <a:pt x="87385" y="447"/>
                </a:cubicBezTo>
                <a:cubicBezTo>
                  <a:pt x="58834" y="5069"/>
                  <a:pt x="31870" y="16686"/>
                  <a:pt x="8899" y="34261"/>
                </a:cubicBezTo>
                <a:cubicBezTo>
                  <a:pt x="1771" y="39919"/>
                  <a:pt x="579" y="50284"/>
                  <a:pt x="6238" y="57412"/>
                </a:cubicBezTo>
                <a:cubicBezTo>
                  <a:pt x="7020" y="58398"/>
                  <a:pt x="7913" y="59291"/>
                  <a:pt x="8899" y="60073"/>
                </a:cubicBez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22" name="Grafik 3">
            <a:extLst>
              <a:ext uri="{FF2B5EF4-FFF2-40B4-BE49-F238E27FC236}">
                <a16:creationId xmlns:a16="http://schemas.microsoft.com/office/drawing/2014/main" id="{FC6F8D44-CB90-4D8E-86F5-BEBB84B4C9B9}"/>
              </a:ext>
            </a:extLst>
          </p:cNvPr>
          <p:cNvGrpSpPr/>
          <p:nvPr/>
        </p:nvGrpSpPr>
        <p:grpSpPr>
          <a:xfrm>
            <a:off x="10805143" y="1307620"/>
            <a:ext cx="447092" cy="447092"/>
            <a:chOff x="4381500" y="3238499"/>
            <a:chExt cx="381000" cy="381000"/>
          </a:xfrm>
          <a:solidFill>
            <a:srgbClr val="808080"/>
          </a:solidFill>
        </p:grpSpPr>
        <p:sp>
          <p:nvSpPr>
            <p:cNvPr id="123" name="Freihandform: Form 13">
              <a:extLst>
                <a:ext uri="{FF2B5EF4-FFF2-40B4-BE49-F238E27FC236}">
                  <a16:creationId xmlns:a16="http://schemas.microsoft.com/office/drawing/2014/main" id="{BA72F2CB-8DE2-4E17-89E7-58DD716B6156}"/>
                </a:ext>
              </a:extLst>
            </p:cNvPr>
            <p:cNvSpPr/>
            <p:nvPr/>
          </p:nvSpPr>
          <p:spPr>
            <a:xfrm>
              <a:off x="4474464" y="3329654"/>
              <a:ext cx="195262" cy="195262"/>
            </a:xfrm>
            <a:custGeom>
              <a:avLst/>
              <a:gdLst>
                <a:gd name="connsiteX0" fmla="*/ 97536 w 195262"/>
                <a:gd name="connsiteY0" fmla="*/ 0 h 195262"/>
                <a:gd name="connsiteX1" fmla="*/ 0 w 195262"/>
                <a:gd name="connsiteY1" fmla="*/ 97726 h 195262"/>
                <a:gd name="connsiteX2" fmla="*/ 97727 w 195262"/>
                <a:gd name="connsiteY2" fmla="*/ 195262 h 195262"/>
                <a:gd name="connsiteX3" fmla="*/ 195263 w 195262"/>
                <a:gd name="connsiteY3" fmla="*/ 97631 h 195262"/>
                <a:gd name="connsiteX4" fmla="*/ 97631 w 195262"/>
                <a:gd name="connsiteY4" fmla="*/ 0 h 195262"/>
                <a:gd name="connsiteX5" fmla="*/ 97536 w 195262"/>
                <a:gd name="connsiteY5" fmla="*/ 0 h 195262"/>
                <a:gd name="connsiteX6" fmla="*/ 78486 w 195262"/>
                <a:gd name="connsiteY6" fmla="*/ 48863 h 195262"/>
                <a:gd name="connsiteX7" fmla="*/ 43434 w 195262"/>
                <a:gd name="connsiteY7" fmla="*/ 96488 h 195262"/>
                <a:gd name="connsiteX8" fmla="*/ 45911 w 195262"/>
                <a:gd name="connsiteY8" fmla="*/ 111919 h 195262"/>
                <a:gd name="connsiteX9" fmla="*/ 44624 w 195262"/>
                <a:gd name="connsiteY9" fmla="*/ 119215 h 195262"/>
                <a:gd name="connsiteX10" fmla="*/ 37328 w 195262"/>
                <a:gd name="connsiteY10" fmla="*/ 117928 h 195262"/>
                <a:gd name="connsiteX11" fmla="*/ 36386 w 195262"/>
                <a:gd name="connsiteY11" fmla="*/ 115157 h 195262"/>
                <a:gd name="connsiteX12" fmla="*/ 75724 w 195262"/>
                <a:gd name="connsiteY12" fmla="*/ 38957 h 195262"/>
                <a:gd name="connsiteX13" fmla="*/ 81191 w 195262"/>
                <a:gd name="connsiteY13" fmla="*/ 43957 h 195262"/>
                <a:gd name="connsiteX14" fmla="*/ 78962 w 195262"/>
                <a:gd name="connsiteY14" fmla="*/ 48482 h 195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5262" h="195262">
                  <a:moveTo>
                    <a:pt x="97536" y="0"/>
                  </a:moveTo>
                  <a:cubicBezTo>
                    <a:pt x="43616" y="53"/>
                    <a:pt x="-53" y="43806"/>
                    <a:pt x="0" y="97726"/>
                  </a:cubicBezTo>
                  <a:cubicBezTo>
                    <a:pt x="53" y="151647"/>
                    <a:pt x="43806" y="195315"/>
                    <a:pt x="97727" y="195262"/>
                  </a:cubicBezTo>
                  <a:cubicBezTo>
                    <a:pt x="151610" y="195210"/>
                    <a:pt x="195262" y="151514"/>
                    <a:pt x="195263" y="97631"/>
                  </a:cubicBezTo>
                  <a:cubicBezTo>
                    <a:pt x="195263" y="43711"/>
                    <a:pt x="151552" y="0"/>
                    <a:pt x="97631" y="0"/>
                  </a:cubicBezTo>
                  <a:cubicBezTo>
                    <a:pt x="97600" y="0"/>
                    <a:pt x="97568" y="0"/>
                    <a:pt x="97536" y="0"/>
                  </a:cubicBezTo>
                  <a:close/>
                  <a:moveTo>
                    <a:pt x="78486" y="48863"/>
                  </a:moveTo>
                  <a:cubicBezTo>
                    <a:pt x="57736" y="55492"/>
                    <a:pt x="43595" y="74705"/>
                    <a:pt x="43434" y="96488"/>
                  </a:cubicBezTo>
                  <a:cubicBezTo>
                    <a:pt x="43466" y="101728"/>
                    <a:pt x="44301" y="106932"/>
                    <a:pt x="45911" y="111919"/>
                  </a:cubicBezTo>
                  <a:cubicBezTo>
                    <a:pt x="47570" y="114289"/>
                    <a:pt x="46994" y="117556"/>
                    <a:pt x="44624" y="119215"/>
                  </a:cubicBezTo>
                  <a:cubicBezTo>
                    <a:pt x="42254" y="120874"/>
                    <a:pt x="38987" y="120298"/>
                    <a:pt x="37328" y="117928"/>
                  </a:cubicBezTo>
                  <a:cubicBezTo>
                    <a:pt x="36757" y="117113"/>
                    <a:pt x="36430" y="116152"/>
                    <a:pt x="36386" y="115157"/>
                  </a:cubicBezTo>
                  <a:cubicBezTo>
                    <a:pt x="26341" y="83264"/>
                    <a:pt x="43906" y="49239"/>
                    <a:pt x="75724" y="38957"/>
                  </a:cubicBezTo>
                  <a:cubicBezTo>
                    <a:pt x="78614" y="38828"/>
                    <a:pt x="81062" y="41067"/>
                    <a:pt x="81191" y="43957"/>
                  </a:cubicBezTo>
                  <a:cubicBezTo>
                    <a:pt x="81271" y="45747"/>
                    <a:pt x="80430" y="47454"/>
                    <a:pt x="78962" y="4848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4" name="Freihandform: Form 14">
              <a:extLst>
                <a:ext uri="{FF2B5EF4-FFF2-40B4-BE49-F238E27FC236}">
                  <a16:creationId xmlns:a16="http://schemas.microsoft.com/office/drawing/2014/main" id="{AF82544F-40AC-48C8-AFFF-13FD9C4732CB}"/>
                </a:ext>
              </a:extLst>
            </p:cNvPr>
            <p:cNvSpPr/>
            <p:nvPr/>
          </p:nvSpPr>
          <p:spPr>
            <a:xfrm>
              <a:off x="4566761" y="3238499"/>
              <a:ext cx="10572" cy="79915"/>
            </a:xfrm>
            <a:custGeom>
              <a:avLst/>
              <a:gdLst>
                <a:gd name="connsiteX0" fmla="*/ 10573 w 10572"/>
                <a:gd name="connsiteY0" fmla="*/ 74677 h 79915"/>
                <a:gd name="connsiteX1" fmla="*/ 10573 w 10572"/>
                <a:gd name="connsiteY1" fmla="*/ 5240 h 79915"/>
                <a:gd name="connsiteX2" fmla="*/ 5335 w 10572"/>
                <a:gd name="connsiteY2" fmla="*/ 0 h 79915"/>
                <a:gd name="connsiteX3" fmla="*/ 5239 w 10572"/>
                <a:gd name="connsiteY3" fmla="*/ 1 h 79915"/>
                <a:gd name="connsiteX4" fmla="*/ 0 w 10572"/>
                <a:gd name="connsiteY4" fmla="*/ 5240 h 79915"/>
                <a:gd name="connsiteX5" fmla="*/ 0 w 10572"/>
                <a:gd name="connsiteY5" fmla="*/ 74677 h 79915"/>
                <a:gd name="connsiteX6" fmla="*/ 5239 w 10572"/>
                <a:gd name="connsiteY6" fmla="*/ 79916 h 79915"/>
                <a:gd name="connsiteX7" fmla="*/ 10478 w 10572"/>
                <a:gd name="connsiteY7" fmla="*/ 74677 h 7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572" h="79915">
                  <a:moveTo>
                    <a:pt x="10573" y="74677"/>
                  </a:moveTo>
                  <a:lnTo>
                    <a:pt x="10573" y="5240"/>
                  </a:lnTo>
                  <a:cubicBezTo>
                    <a:pt x="10573" y="2346"/>
                    <a:pt x="8228" y="0"/>
                    <a:pt x="5335" y="0"/>
                  </a:cubicBezTo>
                  <a:cubicBezTo>
                    <a:pt x="5303" y="0"/>
                    <a:pt x="5271" y="0"/>
                    <a:pt x="5239" y="1"/>
                  </a:cubicBezTo>
                  <a:cubicBezTo>
                    <a:pt x="2345" y="1"/>
                    <a:pt x="0" y="2346"/>
                    <a:pt x="0" y="5240"/>
                  </a:cubicBezTo>
                  <a:lnTo>
                    <a:pt x="0" y="74677"/>
                  </a:lnTo>
                  <a:cubicBezTo>
                    <a:pt x="0" y="77570"/>
                    <a:pt x="2345" y="79916"/>
                    <a:pt x="5239" y="79916"/>
                  </a:cubicBezTo>
                  <a:cubicBezTo>
                    <a:pt x="8132" y="79916"/>
                    <a:pt x="10478" y="77570"/>
                    <a:pt x="10478" y="74677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5" name="Freihandform: Form 18">
              <a:extLst>
                <a:ext uri="{FF2B5EF4-FFF2-40B4-BE49-F238E27FC236}">
                  <a16:creationId xmlns:a16="http://schemas.microsoft.com/office/drawing/2014/main" id="{A9830C00-D2DF-4CA0-AE38-891E2852521A}"/>
                </a:ext>
              </a:extLst>
            </p:cNvPr>
            <p:cNvSpPr/>
            <p:nvPr/>
          </p:nvSpPr>
          <p:spPr>
            <a:xfrm>
              <a:off x="4566761" y="3539775"/>
              <a:ext cx="10477" cy="79724"/>
            </a:xfrm>
            <a:custGeom>
              <a:avLst/>
              <a:gdLst>
                <a:gd name="connsiteX0" fmla="*/ 95 w 10477"/>
                <a:gd name="connsiteY0" fmla="*/ 5239 h 79724"/>
                <a:gd name="connsiteX1" fmla="*/ 95 w 10477"/>
                <a:gd name="connsiteY1" fmla="*/ 74676 h 79724"/>
                <a:gd name="connsiteX2" fmla="*/ 5239 w 10477"/>
                <a:gd name="connsiteY2" fmla="*/ 79724 h 79724"/>
                <a:gd name="connsiteX3" fmla="*/ 10477 w 10477"/>
                <a:gd name="connsiteY3" fmla="*/ 74486 h 79724"/>
                <a:gd name="connsiteX4" fmla="*/ 10477 w 10477"/>
                <a:gd name="connsiteY4" fmla="*/ 5239 h 79724"/>
                <a:gd name="connsiteX5" fmla="*/ 5239 w 10477"/>
                <a:gd name="connsiteY5" fmla="*/ 0 h 79724"/>
                <a:gd name="connsiteX6" fmla="*/ 0 w 10477"/>
                <a:gd name="connsiteY6" fmla="*/ 5239 h 79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77" h="79724">
                  <a:moveTo>
                    <a:pt x="95" y="5239"/>
                  </a:moveTo>
                  <a:lnTo>
                    <a:pt x="95" y="74676"/>
                  </a:lnTo>
                  <a:cubicBezTo>
                    <a:pt x="196" y="77458"/>
                    <a:pt x="2455" y="79675"/>
                    <a:pt x="5239" y="79724"/>
                  </a:cubicBezTo>
                  <a:cubicBezTo>
                    <a:pt x="8132" y="79724"/>
                    <a:pt x="10477" y="77379"/>
                    <a:pt x="10477" y="74486"/>
                  </a:cubicBezTo>
                  <a:lnTo>
                    <a:pt x="10477" y="5239"/>
                  </a:lnTo>
                  <a:cubicBezTo>
                    <a:pt x="10477" y="2345"/>
                    <a:pt x="8132" y="0"/>
                    <a:pt x="5239" y="0"/>
                  </a:cubicBezTo>
                  <a:cubicBezTo>
                    <a:pt x="2345" y="0"/>
                    <a:pt x="0" y="2345"/>
                    <a:pt x="0" y="5239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6" name="Freihandform: Form 19">
              <a:extLst>
                <a:ext uri="{FF2B5EF4-FFF2-40B4-BE49-F238E27FC236}">
                  <a16:creationId xmlns:a16="http://schemas.microsoft.com/office/drawing/2014/main" id="{B40FA97F-DE07-4E46-B2EE-02424E90935E}"/>
                </a:ext>
              </a:extLst>
            </p:cNvPr>
            <p:cNvSpPr/>
            <p:nvPr/>
          </p:nvSpPr>
          <p:spPr>
            <a:xfrm>
              <a:off x="4381500" y="3423761"/>
              <a:ext cx="79914" cy="10477"/>
            </a:xfrm>
            <a:custGeom>
              <a:avLst/>
              <a:gdLst>
                <a:gd name="connsiteX0" fmla="*/ 74676 w 79914"/>
                <a:gd name="connsiteY0" fmla="*/ 95 h 10477"/>
                <a:gd name="connsiteX1" fmla="*/ 5239 w 79914"/>
                <a:gd name="connsiteY1" fmla="*/ 95 h 10477"/>
                <a:gd name="connsiteX2" fmla="*/ 0 w 79914"/>
                <a:gd name="connsiteY2" fmla="*/ 5239 h 10477"/>
                <a:gd name="connsiteX3" fmla="*/ 5239 w 79914"/>
                <a:gd name="connsiteY3" fmla="*/ 10477 h 10477"/>
                <a:gd name="connsiteX4" fmla="*/ 74676 w 79914"/>
                <a:gd name="connsiteY4" fmla="*/ 10477 h 10477"/>
                <a:gd name="connsiteX5" fmla="*/ 79915 w 79914"/>
                <a:gd name="connsiteY5" fmla="*/ 5239 h 10477"/>
                <a:gd name="connsiteX6" fmla="*/ 74676 w 79914"/>
                <a:gd name="connsiteY6" fmla="*/ 0 h 10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914" h="10477">
                  <a:moveTo>
                    <a:pt x="74676" y="95"/>
                  </a:moveTo>
                  <a:lnTo>
                    <a:pt x="5239" y="95"/>
                  </a:lnTo>
                  <a:cubicBezTo>
                    <a:pt x="2382" y="95"/>
                    <a:pt x="52" y="2383"/>
                    <a:pt x="0" y="5239"/>
                  </a:cubicBezTo>
                  <a:cubicBezTo>
                    <a:pt x="0" y="8132"/>
                    <a:pt x="2345" y="10477"/>
                    <a:pt x="5239" y="10477"/>
                  </a:cubicBezTo>
                  <a:lnTo>
                    <a:pt x="74676" y="10477"/>
                  </a:lnTo>
                  <a:cubicBezTo>
                    <a:pt x="77569" y="10477"/>
                    <a:pt x="79915" y="8132"/>
                    <a:pt x="79915" y="5239"/>
                  </a:cubicBezTo>
                  <a:cubicBezTo>
                    <a:pt x="79915" y="2345"/>
                    <a:pt x="77569" y="0"/>
                    <a:pt x="74676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7" name="Freihandform: Form 20">
              <a:extLst>
                <a:ext uri="{FF2B5EF4-FFF2-40B4-BE49-F238E27FC236}">
                  <a16:creationId xmlns:a16="http://schemas.microsoft.com/office/drawing/2014/main" id="{58198468-25CD-422C-855B-7CDA1C8B934C}"/>
                </a:ext>
              </a:extLst>
            </p:cNvPr>
            <p:cNvSpPr/>
            <p:nvPr/>
          </p:nvSpPr>
          <p:spPr>
            <a:xfrm>
              <a:off x="4682775" y="3423761"/>
              <a:ext cx="79725" cy="10572"/>
            </a:xfrm>
            <a:custGeom>
              <a:avLst/>
              <a:gdLst>
                <a:gd name="connsiteX0" fmla="*/ 5239 w 79725"/>
                <a:gd name="connsiteY0" fmla="*/ 10573 h 10572"/>
                <a:gd name="connsiteX1" fmla="*/ 74676 w 79725"/>
                <a:gd name="connsiteY1" fmla="*/ 10573 h 10572"/>
                <a:gd name="connsiteX2" fmla="*/ 79724 w 79725"/>
                <a:gd name="connsiteY2" fmla="*/ 5239 h 10572"/>
                <a:gd name="connsiteX3" fmla="*/ 74486 w 79725"/>
                <a:gd name="connsiteY3" fmla="*/ 0 h 10572"/>
                <a:gd name="connsiteX4" fmla="*/ 5239 w 79725"/>
                <a:gd name="connsiteY4" fmla="*/ 0 h 10572"/>
                <a:gd name="connsiteX5" fmla="*/ 0 w 79725"/>
                <a:gd name="connsiteY5" fmla="*/ 5239 h 10572"/>
                <a:gd name="connsiteX6" fmla="*/ 5239 w 79725"/>
                <a:gd name="connsiteY6" fmla="*/ 10477 h 10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725" h="10572">
                  <a:moveTo>
                    <a:pt x="5239" y="10573"/>
                  </a:moveTo>
                  <a:lnTo>
                    <a:pt x="74676" y="10573"/>
                  </a:lnTo>
                  <a:cubicBezTo>
                    <a:pt x="77532" y="10469"/>
                    <a:pt x="79778" y="8096"/>
                    <a:pt x="79724" y="5239"/>
                  </a:cubicBezTo>
                  <a:cubicBezTo>
                    <a:pt x="79724" y="2345"/>
                    <a:pt x="77379" y="0"/>
                    <a:pt x="74486" y="0"/>
                  </a:cubicBezTo>
                  <a:lnTo>
                    <a:pt x="5239" y="0"/>
                  </a:lnTo>
                  <a:cubicBezTo>
                    <a:pt x="2345" y="0"/>
                    <a:pt x="0" y="2345"/>
                    <a:pt x="0" y="5239"/>
                  </a:cubicBezTo>
                  <a:cubicBezTo>
                    <a:pt x="0" y="8132"/>
                    <a:pt x="2345" y="10477"/>
                    <a:pt x="5239" y="10477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8" name="Freihandform: Form 21">
              <a:extLst>
                <a:ext uri="{FF2B5EF4-FFF2-40B4-BE49-F238E27FC236}">
                  <a16:creationId xmlns:a16="http://schemas.microsoft.com/office/drawing/2014/main" id="{FD1886AF-5FE2-4604-924F-FE64BC31BCF1}"/>
                </a:ext>
              </a:extLst>
            </p:cNvPr>
            <p:cNvSpPr/>
            <p:nvPr/>
          </p:nvSpPr>
          <p:spPr>
            <a:xfrm>
              <a:off x="4473096" y="3263933"/>
              <a:ext cx="45596" cy="70387"/>
            </a:xfrm>
            <a:custGeom>
              <a:avLst/>
              <a:gdLst>
                <a:gd name="connsiteX0" fmla="*/ 44896 w 45596"/>
                <a:gd name="connsiteY0" fmla="*/ 62483 h 70387"/>
                <a:gd name="connsiteX1" fmla="*/ 9749 w 45596"/>
                <a:gd name="connsiteY1" fmla="*/ 2570 h 70387"/>
                <a:gd name="connsiteX2" fmla="*/ 2722 w 45596"/>
                <a:gd name="connsiteY2" fmla="*/ 691 h 70387"/>
                <a:gd name="connsiteX3" fmla="*/ 2605 w 45596"/>
                <a:gd name="connsiteY3" fmla="*/ 761 h 70387"/>
                <a:gd name="connsiteX4" fmla="*/ 700 w 45596"/>
                <a:gd name="connsiteY4" fmla="*/ 7904 h 70387"/>
                <a:gd name="connsiteX5" fmla="*/ 35848 w 45596"/>
                <a:gd name="connsiteY5" fmla="*/ 67817 h 70387"/>
                <a:gd name="connsiteX6" fmla="*/ 42875 w 45596"/>
                <a:gd name="connsiteY6" fmla="*/ 69696 h 70387"/>
                <a:gd name="connsiteX7" fmla="*/ 42991 w 45596"/>
                <a:gd name="connsiteY7" fmla="*/ 69626 h 70387"/>
                <a:gd name="connsiteX8" fmla="*/ 44896 w 45596"/>
                <a:gd name="connsiteY8" fmla="*/ 62483 h 70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596" h="70387">
                  <a:moveTo>
                    <a:pt x="44896" y="62483"/>
                  </a:moveTo>
                  <a:lnTo>
                    <a:pt x="9749" y="2570"/>
                  </a:lnTo>
                  <a:cubicBezTo>
                    <a:pt x="8328" y="111"/>
                    <a:pt x="5182" y="-730"/>
                    <a:pt x="2722" y="691"/>
                  </a:cubicBezTo>
                  <a:cubicBezTo>
                    <a:pt x="2683" y="714"/>
                    <a:pt x="2644" y="737"/>
                    <a:pt x="2605" y="761"/>
                  </a:cubicBezTo>
                  <a:cubicBezTo>
                    <a:pt x="112" y="2211"/>
                    <a:pt x="-740" y="5405"/>
                    <a:pt x="700" y="7904"/>
                  </a:cubicBezTo>
                  <a:lnTo>
                    <a:pt x="35848" y="67817"/>
                  </a:lnTo>
                  <a:cubicBezTo>
                    <a:pt x="37269" y="70276"/>
                    <a:pt x="40415" y="71118"/>
                    <a:pt x="42875" y="69696"/>
                  </a:cubicBezTo>
                  <a:cubicBezTo>
                    <a:pt x="42914" y="69673"/>
                    <a:pt x="42953" y="69650"/>
                    <a:pt x="42991" y="69626"/>
                  </a:cubicBezTo>
                  <a:cubicBezTo>
                    <a:pt x="45485" y="68176"/>
                    <a:pt x="46337" y="64982"/>
                    <a:pt x="44896" y="62483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9" name="Freihandform: Form 22">
              <a:extLst>
                <a:ext uri="{FF2B5EF4-FFF2-40B4-BE49-F238E27FC236}">
                  <a16:creationId xmlns:a16="http://schemas.microsoft.com/office/drawing/2014/main" id="{AF404A2A-5F07-4AEA-B8AE-23BF69E26966}"/>
                </a:ext>
              </a:extLst>
            </p:cNvPr>
            <p:cNvSpPr/>
            <p:nvPr/>
          </p:nvSpPr>
          <p:spPr>
            <a:xfrm>
              <a:off x="4625849" y="3523854"/>
              <a:ext cx="45621" cy="70529"/>
            </a:xfrm>
            <a:custGeom>
              <a:avLst/>
              <a:gdLst>
                <a:gd name="connsiteX0" fmla="*/ 347 w 45621"/>
                <a:gd name="connsiteY0" fmla="*/ 7920 h 70529"/>
                <a:gd name="connsiteX1" fmla="*/ 35399 w 45621"/>
                <a:gd name="connsiteY1" fmla="*/ 67737 h 70529"/>
                <a:gd name="connsiteX2" fmla="*/ 42829 w 45621"/>
                <a:gd name="connsiteY2" fmla="*/ 69832 h 70529"/>
                <a:gd name="connsiteX3" fmla="*/ 44924 w 45621"/>
                <a:gd name="connsiteY3" fmla="*/ 62403 h 70529"/>
                <a:gd name="connsiteX4" fmla="*/ 9777 w 45621"/>
                <a:gd name="connsiteY4" fmla="*/ 2586 h 70529"/>
                <a:gd name="connsiteX5" fmla="*/ 2586 w 45621"/>
                <a:gd name="connsiteY5" fmla="*/ 728 h 70529"/>
                <a:gd name="connsiteX6" fmla="*/ 728 w 45621"/>
                <a:gd name="connsiteY6" fmla="*/ 7920 h 70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621" h="70529">
                  <a:moveTo>
                    <a:pt x="347" y="7920"/>
                  </a:moveTo>
                  <a:lnTo>
                    <a:pt x="35399" y="67737"/>
                  </a:lnTo>
                  <a:cubicBezTo>
                    <a:pt x="36872" y="70367"/>
                    <a:pt x="40199" y="71305"/>
                    <a:pt x="42829" y="69832"/>
                  </a:cubicBezTo>
                  <a:cubicBezTo>
                    <a:pt x="45459" y="68359"/>
                    <a:pt x="46397" y="65033"/>
                    <a:pt x="44924" y="62403"/>
                  </a:cubicBezTo>
                  <a:lnTo>
                    <a:pt x="9777" y="2586"/>
                  </a:lnTo>
                  <a:cubicBezTo>
                    <a:pt x="8304" y="87"/>
                    <a:pt x="5085" y="-745"/>
                    <a:pt x="2586" y="728"/>
                  </a:cubicBezTo>
                  <a:cubicBezTo>
                    <a:pt x="87" y="2201"/>
                    <a:pt x="-745" y="5421"/>
                    <a:pt x="728" y="792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0" name="Freihandform: Form 23">
              <a:extLst>
                <a:ext uri="{FF2B5EF4-FFF2-40B4-BE49-F238E27FC236}">
                  <a16:creationId xmlns:a16="http://schemas.microsoft.com/office/drawing/2014/main" id="{F7634632-AEB0-4941-8F48-3C3DEFDA2CFA}"/>
                </a:ext>
              </a:extLst>
            </p:cNvPr>
            <p:cNvSpPr/>
            <p:nvPr/>
          </p:nvSpPr>
          <p:spPr>
            <a:xfrm>
              <a:off x="4406711" y="3482849"/>
              <a:ext cx="70624" cy="45621"/>
            </a:xfrm>
            <a:custGeom>
              <a:avLst/>
              <a:gdLst>
                <a:gd name="connsiteX0" fmla="*/ 62705 w 70624"/>
                <a:gd name="connsiteY0" fmla="*/ 347 h 45621"/>
                <a:gd name="connsiteX1" fmla="*/ 2792 w 70624"/>
                <a:gd name="connsiteY1" fmla="*/ 35399 h 45621"/>
                <a:gd name="connsiteX2" fmla="*/ 697 w 70624"/>
                <a:gd name="connsiteY2" fmla="*/ 42829 h 45621"/>
                <a:gd name="connsiteX3" fmla="*/ 8126 w 70624"/>
                <a:gd name="connsiteY3" fmla="*/ 44924 h 45621"/>
                <a:gd name="connsiteX4" fmla="*/ 68039 w 70624"/>
                <a:gd name="connsiteY4" fmla="*/ 9777 h 45621"/>
                <a:gd name="connsiteX5" fmla="*/ 69896 w 70624"/>
                <a:gd name="connsiteY5" fmla="*/ 2586 h 45621"/>
                <a:gd name="connsiteX6" fmla="*/ 62705 w 70624"/>
                <a:gd name="connsiteY6" fmla="*/ 728 h 45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624" h="45621">
                  <a:moveTo>
                    <a:pt x="62705" y="347"/>
                  </a:moveTo>
                  <a:lnTo>
                    <a:pt x="2792" y="35399"/>
                  </a:lnTo>
                  <a:cubicBezTo>
                    <a:pt x="162" y="36872"/>
                    <a:pt x="-776" y="40199"/>
                    <a:pt x="697" y="42829"/>
                  </a:cubicBezTo>
                  <a:cubicBezTo>
                    <a:pt x="2170" y="45459"/>
                    <a:pt x="5496" y="46397"/>
                    <a:pt x="8126" y="44924"/>
                  </a:cubicBezTo>
                  <a:lnTo>
                    <a:pt x="68039" y="9777"/>
                  </a:lnTo>
                  <a:cubicBezTo>
                    <a:pt x="70537" y="8304"/>
                    <a:pt x="71369" y="5085"/>
                    <a:pt x="69896" y="2586"/>
                  </a:cubicBezTo>
                  <a:cubicBezTo>
                    <a:pt x="68423" y="87"/>
                    <a:pt x="65203" y="-745"/>
                    <a:pt x="62705" y="728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1" name="Freihandform: Form 24">
              <a:extLst>
                <a:ext uri="{FF2B5EF4-FFF2-40B4-BE49-F238E27FC236}">
                  <a16:creationId xmlns:a16="http://schemas.microsoft.com/office/drawing/2014/main" id="{2739A88A-FC25-4DBE-A802-02F099593A41}"/>
                </a:ext>
              </a:extLst>
            </p:cNvPr>
            <p:cNvSpPr/>
            <p:nvPr/>
          </p:nvSpPr>
          <p:spPr>
            <a:xfrm>
              <a:off x="4666835" y="3330090"/>
              <a:ext cx="70361" cy="45576"/>
            </a:xfrm>
            <a:custGeom>
              <a:avLst/>
              <a:gdLst>
                <a:gd name="connsiteX0" fmla="*/ 7939 w 70361"/>
                <a:gd name="connsiteY0" fmla="*/ 44903 h 45576"/>
                <a:gd name="connsiteX1" fmla="*/ 67756 w 70361"/>
                <a:gd name="connsiteY1" fmla="*/ 9756 h 45576"/>
                <a:gd name="connsiteX2" fmla="*/ 69661 w 70361"/>
                <a:gd name="connsiteY2" fmla="*/ 2612 h 45576"/>
                <a:gd name="connsiteX3" fmla="*/ 62422 w 70361"/>
                <a:gd name="connsiteY3" fmla="*/ 707 h 45576"/>
                <a:gd name="connsiteX4" fmla="*/ 2605 w 70361"/>
                <a:gd name="connsiteY4" fmla="*/ 35854 h 45576"/>
                <a:gd name="connsiteX5" fmla="*/ 700 w 70361"/>
                <a:gd name="connsiteY5" fmla="*/ 42998 h 45576"/>
                <a:gd name="connsiteX6" fmla="*/ 7939 w 70361"/>
                <a:gd name="connsiteY6" fmla="*/ 44903 h 45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361" h="45576">
                  <a:moveTo>
                    <a:pt x="7939" y="44903"/>
                  </a:moveTo>
                  <a:lnTo>
                    <a:pt x="67756" y="9756"/>
                  </a:lnTo>
                  <a:cubicBezTo>
                    <a:pt x="70250" y="8305"/>
                    <a:pt x="71102" y="5112"/>
                    <a:pt x="69661" y="2612"/>
                  </a:cubicBezTo>
                  <a:cubicBezTo>
                    <a:pt x="68174" y="106"/>
                    <a:pt x="64951" y="-742"/>
                    <a:pt x="62422" y="707"/>
                  </a:cubicBezTo>
                  <a:lnTo>
                    <a:pt x="2605" y="35854"/>
                  </a:lnTo>
                  <a:cubicBezTo>
                    <a:pt x="112" y="37305"/>
                    <a:pt x="-740" y="40498"/>
                    <a:pt x="700" y="42998"/>
                  </a:cubicBezTo>
                  <a:cubicBezTo>
                    <a:pt x="2220" y="45461"/>
                    <a:pt x="5404" y="46299"/>
                    <a:pt x="7939" y="44903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2" name="Freihandform: Form 25">
              <a:extLst>
                <a:ext uri="{FF2B5EF4-FFF2-40B4-BE49-F238E27FC236}">
                  <a16:creationId xmlns:a16="http://schemas.microsoft.com/office/drawing/2014/main" id="{526E231E-C6CF-428B-991F-DF24B0FD4C07}"/>
                </a:ext>
              </a:extLst>
            </p:cNvPr>
            <p:cNvSpPr/>
            <p:nvPr/>
          </p:nvSpPr>
          <p:spPr>
            <a:xfrm>
              <a:off x="4406320" y="3331144"/>
              <a:ext cx="70600" cy="45215"/>
            </a:xfrm>
            <a:custGeom>
              <a:avLst/>
              <a:gdLst>
                <a:gd name="connsiteX0" fmla="*/ 67953 w 70600"/>
                <a:gd name="connsiteY0" fmla="*/ 35371 h 45215"/>
                <a:gd name="connsiteX1" fmla="*/ 7851 w 70600"/>
                <a:gd name="connsiteY1" fmla="*/ 700 h 45215"/>
                <a:gd name="connsiteX2" fmla="*/ 707 w 70600"/>
                <a:gd name="connsiteY2" fmla="*/ 2605 h 45215"/>
                <a:gd name="connsiteX3" fmla="*/ 2612 w 70600"/>
                <a:gd name="connsiteY3" fmla="*/ 9844 h 45215"/>
                <a:gd name="connsiteX4" fmla="*/ 62715 w 70600"/>
                <a:gd name="connsiteY4" fmla="*/ 44515 h 45215"/>
                <a:gd name="connsiteX5" fmla="*/ 69858 w 70600"/>
                <a:gd name="connsiteY5" fmla="*/ 42610 h 45215"/>
                <a:gd name="connsiteX6" fmla="*/ 68048 w 70600"/>
                <a:gd name="connsiteY6" fmla="*/ 35426 h 45215"/>
                <a:gd name="connsiteX7" fmla="*/ 67953 w 70600"/>
                <a:gd name="connsiteY7" fmla="*/ 35371 h 45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600" h="45215">
                  <a:moveTo>
                    <a:pt x="67953" y="35371"/>
                  </a:moveTo>
                  <a:lnTo>
                    <a:pt x="7851" y="700"/>
                  </a:lnTo>
                  <a:cubicBezTo>
                    <a:pt x="5351" y="-740"/>
                    <a:pt x="2158" y="112"/>
                    <a:pt x="707" y="2605"/>
                  </a:cubicBezTo>
                  <a:cubicBezTo>
                    <a:pt x="-742" y="5134"/>
                    <a:pt x="106" y="8357"/>
                    <a:pt x="2612" y="9844"/>
                  </a:cubicBezTo>
                  <a:lnTo>
                    <a:pt x="62715" y="44515"/>
                  </a:lnTo>
                  <a:cubicBezTo>
                    <a:pt x="65214" y="45956"/>
                    <a:pt x="68408" y="45104"/>
                    <a:pt x="69858" y="42610"/>
                  </a:cubicBezTo>
                  <a:cubicBezTo>
                    <a:pt x="71342" y="40127"/>
                    <a:pt x="70532" y="36910"/>
                    <a:pt x="68048" y="35426"/>
                  </a:cubicBezTo>
                  <a:cubicBezTo>
                    <a:pt x="68017" y="35408"/>
                    <a:pt x="67985" y="35389"/>
                    <a:pt x="67953" y="3537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3" name="Freihandform: Form 26">
              <a:extLst>
                <a:ext uri="{FF2B5EF4-FFF2-40B4-BE49-F238E27FC236}">
                  <a16:creationId xmlns:a16="http://schemas.microsoft.com/office/drawing/2014/main" id="{D9E5C911-068B-407B-813D-395898C7DE78}"/>
                </a:ext>
              </a:extLst>
            </p:cNvPr>
            <p:cNvSpPr/>
            <p:nvPr/>
          </p:nvSpPr>
          <p:spPr>
            <a:xfrm>
              <a:off x="4667239" y="3481823"/>
              <a:ext cx="70834" cy="45310"/>
            </a:xfrm>
            <a:custGeom>
              <a:avLst/>
              <a:gdLst>
                <a:gd name="connsiteX0" fmla="*/ 2677 w 70834"/>
                <a:gd name="connsiteY0" fmla="*/ 9756 h 45310"/>
                <a:gd name="connsiteX1" fmla="*/ 62685 w 70834"/>
                <a:gd name="connsiteY1" fmla="*/ 44427 h 45310"/>
                <a:gd name="connsiteX2" fmla="*/ 69951 w 70834"/>
                <a:gd name="connsiteY2" fmla="*/ 42982 h 45310"/>
                <a:gd name="connsiteX3" fmla="*/ 68507 w 70834"/>
                <a:gd name="connsiteY3" fmla="*/ 35715 h 45310"/>
                <a:gd name="connsiteX4" fmla="*/ 67924 w 70834"/>
                <a:gd name="connsiteY4" fmla="*/ 35378 h 45310"/>
                <a:gd name="connsiteX5" fmla="*/ 7916 w 70834"/>
                <a:gd name="connsiteY5" fmla="*/ 707 h 45310"/>
                <a:gd name="connsiteX6" fmla="*/ 677 w 70834"/>
                <a:gd name="connsiteY6" fmla="*/ 2612 h 45310"/>
                <a:gd name="connsiteX7" fmla="*/ 2665 w 70834"/>
                <a:gd name="connsiteY7" fmla="*/ 9749 h 45310"/>
                <a:gd name="connsiteX8" fmla="*/ 2677 w 70834"/>
                <a:gd name="connsiteY8" fmla="*/ 9756 h 45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834" h="45310">
                  <a:moveTo>
                    <a:pt x="2677" y="9756"/>
                  </a:moveTo>
                  <a:lnTo>
                    <a:pt x="62685" y="44427"/>
                  </a:lnTo>
                  <a:cubicBezTo>
                    <a:pt x="65090" y="46034"/>
                    <a:pt x="68344" y="45387"/>
                    <a:pt x="69951" y="42982"/>
                  </a:cubicBezTo>
                  <a:cubicBezTo>
                    <a:pt x="71559" y="40576"/>
                    <a:pt x="70912" y="37323"/>
                    <a:pt x="68507" y="35715"/>
                  </a:cubicBezTo>
                  <a:cubicBezTo>
                    <a:pt x="68320" y="35591"/>
                    <a:pt x="68125" y="35478"/>
                    <a:pt x="67924" y="35378"/>
                  </a:cubicBezTo>
                  <a:lnTo>
                    <a:pt x="7916" y="707"/>
                  </a:lnTo>
                  <a:cubicBezTo>
                    <a:pt x="5388" y="-742"/>
                    <a:pt x="2165" y="106"/>
                    <a:pt x="677" y="2612"/>
                  </a:cubicBezTo>
                  <a:cubicBezTo>
                    <a:pt x="-745" y="5132"/>
                    <a:pt x="145" y="8327"/>
                    <a:pt x="2665" y="9749"/>
                  </a:cubicBezTo>
                  <a:cubicBezTo>
                    <a:pt x="2669" y="9751"/>
                    <a:pt x="2673" y="9754"/>
                    <a:pt x="2677" y="9756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4" name="Freihandform: Form 29">
              <a:extLst>
                <a:ext uri="{FF2B5EF4-FFF2-40B4-BE49-F238E27FC236}">
                  <a16:creationId xmlns:a16="http://schemas.microsoft.com/office/drawing/2014/main" id="{F6785446-121E-400B-BD7C-E23852907310}"/>
                </a:ext>
              </a:extLst>
            </p:cNvPr>
            <p:cNvSpPr/>
            <p:nvPr/>
          </p:nvSpPr>
          <p:spPr>
            <a:xfrm>
              <a:off x="4474138" y="3524233"/>
              <a:ext cx="45228" cy="70613"/>
            </a:xfrm>
            <a:custGeom>
              <a:avLst/>
              <a:gdLst>
                <a:gd name="connsiteX0" fmla="*/ 35378 w 45228"/>
                <a:gd name="connsiteY0" fmla="*/ 2684 h 70613"/>
                <a:gd name="connsiteX1" fmla="*/ 707 w 45228"/>
                <a:gd name="connsiteY1" fmla="*/ 62691 h 70613"/>
                <a:gd name="connsiteX2" fmla="*/ 2612 w 45228"/>
                <a:gd name="connsiteY2" fmla="*/ 69930 h 70613"/>
                <a:gd name="connsiteX3" fmla="*/ 9851 w 45228"/>
                <a:gd name="connsiteY3" fmla="*/ 67930 h 70613"/>
                <a:gd name="connsiteX4" fmla="*/ 44522 w 45228"/>
                <a:gd name="connsiteY4" fmla="*/ 7922 h 70613"/>
                <a:gd name="connsiteX5" fmla="*/ 42617 w 45228"/>
                <a:gd name="connsiteY5" fmla="*/ 683 h 70613"/>
                <a:gd name="connsiteX6" fmla="*/ 35378 w 45228"/>
                <a:gd name="connsiteY6" fmla="*/ 2684 h 70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228" h="70613">
                  <a:moveTo>
                    <a:pt x="35378" y="2684"/>
                  </a:moveTo>
                  <a:lnTo>
                    <a:pt x="707" y="62691"/>
                  </a:lnTo>
                  <a:cubicBezTo>
                    <a:pt x="-742" y="65219"/>
                    <a:pt x="106" y="68443"/>
                    <a:pt x="2612" y="69930"/>
                  </a:cubicBezTo>
                  <a:cubicBezTo>
                    <a:pt x="5165" y="71363"/>
                    <a:pt x="8396" y="70470"/>
                    <a:pt x="9851" y="67930"/>
                  </a:cubicBezTo>
                  <a:lnTo>
                    <a:pt x="44522" y="7922"/>
                  </a:lnTo>
                  <a:cubicBezTo>
                    <a:pt x="45971" y="5394"/>
                    <a:pt x="45123" y="2171"/>
                    <a:pt x="42617" y="683"/>
                  </a:cubicBezTo>
                  <a:cubicBezTo>
                    <a:pt x="40064" y="-749"/>
                    <a:pt x="36833" y="143"/>
                    <a:pt x="35378" y="2684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5" name="Freihandform: Form 30">
              <a:extLst>
                <a:ext uri="{FF2B5EF4-FFF2-40B4-BE49-F238E27FC236}">
                  <a16:creationId xmlns:a16="http://schemas.microsoft.com/office/drawing/2014/main" id="{A7EC89D0-9CCE-4450-A7D2-15ABE43B4759}"/>
                </a:ext>
              </a:extLst>
            </p:cNvPr>
            <p:cNvSpPr/>
            <p:nvPr/>
          </p:nvSpPr>
          <p:spPr>
            <a:xfrm>
              <a:off x="4624830" y="3263326"/>
              <a:ext cx="45156" cy="70588"/>
            </a:xfrm>
            <a:custGeom>
              <a:avLst/>
              <a:gdLst>
                <a:gd name="connsiteX0" fmla="*/ 9749 w 45156"/>
                <a:gd name="connsiteY0" fmla="*/ 67947 h 70588"/>
                <a:gd name="connsiteX1" fmla="*/ 44420 w 45156"/>
                <a:gd name="connsiteY1" fmla="*/ 7844 h 70588"/>
                <a:gd name="connsiteX2" fmla="*/ 42663 w 45156"/>
                <a:gd name="connsiteY2" fmla="*/ 786 h 70588"/>
                <a:gd name="connsiteX3" fmla="*/ 42515 w 45156"/>
                <a:gd name="connsiteY3" fmla="*/ 700 h 70588"/>
                <a:gd name="connsiteX4" fmla="*/ 35371 w 45156"/>
                <a:gd name="connsiteY4" fmla="*/ 2605 h 70588"/>
                <a:gd name="connsiteX5" fmla="*/ 700 w 45156"/>
                <a:gd name="connsiteY5" fmla="*/ 62708 h 70588"/>
                <a:gd name="connsiteX6" fmla="*/ 2605 w 45156"/>
                <a:gd name="connsiteY6" fmla="*/ 69852 h 70588"/>
                <a:gd name="connsiteX7" fmla="*/ 9664 w 45156"/>
                <a:gd name="connsiteY7" fmla="*/ 68094 h 70588"/>
                <a:gd name="connsiteX8" fmla="*/ 9749 w 45156"/>
                <a:gd name="connsiteY8" fmla="*/ 67947 h 70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156" h="70588">
                  <a:moveTo>
                    <a:pt x="9749" y="67947"/>
                  </a:moveTo>
                  <a:lnTo>
                    <a:pt x="44420" y="7844"/>
                  </a:lnTo>
                  <a:cubicBezTo>
                    <a:pt x="45884" y="5410"/>
                    <a:pt x="45097" y="2250"/>
                    <a:pt x="42663" y="786"/>
                  </a:cubicBezTo>
                  <a:cubicBezTo>
                    <a:pt x="42614" y="756"/>
                    <a:pt x="42565" y="728"/>
                    <a:pt x="42515" y="700"/>
                  </a:cubicBezTo>
                  <a:cubicBezTo>
                    <a:pt x="40016" y="-740"/>
                    <a:pt x="36822" y="112"/>
                    <a:pt x="35371" y="2605"/>
                  </a:cubicBezTo>
                  <a:lnTo>
                    <a:pt x="700" y="62708"/>
                  </a:lnTo>
                  <a:cubicBezTo>
                    <a:pt x="-740" y="65208"/>
                    <a:pt x="112" y="68401"/>
                    <a:pt x="2605" y="69852"/>
                  </a:cubicBezTo>
                  <a:cubicBezTo>
                    <a:pt x="5040" y="71316"/>
                    <a:pt x="8200" y="70529"/>
                    <a:pt x="9664" y="68094"/>
                  </a:cubicBezTo>
                  <a:cubicBezTo>
                    <a:pt x="9693" y="68046"/>
                    <a:pt x="9722" y="67997"/>
                    <a:pt x="9749" y="67947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136" name="Grafik 3">
            <a:extLst>
              <a:ext uri="{FF2B5EF4-FFF2-40B4-BE49-F238E27FC236}">
                <a16:creationId xmlns:a16="http://schemas.microsoft.com/office/drawing/2014/main" id="{35D8A844-CEAA-408F-A404-C892A978848D}"/>
              </a:ext>
            </a:extLst>
          </p:cNvPr>
          <p:cNvSpPr/>
          <p:nvPr/>
        </p:nvSpPr>
        <p:spPr>
          <a:xfrm>
            <a:off x="1028735" y="2312685"/>
            <a:ext cx="508448" cy="486651"/>
          </a:xfrm>
          <a:custGeom>
            <a:avLst/>
            <a:gdLst>
              <a:gd name="connsiteX0" fmla="*/ 431346 w 433286"/>
              <a:gd name="connsiteY0" fmla="*/ 170395 h 414711"/>
              <a:gd name="connsiteX1" fmla="*/ 425535 w 433286"/>
              <a:gd name="connsiteY1" fmla="*/ 168394 h 414711"/>
              <a:gd name="connsiteX2" fmla="*/ 348573 w 433286"/>
              <a:gd name="connsiteY2" fmla="*/ 170966 h 414711"/>
              <a:gd name="connsiteX3" fmla="*/ 202746 w 433286"/>
              <a:gd name="connsiteY3" fmla="*/ 146106 h 414711"/>
              <a:gd name="connsiteX4" fmla="*/ 141976 w 433286"/>
              <a:gd name="connsiteY4" fmla="*/ 116864 h 414711"/>
              <a:gd name="connsiteX5" fmla="*/ 141976 w 433286"/>
              <a:gd name="connsiteY5" fmla="*/ 116864 h 414711"/>
              <a:gd name="connsiteX6" fmla="*/ 108067 w 433286"/>
              <a:gd name="connsiteY6" fmla="*/ 90289 h 414711"/>
              <a:gd name="connsiteX7" fmla="*/ 107210 w 433286"/>
              <a:gd name="connsiteY7" fmla="*/ 90289 h 414711"/>
              <a:gd name="connsiteX8" fmla="*/ 105781 w 433286"/>
              <a:gd name="connsiteY8" fmla="*/ 88194 h 414711"/>
              <a:gd name="connsiteX9" fmla="*/ 72444 w 433286"/>
              <a:gd name="connsiteY9" fmla="*/ 45712 h 414711"/>
              <a:gd name="connsiteX10" fmla="*/ 105591 w 433286"/>
              <a:gd name="connsiteY10" fmla="*/ 11994 h 414711"/>
              <a:gd name="connsiteX11" fmla="*/ 106210 w 433286"/>
              <a:gd name="connsiteY11" fmla="*/ 2326 h 414711"/>
              <a:gd name="connsiteX12" fmla="*/ 96542 w 433286"/>
              <a:gd name="connsiteY12" fmla="*/ 1707 h 414711"/>
              <a:gd name="connsiteX13" fmla="*/ 54 w 433286"/>
              <a:gd name="connsiteY13" fmla="*/ 160679 h 414711"/>
              <a:gd name="connsiteX14" fmla="*/ 26057 w 433286"/>
              <a:gd name="connsiteY14" fmla="*/ 225925 h 414711"/>
              <a:gd name="connsiteX15" fmla="*/ 119688 w 433286"/>
              <a:gd name="connsiteY15" fmla="*/ 329081 h 414711"/>
              <a:gd name="connsiteX16" fmla="*/ 228082 w 433286"/>
              <a:gd name="connsiteY16" fmla="*/ 397280 h 414711"/>
              <a:gd name="connsiteX17" fmla="*/ 228082 w 433286"/>
              <a:gd name="connsiteY17" fmla="*/ 397280 h 414711"/>
              <a:gd name="connsiteX18" fmla="*/ 290185 w 433286"/>
              <a:gd name="connsiteY18" fmla="*/ 414711 h 414711"/>
              <a:gd name="connsiteX19" fmla="*/ 311807 w 433286"/>
              <a:gd name="connsiteY19" fmla="*/ 412425 h 414711"/>
              <a:gd name="connsiteX20" fmla="*/ 382959 w 433286"/>
              <a:gd name="connsiteY20" fmla="*/ 356608 h 414711"/>
              <a:gd name="connsiteX21" fmla="*/ 383435 w 433286"/>
              <a:gd name="connsiteY21" fmla="*/ 350512 h 414711"/>
              <a:gd name="connsiteX22" fmla="*/ 378863 w 433286"/>
              <a:gd name="connsiteY22" fmla="*/ 346512 h 414711"/>
              <a:gd name="connsiteX23" fmla="*/ 342954 w 433286"/>
              <a:gd name="connsiteY23" fmla="*/ 334510 h 414711"/>
              <a:gd name="connsiteX24" fmla="*/ 342954 w 433286"/>
              <a:gd name="connsiteY24" fmla="*/ 334510 h 414711"/>
              <a:gd name="connsiteX25" fmla="*/ 304854 w 433286"/>
              <a:gd name="connsiteY25" fmla="*/ 273360 h 414711"/>
              <a:gd name="connsiteX26" fmla="*/ 285804 w 433286"/>
              <a:gd name="connsiteY26" fmla="*/ 272598 h 414711"/>
              <a:gd name="connsiteX27" fmla="*/ 225576 w 433286"/>
              <a:gd name="connsiteY27" fmla="*/ 216504 h 414711"/>
              <a:gd name="connsiteX28" fmla="*/ 206365 w 433286"/>
              <a:gd name="connsiteY28" fmla="*/ 220496 h 414711"/>
              <a:gd name="connsiteX29" fmla="*/ 161979 w 433286"/>
              <a:gd name="connsiteY29" fmla="*/ 155631 h 414711"/>
              <a:gd name="connsiteX30" fmla="*/ 145500 w 433286"/>
              <a:gd name="connsiteY30" fmla="*/ 154297 h 414711"/>
              <a:gd name="connsiteX31" fmla="*/ 146358 w 433286"/>
              <a:gd name="connsiteY31" fmla="*/ 151535 h 414711"/>
              <a:gd name="connsiteX32" fmla="*/ 147501 w 433286"/>
              <a:gd name="connsiteY32" fmla="*/ 136771 h 414711"/>
              <a:gd name="connsiteX33" fmla="*/ 344287 w 433286"/>
              <a:gd name="connsiteY33" fmla="*/ 270121 h 414711"/>
              <a:gd name="connsiteX34" fmla="*/ 433251 w 433286"/>
              <a:gd name="connsiteY34" fmla="*/ 175919 h 414711"/>
              <a:gd name="connsiteX35" fmla="*/ 431346 w 433286"/>
              <a:gd name="connsiteY35" fmla="*/ 170395 h 414711"/>
              <a:gd name="connsiteX36" fmla="*/ 133404 w 433286"/>
              <a:gd name="connsiteY36" fmla="*/ 148487 h 414711"/>
              <a:gd name="connsiteX37" fmla="*/ 110829 w 433286"/>
              <a:gd name="connsiteY37" fmla="*/ 174776 h 414711"/>
              <a:gd name="connsiteX38" fmla="*/ 76063 w 433286"/>
              <a:gd name="connsiteY38" fmla="*/ 108958 h 414711"/>
              <a:gd name="connsiteX39" fmla="*/ 127935 w 433286"/>
              <a:gd name="connsiteY39" fmla="*/ 119531 h 414711"/>
              <a:gd name="connsiteX40" fmla="*/ 133213 w 433286"/>
              <a:gd name="connsiteY40" fmla="*/ 148487 h 414711"/>
              <a:gd name="connsiteX41" fmla="*/ 64062 w 433286"/>
              <a:gd name="connsiteY41" fmla="*/ 58285 h 414711"/>
              <a:gd name="connsiteX42" fmla="*/ 88350 w 433286"/>
              <a:gd name="connsiteY42" fmla="*/ 89718 h 414711"/>
              <a:gd name="connsiteX43" fmla="*/ 71396 w 433286"/>
              <a:gd name="connsiteY43" fmla="*/ 95242 h 414711"/>
              <a:gd name="connsiteX44" fmla="*/ 64062 w 433286"/>
              <a:gd name="connsiteY44" fmla="*/ 58285 h 414711"/>
              <a:gd name="connsiteX45" fmla="*/ 37582 w 433286"/>
              <a:gd name="connsiteY45" fmla="*/ 218115 h 414711"/>
              <a:gd name="connsiteX46" fmla="*/ 41583 w 433286"/>
              <a:gd name="connsiteY46" fmla="*/ 221449 h 414711"/>
              <a:gd name="connsiteX47" fmla="*/ 38154 w 433286"/>
              <a:gd name="connsiteY47" fmla="*/ 219067 h 414711"/>
              <a:gd name="connsiteX48" fmla="*/ 37582 w 433286"/>
              <a:gd name="connsiteY48" fmla="*/ 218115 h 414711"/>
              <a:gd name="connsiteX49" fmla="*/ 285232 w 433286"/>
              <a:gd name="connsiteY49" fmla="*/ 287933 h 414711"/>
              <a:gd name="connsiteX50" fmla="*/ 285232 w 433286"/>
              <a:gd name="connsiteY50" fmla="*/ 286600 h 414711"/>
              <a:gd name="connsiteX51" fmla="*/ 301996 w 433286"/>
              <a:gd name="connsiteY51" fmla="*/ 286600 h 414711"/>
              <a:gd name="connsiteX52" fmla="*/ 330571 w 433286"/>
              <a:gd name="connsiteY52" fmla="*/ 329843 h 414711"/>
              <a:gd name="connsiteX53" fmla="*/ 277231 w 433286"/>
              <a:gd name="connsiteY53" fmla="*/ 306221 h 414711"/>
              <a:gd name="connsiteX54" fmla="*/ 284946 w 433286"/>
              <a:gd name="connsiteY54" fmla="*/ 287933 h 414711"/>
              <a:gd name="connsiteX55" fmla="*/ 202650 w 433286"/>
              <a:gd name="connsiteY55" fmla="*/ 237451 h 414711"/>
              <a:gd name="connsiteX56" fmla="*/ 265337 w 433286"/>
              <a:gd name="connsiteY56" fmla="*/ 249582 h 414711"/>
              <a:gd name="connsiteX57" fmla="*/ 266182 w 433286"/>
              <a:gd name="connsiteY57" fmla="*/ 250881 h 414711"/>
              <a:gd name="connsiteX58" fmla="*/ 271897 w 433286"/>
              <a:gd name="connsiteY58" fmla="*/ 284885 h 414711"/>
              <a:gd name="connsiteX59" fmla="*/ 265325 w 433286"/>
              <a:gd name="connsiteY59" fmla="*/ 300030 h 414711"/>
              <a:gd name="connsiteX60" fmla="*/ 190554 w 433286"/>
              <a:gd name="connsiteY60" fmla="*/ 253834 h 414711"/>
              <a:gd name="connsiteX61" fmla="*/ 201507 w 433286"/>
              <a:gd name="connsiteY61" fmla="*/ 238117 h 414711"/>
              <a:gd name="connsiteX62" fmla="*/ 202365 w 433286"/>
              <a:gd name="connsiteY62" fmla="*/ 237451 h 414711"/>
              <a:gd name="connsiteX63" fmla="*/ 159026 w 433286"/>
              <a:gd name="connsiteY63" fmla="*/ 168871 h 414711"/>
              <a:gd name="connsiteX64" fmla="*/ 192840 w 433286"/>
              <a:gd name="connsiteY64" fmla="*/ 222973 h 414711"/>
              <a:gd name="connsiteX65" fmla="*/ 179790 w 433286"/>
              <a:gd name="connsiteY65" fmla="*/ 245547 h 414711"/>
              <a:gd name="connsiteX66" fmla="*/ 119021 w 433286"/>
              <a:gd name="connsiteY66" fmla="*/ 185920 h 414711"/>
              <a:gd name="connsiteX67" fmla="*/ 138642 w 433286"/>
              <a:gd name="connsiteY67" fmla="*/ 169061 h 414711"/>
              <a:gd name="connsiteX68" fmla="*/ 158740 w 433286"/>
              <a:gd name="connsiteY68" fmla="*/ 168871 h 414711"/>
              <a:gd name="connsiteX69" fmla="*/ 147596 w 433286"/>
              <a:gd name="connsiteY69" fmla="*/ 135914 h 414711"/>
              <a:gd name="connsiteX70" fmla="*/ 149310 w 433286"/>
              <a:gd name="connsiteY70" fmla="*/ 136867 h 414711"/>
              <a:gd name="connsiteX71" fmla="*/ 147596 w 433286"/>
              <a:gd name="connsiteY71" fmla="*/ 136867 h 4147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433286" h="414711">
                <a:moveTo>
                  <a:pt x="431346" y="170395"/>
                </a:moveTo>
                <a:cubicBezTo>
                  <a:pt x="429824" y="168862"/>
                  <a:pt x="427678" y="168123"/>
                  <a:pt x="425535" y="168394"/>
                </a:cubicBezTo>
                <a:cubicBezTo>
                  <a:pt x="399971" y="171019"/>
                  <a:pt x="374256" y="171878"/>
                  <a:pt x="348573" y="170966"/>
                </a:cubicBezTo>
                <a:lnTo>
                  <a:pt x="202746" y="146106"/>
                </a:lnTo>
                <a:cubicBezTo>
                  <a:pt x="181454" y="138676"/>
                  <a:pt x="161068" y="128866"/>
                  <a:pt x="141976" y="116864"/>
                </a:cubicBezTo>
                <a:lnTo>
                  <a:pt x="141976" y="116864"/>
                </a:lnTo>
                <a:cubicBezTo>
                  <a:pt x="135147" y="103437"/>
                  <a:pt x="122737" y="93711"/>
                  <a:pt x="108067" y="90289"/>
                </a:cubicBezTo>
                <a:lnTo>
                  <a:pt x="107210" y="90289"/>
                </a:lnTo>
                <a:cubicBezTo>
                  <a:pt x="106845" y="89521"/>
                  <a:pt x="106363" y="88814"/>
                  <a:pt x="105781" y="88194"/>
                </a:cubicBezTo>
                <a:cubicBezTo>
                  <a:pt x="92838" y="75571"/>
                  <a:pt x="81628" y="61285"/>
                  <a:pt x="72444" y="45712"/>
                </a:cubicBezTo>
                <a:cubicBezTo>
                  <a:pt x="82854" y="33862"/>
                  <a:pt x="93920" y="22605"/>
                  <a:pt x="105591" y="11994"/>
                </a:cubicBezTo>
                <a:cubicBezTo>
                  <a:pt x="108431" y="9495"/>
                  <a:pt x="108708" y="5167"/>
                  <a:pt x="106210" y="2326"/>
                </a:cubicBezTo>
                <a:cubicBezTo>
                  <a:pt x="103711" y="-515"/>
                  <a:pt x="99382" y="-792"/>
                  <a:pt x="96542" y="1707"/>
                </a:cubicBezTo>
                <a:cubicBezTo>
                  <a:pt x="92637" y="4945"/>
                  <a:pt x="2244" y="84003"/>
                  <a:pt x="54" y="160679"/>
                </a:cubicBezTo>
                <a:cubicBezTo>
                  <a:pt x="-802" y="185110"/>
                  <a:pt x="8631" y="208780"/>
                  <a:pt x="26057" y="225925"/>
                </a:cubicBezTo>
                <a:cubicBezTo>
                  <a:pt x="26628" y="241451"/>
                  <a:pt x="33772" y="308793"/>
                  <a:pt x="119688" y="329081"/>
                </a:cubicBezTo>
                <a:cubicBezTo>
                  <a:pt x="125403" y="344226"/>
                  <a:pt x="150168" y="395756"/>
                  <a:pt x="228082" y="397280"/>
                </a:cubicBezTo>
                <a:lnTo>
                  <a:pt x="228082" y="397280"/>
                </a:lnTo>
                <a:cubicBezTo>
                  <a:pt x="246954" y="408300"/>
                  <a:pt x="268335" y="414301"/>
                  <a:pt x="290185" y="414711"/>
                </a:cubicBezTo>
                <a:cubicBezTo>
                  <a:pt x="297453" y="414727"/>
                  <a:pt x="304703" y="413961"/>
                  <a:pt x="311807" y="412425"/>
                </a:cubicBezTo>
                <a:cubicBezTo>
                  <a:pt x="340382" y="406043"/>
                  <a:pt x="364004" y="387279"/>
                  <a:pt x="382959" y="356608"/>
                </a:cubicBezTo>
                <a:cubicBezTo>
                  <a:pt x="384065" y="354763"/>
                  <a:pt x="384241" y="352507"/>
                  <a:pt x="383435" y="350512"/>
                </a:cubicBezTo>
                <a:cubicBezTo>
                  <a:pt x="382642" y="348522"/>
                  <a:pt x="380941" y="347033"/>
                  <a:pt x="378863" y="346512"/>
                </a:cubicBezTo>
                <a:cubicBezTo>
                  <a:pt x="378291" y="346512"/>
                  <a:pt x="364480" y="342511"/>
                  <a:pt x="342954" y="334510"/>
                </a:cubicBezTo>
                <a:lnTo>
                  <a:pt x="342954" y="334510"/>
                </a:lnTo>
                <a:cubicBezTo>
                  <a:pt x="349255" y="307114"/>
                  <a:pt x="332223" y="279777"/>
                  <a:pt x="304854" y="273360"/>
                </a:cubicBezTo>
                <a:cubicBezTo>
                  <a:pt x="298605" y="271932"/>
                  <a:pt x="292146" y="271674"/>
                  <a:pt x="285804" y="272598"/>
                </a:cubicBezTo>
                <a:cubicBezTo>
                  <a:pt x="284662" y="240476"/>
                  <a:pt x="257697" y="215362"/>
                  <a:pt x="225576" y="216504"/>
                </a:cubicBezTo>
                <a:cubicBezTo>
                  <a:pt x="218992" y="216738"/>
                  <a:pt x="212496" y="218088"/>
                  <a:pt x="206365" y="220496"/>
                </a:cubicBezTo>
                <a:cubicBezTo>
                  <a:pt x="210423" y="190684"/>
                  <a:pt x="191237" y="162645"/>
                  <a:pt x="161979" y="155631"/>
                </a:cubicBezTo>
                <a:cubicBezTo>
                  <a:pt x="156574" y="154427"/>
                  <a:pt x="151028" y="153978"/>
                  <a:pt x="145500" y="154297"/>
                </a:cubicBezTo>
                <a:cubicBezTo>
                  <a:pt x="145500" y="153345"/>
                  <a:pt x="146167" y="152488"/>
                  <a:pt x="146358" y="151535"/>
                </a:cubicBezTo>
                <a:cubicBezTo>
                  <a:pt x="147491" y="146701"/>
                  <a:pt x="147876" y="141722"/>
                  <a:pt x="147501" y="136771"/>
                </a:cubicBezTo>
                <a:cubicBezTo>
                  <a:pt x="156359" y="142296"/>
                  <a:pt x="339810" y="266121"/>
                  <a:pt x="344287" y="270121"/>
                </a:cubicBezTo>
                <a:cubicBezTo>
                  <a:pt x="373910" y="264692"/>
                  <a:pt x="421440" y="245261"/>
                  <a:pt x="433251" y="175919"/>
                </a:cubicBezTo>
                <a:cubicBezTo>
                  <a:pt x="433458" y="173887"/>
                  <a:pt x="432761" y="171867"/>
                  <a:pt x="431346" y="170395"/>
                </a:cubicBezTo>
                <a:close/>
                <a:moveTo>
                  <a:pt x="133404" y="148487"/>
                </a:moveTo>
                <a:cubicBezTo>
                  <a:pt x="130530" y="160363"/>
                  <a:pt x="122134" y="170140"/>
                  <a:pt x="110829" y="174776"/>
                </a:cubicBezTo>
                <a:cubicBezTo>
                  <a:pt x="96110" y="154639"/>
                  <a:pt x="84399" y="132467"/>
                  <a:pt x="76063" y="108958"/>
                </a:cubicBezTo>
                <a:cubicBezTo>
                  <a:pt x="93307" y="97554"/>
                  <a:pt x="116531" y="102287"/>
                  <a:pt x="127935" y="119531"/>
                </a:cubicBezTo>
                <a:cubicBezTo>
                  <a:pt x="133575" y="128057"/>
                  <a:pt x="135482" y="138519"/>
                  <a:pt x="133213" y="148487"/>
                </a:cubicBezTo>
                <a:close/>
                <a:moveTo>
                  <a:pt x="64062" y="58285"/>
                </a:moveTo>
                <a:cubicBezTo>
                  <a:pt x="71176" y="69486"/>
                  <a:pt x="79306" y="80008"/>
                  <a:pt x="88350" y="89718"/>
                </a:cubicBezTo>
                <a:cubicBezTo>
                  <a:pt x="82416" y="90541"/>
                  <a:pt x="76675" y="92411"/>
                  <a:pt x="71396" y="95242"/>
                </a:cubicBezTo>
                <a:cubicBezTo>
                  <a:pt x="67915" y="83152"/>
                  <a:pt x="65461" y="70789"/>
                  <a:pt x="64062" y="58285"/>
                </a:cubicBezTo>
                <a:close/>
                <a:moveTo>
                  <a:pt x="37582" y="218115"/>
                </a:moveTo>
                <a:lnTo>
                  <a:pt x="41583" y="221449"/>
                </a:lnTo>
                <a:cubicBezTo>
                  <a:pt x="39678" y="220115"/>
                  <a:pt x="38154" y="219067"/>
                  <a:pt x="38154" y="219067"/>
                </a:cubicBezTo>
                <a:cubicBezTo>
                  <a:pt x="37877" y="218810"/>
                  <a:pt x="37679" y="218480"/>
                  <a:pt x="37582" y="218115"/>
                </a:cubicBezTo>
                <a:close/>
                <a:moveTo>
                  <a:pt x="285232" y="287933"/>
                </a:moveTo>
                <a:cubicBezTo>
                  <a:pt x="285276" y="287490"/>
                  <a:pt x="285276" y="287043"/>
                  <a:pt x="285232" y="286600"/>
                </a:cubicBezTo>
                <a:cubicBezTo>
                  <a:pt x="290740" y="285266"/>
                  <a:pt x="296488" y="285266"/>
                  <a:pt x="301996" y="286600"/>
                </a:cubicBezTo>
                <a:cubicBezTo>
                  <a:pt x="321665" y="290890"/>
                  <a:pt x="334337" y="310067"/>
                  <a:pt x="330571" y="329843"/>
                </a:cubicBezTo>
                <a:cubicBezTo>
                  <a:pt x="314379" y="323842"/>
                  <a:pt x="296662" y="315841"/>
                  <a:pt x="277231" y="306221"/>
                </a:cubicBezTo>
                <a:cubicBezTo>
                  <a:pt x="280805" y="300598"/>
                  <a:pt x="283413" y="294417"/>
                  <a:pt x="284946" y="287933"/>
                </a:cubicBezTo>
                <a:close/>
                <a:moveTo>
                  <a:pt x="202650" y="237451"/>
                </a:moveTo>
                <a:cubicBezTo>
                  <a:pt x="223311" y="223490"/>
                  <a:pt x="251376" y="228922"/>
                  <a:pt x="265337" y="249582"/>
                </a:cubicBezTo>
                <a:cubicBezTo>
                  <a:pt x="265626" y="250010"/>
                  <a:pt x="265908" y="250443"/>
                  <a:pt x="266182" y="250881"/>
                </a:cubicBezTo>
                <a:cubicBezTo>
                  <a:pt x="272581" y="260986"/>
                  <a:pt x="274641" y="273243"/>
                  <a:pt x="271897" y="284885"/>
                </a:cubicBezTo>
                <a:cubicBezTo>
                  <a:pt x="270702" y="290309"/>
                  <a:pt x="268470" y="295452"/>
                  <a:pt x="265325" y="300030"/>
                </a:cubicBezTo>
                <a:cubicBezTo>
                  <a:pt x="239210" y="286649"/>
                  <a:pt x="214206" y="271201"/>
                  <a:pt x="190554" y="253834"/>
                </a:cubicBezTo>
                <a:cubicBezTo>
                  <a:pt x="195063" y="249248"/>
                  <a:pt x="198766" y="243935"/>
                  <a:pt x="201507" y="238117"/>
                </a:cubicBezTo>
                <a:cubicBezTo>
                  <a:pt x="201507" y="238117"/>
                  <a:pt x="202174" y="238117"/>
                  <a:pt x="202365" y="237451"/>
                </a:cubicBezTo>
                <a:close/>
                <a:moveTo>
                  <a:pt x="159026" y="168871"/>
                </a:moveTo>
                <a:cubicBezTo>
                  <a:pt x="183291" y="174490"/>
                  <a:pt x="198421" y="198699"/>
                  <a:pt x="192840" y="222973"/>
                </a:cubicBezTo>
                <a:cubicBezTo>
                  <a:pt x="190881" y="231647"/>
                  <a:pt x="186330" y="239521"/>
                  <a:pt x="179790" y="245547"/>
                </a:cubicBezTo>
                <a:cubicBezTo>
                  <a:pt x="157355" y="228020"/>
                  <a:pt x="136970" y="208018"/>
                  <a:pt x="119021" y="185920"/>
                </a:cubicBezTo>
                <a:cubicBezTo>
                  <a:pt x="126884" y="182053"/>
                  <a:pt x="133636" y="176252"/>
                  <a:pt x="138642" y="169061"/>
                </a:cubicBezTo>
                <a:cubicBezTo>
                  <a:pt x="145240" y="167472"/>
                  <a:pt x="152113" y="167407"/>
                  <a:pt x="158740" y="168871"/>
                </a:cubicBezTo>
                <a:close/>
                <a:moveTo>
                  <a:pt x="147596" y="135914"/>
                </a:moveTo>
                <a:lnTo>
                  <a:pt x="149310" y="136867"/>
                </a:lnTo>
                <a:lnTo>
                  <a:pt x="147596" y="136867"/>
                </a:ln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37" name="Grafik 1856">
            <a:extLst>
              <a:ext uri="{FF2B5EF4-FFF2-40B4-BE49-F238E27FC236}">
                <a16:creationId xmlns:a16="http://schemas.microsoft.com/office/drawing/2014/main" id="{9AA9AA05-ACC0-4CB5-AFBA-0DCA19EE2713}"/>
              </a:ext>
            </a:extLst>
          </p:cNvPr>
          <p:cNvGrpSpPr/>
          <p:nvPr/>
        </p:nvGrpSpPr>
        <p:grpSpPr>
          <a:xfrm>
            <a:off x="1765012" y="2323168"/>
            <a:ext cx="436299" cy="465684"/>
            <a:chOff x="3902149" y="2268443"/>
            <a:chExt cx="371803" cy="396844"/>
          </a:xfrm>
          <a:solidFill>
            <a:srgbClr val="808080"/>
          </a:solidFill>
        </p:grpSpPr>
        <p:sp>
          <p:nvSpPr>
            <p:cNvPr id="138" name="Freihandform: Form 1862">
              <a:extLst>
                <a:ext uri="{FF2B5EF4-FFF2-40B4-BE49-F238E27FC236}">
                  <a16:creationId xmlns:a16="http://schemas.microsoft.com/office/drawing/2014/main" id="{2D26D7F4-2756-4B95-A668-E07F9296B04F}"/>
                </a:ext>
              </a:extLst>
            </p:cNvPr>
            <p:cNvSpPr/>
            <p:nvPr/>
          </p:nvSpPr>
          <p:spPr>
            <a:xfrm>
              <a:off x="3907426" y="2376394"/>
              <a:ext cx="257326" cy="288893"/>
            </a:xfrm>
            <a:custGeom>
              <a:avLst/>
              <a:gdLst>
                <a:gd name="connsiteX0" fmla="*/ 139121 w 257326"/>
                <a:gd name="connsiteY0" fmla="*/ 230029 h 288893"/>
                <a:gd name="connsiteX1" fmla="*/ 81209 w 257326"/>
                <a:gd name="connsiteY1" fmla="*/ 194405 h 288893"/>
                <a:gd name="connsiteX2" fmla="*/ 28726 w 257326"/>
                <a:gd name="connsiteY2" fmla="*/ 276416 h 288893"/>
                <a:gd name="connsiteX3" fmla="*/ 14534 w 257326"/>
                <a:gd name="connsiteY3" fmla="*/ 288893 h 288893"/>
                <a:gd name="connsiteX4" fmla="*/ 12629 w 257326"/>
                <a:gd name="connsiteY4" fmla="*/ 288893 h 288893"/>
                <a:gd name="connsiteX5" fmla="*/ 4247 w 257326"/>
                <a:gd name="connsiteY5" fmla="*/ 284702 h 288893"/>
                <a:gd name="connsiteX6" fmla="*/ 151 w 257326"/>
                <a:gd name="connsiteY6" fmla="*/ 272510 h 288893"/>
                <a:gd name="connsiteX7" fmla="*/ 60730 w 257326"/>
                <a:gd name="connsiteY7" fmla="*/ 173831 h 288893"/>
                <a:gd name="connsiteX8" fmla="*/ 29965 w 257326"/>
                <a:gd name="connsiteY8" fmla="*/ 125349 h 288893"/>
                <a:gd name="connsiteX9" fmla="*/ 39490 w 257326"/>
                <a:gd name="connsiteY9" fmla="*/ 0 h 288893"/>
                <a:gd name="connsiteX10" fmla="*/ 88163 w 257326"/>
                <a:gd name="connsiteY10" fmla="*/ 122777 h 288893"/>
                <a:gd name="connsiteX11" fmla="*/ 218179 w 257326"/>
                <a:gd name="connsiteY11" fmla="*/ 41339 h 288893"/>
                <a:gd name="connsiteX12" fmla="*/ 137597 w 257326"/>
                <a:gd name="connsiteY12" fmla="*/ 171069 h 288893"/>
                <a:gd name="connsiteX13" fmla="*/ 255707 w 257326"/>
                <a:gd name="connsiteY13" fmla="*/ 217361 h 288893"/>
                <a:gd name="connsiteX14" fmla="*/ 257327 w 257326"/>
                <a:gd name="connsiteY14" fmla="*/ 217361 h 288893"/>
                <a:gd name="connsiteX15" fmla="*/ 191985 w 257326"/>
                <a:gd name="connsiteY15" fmla="*/ 240316 h 288893"/>
                <a:gd name="connsiteX16" fmla="*/ 139121 w 257326"/>
                <a:gd name="connsiteY16" fmla="*/ 230029 h 288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7326" h="288893">
                  <a:moveTo>
                    <a:pt x="139121" y="230029"/>
                  </a:moveTo>
                  <a:cubicBezTo>
                    <a:pt x="117875" y="221647"/>
                    <a:pt x="98272" y="209588"/>
                    <a:pt x="81209" y="194405"/>
                  </a:cubicBezTo>
                  <a:cubicBezTo>
                    <a:pt x="65779" y="206978"/>
                    <a:pt x="34251" y="236887"/>
                    <a:pt x="28726" y="276416"/>
                  </a:cubicBezTo>
                  <a:cubicBezTo>
                    <a:pt x="27775" y="283535"/>
                    <a:pt x="21717" y="288861"/>
                    <a:pt x="14534" y="288893"/>
                  </a:cubicBezTo>
                  <a:lnTo>
                    <a:pt x="12629" y="288893"/>
                  </a:lnTo>
                  <a:cubicBezTo>
                    <a:pt x="9435" y="288508"/>
                    <a:pt x="6472" y="287027"/>
                    <a:pt x="4247" y="284702"/>
                  </a:cubicBezTo>
                  <a:cubicBezTo>
                    <a:pt x="1013" y="281526"/>
                    <a:pt x="-509" y="276995"/>
                    <a:pt x="151" y="272510"/>
                  </a:cubicBezTo>
                  <a:cubicBezTo>
                    <a:pt x="6724" y="224885"/>
                    <a:pt x="41299" y="189929"/>
                    <a:pt x="60730" y="173831"/>
                  </a:cubicBezTo>
                  <a:cubicBezTo>
                    <a:pt x="48115" y="159295"/>
                    <a:pt x="37745" y="142954"/>
                    <a:pt x="29965" y="125349"/>
                  </a:cubicBezTo>
                  <a:cubicBezTo>
                    <a:pt x="9867" y="79248"/>
                    <a:pt x="12153" y="31052"/>
                    <a:pt x="39490" y="0"/>
                  </a:cubicBezTo>
                  <a:cubicBezTo>
                    <a:pt x="39490" y="38100"/>
                    <a:pt x="56063" y="82391"/>
                    <a:pt x="88163" y="122777"/>
                  </a:cubicBezTo>
                  <a:cubicBezTo>
                    <a:pt x="131787" y="84677"/>
                    <a:pt x="218179" y="41339"/>
                    <a:pt x="218179" y="41339"/>
                  </a:cubicBezTo>
                  <a:cubicBezTo>
                    <a:pt x="218179" y="41339"/>
                    <a:pt x="175697" y="127254"/>
                    <a:pt x="137597" y="171069"/>
                  </a:cubicBezTo>
                  <a:cubicBezTo>
                    <a:pt x="176555" y="201168"/>
                    <a:pt x="219322" y="217361"/>
                    <a:pt x="255707" y="217361"/>
                  </a:cubicBezTo>
                  <a:lnTo>
                    <a:pt x="257327" y="217361"/>
                  </a:lnTo>
                  <a:cubicBezTo>
                    <a:pt x="239133" y="232827"/>
                    <a:pt x="215854" y="241005"/>
                    <a:pt x="191985" y="240316"/>
                  </a:cubicBezTo>
                  <a:cubicBezTo>
                    <a:pt x="173886" y="240114"/>
                    <a:pt x="155975" y="236629"/>
                    <a:pt x="139121" y="23002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9" name="Freihandform: Form 1863">
              <a:extLst>
                <a:ext uri="{FF2B5EF4-FFF2-40B4-BE49-F238E27FC236}">
                  <a16:creationId xmlns:a16="http://schemas.microsoft.com/office/drawing/2014/main" id="{524296CA-AF60-47EF-95AB-420E584C1AB0}"/>
                </a:ext>
              </a:extLst>
            </p:cNvPr>
            <p:cNvSpPr/>
            <p:nvPr/>
          </p:nvSpPr>
          <p:spPr>
            <a:xfrm>
              <a:off x="3902149" y="2268443"/>
              <a:ext cx="371803" cy="371510"/>
            </a:xfrm>
            <a:custGeom>
              <a:avLst/>
              <a:gdLst>
                <a:gd name="connsiteX0" fmla="*/ 252603 w 371803"/>
                <a:gd name="connsiteY0" fmla="*/ 371508 h 371510"/>
                <a:gd name="connsiteX1" fmla="*/ 246698 w 371803"/>
                <a:gd name="connsiteY1" fmla="*/ 371508 h 371510"/>
                <a:gd name="connsiteX2" fmla="*/ 246698 w 371803"/>
                <a:gd name="connsiteY2" fmla="*/ 371508 h 371510"/>
                <a:gd name="connsiteX3" fmla="*/ 244983 w 371803"/>
                <a:gd name="connsiteY3" fmla="*/ 371508 h 371510"/>
                <a:gd name="connsiteX4" fmla="*/ 202406 w 371803"/>
                <a:gd name="connsiteY4" fmla="*/ 360649 h 371510"/>
                <a:gd name="connsiteX5" fmla="*/ 196596 w 371803"/>
                <a:gd name="connsiteY5" fmla="*/ 358268 h 371510"/>
                <a:gd name="connsiteX6" fmla="*/ 197834 w 371803"/>
                <a:gd name="connsiteY6" fmla="*/ 358268 h 371510"/>
                <a:gd name="connsiteX7" fmla="*/ 269272 w 371803"/>
                <a:gd name="connsiteY7" fmla="*/ 332931 h 371510"/>
                <a:gd name="connsiteX8" fmla="*/ 287846 w 371803"/>
                <a:gd name="connsiteY8" fmla="*/ 316453 h 371510"/>
                <a:gd name="connsiteX9" fmla="*/ 262985 w 371803"/>
                <a:gd name="connsiteY9" fmla="*/ 316453 h 371510"/>
                <a:gd name="connsiteX10" fmla="*/ 261461 w 371803"/>
                <a:gd name="connsiteY10" fmla="*/ 316453 h 371510"/>
                <a:gd name="connsiteX11" fmla="*/ 156686 w 371803"/>
                <a:gd name="connsiteY11" fmla="*/ 277782 h 371510"/>
                <a:gd name="connsiteX12" fmla="*/ 232886 w 371803"/>
                <a:gd name="connsiteY12" fmla="*/ 153957 h 371510"/>
                <a:gd name="connsiteX13" fmla="*/ 245555 w 371803"/>
                <a:gd name="connsiteY13" fmla="*/ 128906 h 371510"/>
                <a:gd name="connsiteX14" fmla="*/ 220504 w 371803"/>
                <a:gd name="connsiteY14" fmla="*/ 141574 h 371510"/>
                <a:gd name="connsiteX15" fmla="*/ 96107 w 371803"/>
                <a:gd name="connsiteY15" fmla="*/ 217774 h 371510"/>
                <a:gd name="connsiteX16" fmla="*/ 55245 w 371803"/>
                <a:gd name="connsiteY16" fmla="*/ 108427 h 371510"/>
                <a:gd name="connsiteX17" fmla="*/ 55245 w 371803"/>
                <a:gd name="connsiteY17" fmla="*/ 83567 h 371510"/>
                <a:gd name="connsiteX18" fmla="*/ 38862 w 371803"/>
                <a:gd name="connsiteY18" fmla="*/ 101760 h 371510"/>
                <a:gd name="connsiteX19" fmla="*/ 13811 w 371803"/>
                <a:gd name="connsiteY19" fmla="*/ 164339 h 371510"/>
                <a:gd name="connsiteX20" fmla="*/ 13811 w 371803"/>
                <a:gd name="connsiteY20" fmla="*/ 175197 h 371510"/>
                <a:gd name="connsiteX21" fmla="*/ 10668 w 371803"/>
                <a:gd name="connsiteY21" fmla="*/ 167196 h 371510"/>
                <a:gd name="connsiteX22" fmla="*/ 0 w 371803"/>
                <a:gd name="connsiteY22" fmla="*/ 118428 h 371510"/>
                <a:gd name="connsiteX23" fmla="*/ 0 w 371803"/>
                <a:gd name="connsiteY23" fmla="*/ 111285 h 371510"/>
                <a:gd name="connsiteX24" fmla="*/ 0 w 371803"/>
                <a:gd name="connsiteY24" fmla="*/ 106522 h 371510"/>
                <a:gd name="connsiteX25" fmla="*/ 572 w 371803"/>
                <a:gd name="connsiteY25" fmla="*/ 106522 h 371510"/>
                <a:gd name="connsiteX26" fmla="*/ 130252 w 371803"/>
                <a:gd name="connsiteY26" fmla="*/ 607 h 371510"/>
                <a:gd name="connsiteX27" fmla="*/ 186881 w 371803"/>
                <a:gd name="connsiteY27" fmla="*/ 21845 h 371510"/>
                <a:gd name="connsiteX28" fmla="*/ 247650 w 371803"/>
                <a:gd name="connsiteY28" fmla="*/ 5367 h 371510"/>
                <a:gd name="connsiteX29" fmla="*/ 247650 w 371803"/>
                <a:gd name="connsiteY29" fmla="*/ 5367 h 371510"/>
                <a:gd name="connsiteX30" fmla="*/ 366070 w 371803"/>
                <a:gd name="connsiteY30" fmla="*/ 123738 h 371510"/>
                <a:gd name="connsiteX31" fmla="*/ 349567 w 371803"/>
                <a:gd name="connsiteY31" fmla="*/ 184056 h 371510"/>
                <a:gd name="connsiteX32" fmla="*/ 322458 w 371803"/>
                <a:gd name="connsiteY32" fmla="*/ 349283 h 371510"/>
                <a:gd name="connsiteX33" fmla="*/ 252603 w 371803"/>
                <a:gd name="connsiteY33" fmla="*/ 371508 h 371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71803" h="371510">
                  <a:moveTo>
                    <a:pt x="252603" y="371508"/>
                  </a:moveTo>
                  <a:lnTo>
                    <a:pt x="246698" y="371508"/>
                  </a:lnTo>
                  <a:lnTo>
                    <a:pt x="246698" y="371508"/>
                  </a:lnTo>
                  <a:lnTo>
                    <a:pt x="244983" y="371508"/>
                  </a:lnTo>
                  <a:cubicBezTo>
                    <a:pt x="230312" y="370128"/>
                    <a:pt x="215946" y="366464"/>
                    <a:pt x="202406" y="360649"/>
                  </a:cubicBezTo>
                  <a:lnTo>
                    <a:pt x="196596" y="358268"/>
                  </a:lnTo>
                  <a:lnTo>
                    <a:pt x="197834" y="358268"/>
                  </a:lnTo>
                  <a:cubicBezTo>
                    <a:pt x="223961" y="358951"/>
                    <a:pt x="249414" y="349924"/>
                    <a:pt x="269272" y="332931"/>
                  </a:cubicBezTo>
                  <a:lnTo>
                    <a:pt x="287846" y="316453"/>
                  </a:lnTo>
                  <a:lnTo>
                    <a:pt x="262985" y="316453"/>
                  </a:lnTo>
                  <a:lnTo>
                    <a:pt x="261461" y="316453"/>
                  </a:lnTo>
                  <a:cubicBezTo>
                    <a:pt x="228981" y="316453"/>
                    <a:pt x="191262" y="302451"/>
                    <a:pt x="156686" y="277782"/>
                  </a:cubicBezTo>
                  <a:cubicBezTo>
                    <a:pt x="185518" y="238719"/>
                    <a:pt x="211008" y="197298"/>
                    <a:pt x="232886" y="153957"/>
                  </a:cubicBezTo>
                  <a:lnTo>
                    <a:pt x="245555" y="128906"/>
                  </a:lnTo>
                  <a:lnTo>
                    <a:pt x="220504" y="141574"/>
                  </a:lnTo>
                  <a:cubicBezTo>
                    <a:pt x="217170" y="143289"/>
                    <a:pt x="141542" y="181484"/>
                    <a:pt x="96107" y="217774"/>
                  </a:cubicBezTo>
                  <a:cubicBezTo>
                    <a:pt x="69628" y="181865"/>
                    <a:pt x="54769" y="142431"/>
                    <a:pt x="55245" y="108427"/>
                  </a:cubicBezTo>
                  <a:lnTo>
                    <a:pt x="55245" y="83567"/>
                  </a:lnTo>
                  <a:lnTo>
                    <a:pt x="38862" y="101760"/>
                  </a:lnTo>
                  <a:cubicBezTo>
                    <a:pt x="23809" y="119268"/>
                    <a:pt x="14998" y="141280"/>
                    <a:pt x="13811" y="164339"/>
                  </a:cubicBezTo>
                  <a:cubicBezTo>
                    <a:pt x="13620" y="167956"/>
                    <a:pt x="13620" y="171580"/>
                    <a:pt x="13811" y="175197"/>
                  </a:cubicBezTo>
                  <a:cubicBezTo>
                    <a:pt x="12764" y="172530"/>
                    <a:pt x="11621" y="169768"/>
                    <a:pt x="10668" y="167196"/>
                  </a:cubicBezTo>
                  <a:cubicBezTo>
                    <a:pt x="4237" y="151705"/>
                    <a:pt x="624" y="135190"/>
                    <a:pt x="0" y="118428"/>
                  </a:cubicBezTo>
                  <a:cubicBezTo>
                    <a:pt x="0" y="116047"/>
                    <a:pt x="0" y="113666"/>
                    <a:pt x="0" y="111285"/>
                  </a:cubicBezTo>
                  <a:cubicBezTo>
                    <a:pt x="0" y="108903"/>
                    <a:pt x="0" y="106522"/>
                    <a:pt x="0" y="106522"/>
                  </a:cubicBezTo>
                  <a:lnTo>
                    <a:pt x="572" y="106522"/>
                  </a:lnTo>
                  <a:cubicBezTo>
                    <a:pt x="7134" y="41464"/>
                    <a:pt x="65194" y="-5956"/>
                    <a:pt x="130252" y="607"/>
                  </a:cubicBezTo>
                  <a:cubicBezTo>
                    <a:pt x="150649" y="2664"/>
                    <a:pt x="170161" y="9982"/>
                    <a:pt x="186881" y="21845"/>
                  </a:cubicBezTo>
                  <a:cubicBezTo>
                    <a:pt x="205271" y="10950"/>
                    <a:pt x="226275" y="5255"/>
                    <a:pt x="247650" y="5367"/>
                  </a:cubicBezTo>
                  <a:lnTo>
                    <a:pt x="247650" y="5367"/>
                  </a:lnTo>
                  <a:cubicBezTo>
                    <a:pt x="313038" y="5353"/>
                    <a:pt x="366057" y="58350"/>
                    <a:pt x="366070" y="123738"/>
                  </a:cubicBezTo>
                  <a:cubicBezTo>
                    <a:pt x="366074" y="144960"/>
                    <a:pt x="360375" y="165792"/>
                    <a:pt x="349567" y="184056"/>
                  </a:cubicBezTo>
                  <a:cubicBezTo>
                    <a:pt x="387708" y="237168"/>
                    <a:pt x="375570" y="311143"/>
                    <a:pt x="322458" y="349283"/>
                  </a:cubicBezTo>
                  <a:cubicBezTo>
                    <a:pt x="302110" y="363895"/>
                    <a:pt x="277653" y="371676"/>
                    <a:pt x="252603" y="37150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40" name="Grafik 120">
            <a:extLst>
              <a:ext uri="{FF2B5EF4-FFF2-40B4-BE49-F238E27FC236}">
                <a16:creationId xmlns:a16="http://schemas.microsoft.com/office/drawing/2014/main" id="{A0DC0BF3-FB5B-4537-B0A3-FC493FAF7FF1}"/>
              </a:ext>
            </a:extLst>
          </p:cNvPr>
          <p:cNvGrpSpPr/>
          <p:nvPr/>
        </p:nvGrpSpPr>
        <p:grpSpPr>
          <a:xfrm>
            <a:off x="2429140" y="2312343"/>
            <a:ext cx="461069" cy="487334"/>
            <a:chOff x="4376731" y="3219449"/>
            <a:chExt cx="392911" cy="415293"/>
          </a:xfrm>
          <a:solidFill>
            <a:srgbClr val="808080"/>
          </a:solidFill>
        </p:grpSpPr>
        <p:sp>
          <p:nvSpPr>
            <p:cNvPr id="141" name="Freihandform: Form 141">
              <a:extLst>
                <a:ext uri="{FF2B5EF4-FFF2-40B4-BE49-F238E27FC236}">
                  <a16:creationId xmlns:a16="http://schemas.microsoft.com/office/drawing/2014/main" id="{4371C187-9BC1-41D8-8B1D-F517281994C4}"/>
                </a:ext>
              </a:extLst>
            </p:cNvPr>
            <p:cNvSpPr/>
            <p:nvPr/>
          </p:nvSpPr>
          <p:spPr>
            <a:xfrm>
              <a:off x="4632854" y="3244500"/>
              <a:ext cx="45544" cy="91058"/>
            </a:xfrm>
            <a:custGeom>
              <a:avLst/>
              <a:gdLst>
                <a:gd name="connsiteX0" fmla="*/ 44492 w 45544"/>
                <a:gd name="connsiteY0" fmla="*/ 50197 h 91058"/>
                <a:gd name="connsiteX1" fmla="*/ 32585 w 45544"/>
                <a:gd name="connsiteY1" fmla="*/ 0 h 91058"/>
                <a:gd name="connsiteX2" fmla="*/ 1058 w 45544"/>
                <a:gd name="connsiteY2" fmla="*/ 40862 h 91058"/>
                <a:gd name="connsiteX3" fmla="*/ 12869 w 45544"/>
                <a:gd name="connsiteY3" fmla="*/ 91059 h 91058"/>
                <a:gd name="connsiteX4" fmla="*/ 44492 w 45544"/>
                <a:gd name="connsiteY4" fmla="*/ 50197 h 91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4" h="91058">
                  <a:moveTo>
                    <a:pt x="44492" y="50197"/>
                  </a:moveTo>
                  <a:cubicBezTo>
                    <a:pt x="49921" y="25051"/>
                    <a:pt x="32585" y="0"/>
                    <a:pt x="32585" y="0"/>
                  </a:cubicBezTo>
                  <a:cubicBezTo>
                    <a:pt x="32585" y="0"/>
                    <a:pt x="6487" y="15716"/>
                    <a:pt x="1058" y="40862"/>
                  </a:cubicBezTo>
                  <a:cubicBezTo>
                    <a:pt x="-4372" y="66008"/>
                    <a:pt x="12869" y="91059"/>
                    <a:pt x="12869" y="91059"/>
                  </a:cubicBezTo>
                  <a:cubicBezTo>
                    <a:pt x="12869" y="91059"/>
                    <a:pt x="39158" y="75343"/>
                    <a:pt x="44492" y="5019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2" name="Freihandform: Form 142">
              <a:extLst>
                <a:ext uri="{FF2B5EF4-FFF2-40B4-BE49-F238E27FC236}">
                  <a16:creationId xmlns:a16="http://schemas.microsoft.com/office/drawing/2014/main" id="{76E45043-D15F-4E93-B13B-441B8855FA2F}"/>
                </a:ext>
              </a:extLst>
            </p:cNvPr>
            <p:cNvSpPr/>
            <p:nvPr/>
          </p:nvSpPr>
          <p:spPr>
            <a:xfrm>
              <a:off x="4653723" y="3310888"/>
              <a:ext cx="91058" cy="45437"/>
            </a:xfrm>
            <a:custGeom>
              <a:avLst/>
              <a:gdLst>
                <a:gd name="connsiteX0" fmla="*/ 40862 w 91058"/>
                <a:gd name="connsiteY0" fmla="*/ 1049 h 45437"/>
                <a:gd name="connsiteX1" fmla="*/ 0 w 91058"/>
                <a:gd name="connsiteY1" fmla="*/ 32482 h 45437"/>
                <a:gd name="connsiteX2" fmla="*/ 40005 w 91058"/>
                <a:gd name="connsiteY2" fmla="*/ 45436 h 45437"/>
                <a:gd name="connsiteX3" fmla="*/ 50197 w 91058"/>
                <a:gd name="connsiteY3" fmla="*/ 44388 h 45437"/>
                <a:gd name="connsiteX4" fmla="*/ 91059 w 91058"/>
                <a:gd name="connsiteY4" fmla="*/ 13337 h 45437"/>
                <a:gd name="connsiteX5" fmla="*/ 50959 w 91058"/>
                <a:gd name="connsiteY5" fmla="*/ 2 h 45437"/>
                <a:gd name="connsiteX6" fmla="*/ 40862 w 91058"/>
                <a:gd name="connsiteY6" fmla="*/ 1049 h 4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058" h="45437">
                  <a:moveTo>
                    <a:pt x="40862" y="1049"/>
                  </a:moveTo>
                  <a:cubicBezTo>
                    <a:pt x="15716" y="6479"/>
                    <a:pt x="0" y="32482"/>
                    <a:pt x="0" y="32482"/>
                  </a:cubicBezTo>
                  <a:cubicBezTo>
                    <a:pt x="11931" y="40311"/>
                    <a:pt x="25749" y="44785"/>
                    <a:pt x="40005" y="45436"/>
                  </a:cubicBezTo>
                  <a:cubicBezTo>
                    <a:pt x="43430" y="45460"/>
                    <a:pt x="46848" y="45109"/>
                    <a:pt x="50197" y="44388"/>
                  </a:cubicBezTo>
                  <a:cubicBezTo>
                    <a:pt x="75438" y="38959"/>
                    <a:pt x="91059" y="13337"/>
                    <a:pt x="91059" y="13337"/>
                  </a:cubicBezTo>
                  <a:cubicBezTo>
                    <a:pt x="79127" y="5382"/>
                    <a:pt x="65278" y="777"/>
                    <a:pt x="50959" y="2"/>
                  </a:cubicBezTo>
                  <a:cubicBezTo>
                    <a:pt x="47565" y="-27"/>
                    <a:pt x="44178" y="324"/>
                    <a:pt x="40862" y="104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3" name="Freihandform: Form 143">
              <a:extLst>
                <a:ext uri="{FF2B5EF4-FFF2-40B4-BE49-F238E27FC236}">
                  <a16:creationId xmlns:a16="http://schemas.microsoft.com/office/drawing/2014/main" id="{2AEB923E-8AE8-4842-A6DF-9B15BAD38E5F}"/>
                </a:ext>
              </a:extLst>
            </p:cNvPr>
            <p:cNvSpPr/>
            <p:nvPr/>
          </p:nvSpPr>
          <p:spPr>
            <a:xfrm>
              <a:off x="4580757" y="3296602"/>
              <a:ext cx="45510" cy="91058"/>
            </a:xfrm>
            <a:custGeom>
              <a:avLst/>
              <a:gdLst>
                <a:gd name="connsiteX0" fmla="*/ 44487 w 45510"/>
                <a:gd name="connsiteY0" fmla="*/ 50197 h 91058"/>
                <a:gd name="connsiteX1" fmla="*/ 32581 w 45510"/>
                <a:gd name="connsiteY1" fmla="*/ 0 h 91058"/>
                <a:gd name="connsiteX2" fmla="*/ 1053 w 45510"/>
                <a:gd name="connsiteY2" fmla="*/ 40862 h 91058"/>
                <a:gd name="connsiteX3" fmla="*/ 12959 w 45510"/>
                <a:gd name="connsiteY3" fmla="*/ 91059 h 91058"/>
                <a:gd name="connsiteX4" fmla="*/ 44487 w 45510"/>
                <a:gd name="connsiteY4" fmla="*/ 50197 h 91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10" h="91058">
                  <a:moveTo>
                    <a:pt x="44487" y="50197"/>
                  </a:moveTo>
                  <a:cubicBezTo>
                    <a:pt x="49821" y="25051"/>
                    <a:pt x="32581" y="0"/>
                    <a:pt x="32581" y="0"/>
                  </a:cubicBezTo>
                  <a:cubicBezTo>
                    <a:pt x="32581" y="0"/>
                    <a:pt x="6482" y="15716"/>
                    <a:pt x="1053" y="40862"/>
                  </a:cubicBezTo>
                  <a:cubicBezTo>
                    <a:pt x="-4376" y="66008"/>
                    <a:pt x="12959" y="91059"/>
                    <a:pt x="12959" y="91059"/>
                  </a:cubicBezTo>
                  <a:cubicBezTo>
                    <a:pt x="12959" y="91059"/>
                    <a:pt x="39058" y="75248"/>
                    <a:pt x="44487" y="5019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4" name="Freihandform: Form 144">
              <a:extLst>
                <a:ext uri="{FF2B5EF4-FFF2-40B4-BE49-F238E27FC236}">
                  <a16:creationId xmlns:a16="http://schemas.microsoft.com/office/drawing/2014/main" id="{9206ABE2-4A29-4EE4-B6C1-80772D4E038B}"/>
                </a:ext>
              </a:extLst>
            </p:cNvPr>
            <p:cNvSpPr/>
            <p:nvPr/>
          </p:nvSpPr>
          <p:spPr>
            <a:xfrm>
              <a:off x="4601527" y="3362985"/>
              <a:ext cx="91154" cy="45442"/>
            </a:xfrm>
            <a:custGeom>
              <a:avLst/>
              <a:gdLst>
                <a:gd name="connsiteX0" fmla="*/ 40957 w 91154"/>
                <a:gd name="connsiteY0" fmla="*/ 1054 h 45442"/>
                <a:gd name="connsiteX1" fmla="*/ 0 w 91154"/>
                <a:gd name="connsiteY1" fmla="*/ 32582 h 45442"/>
                <a:gd name="connsiteX2" fmla="*/ 40100 w 91154"/>
                <a:gd name="connsiteY2" fmla="*/ 45440 h 45442"/>
                <a:gd name="connsiteX3" fmla="*/ 50197 w 91154"/>
                <a:gd name="connsiteY3" fmla="*/ 44393 h 45442"/>
                <a:gd name="connsiteX4" fmla="*/ 91154 w 91154"/>
                <a:gd name="connsiteY4" fmla="*/ 12960 h 45442"/>
                <a:gd name="connsiteX5" fmla="*/ 51435 w 91154"/>
                <a:gd name="connsiteY5" fmla="*/ 6 h 45442"/>
                <a:gd name="connsiteX6" fmla="*/ 40957 w 91154"/>
                <a:gd name="connsiteY6" fmla="*/ 1054 h 4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154" h="45442">
                  <a:moveTo>
                    <a:pt x="40957" y="1054"/>
                  </a:moveTo>
                  <a:cubicBezTo>
                    <a:pt x="15811" y="6483"/>
                    <a:pt x="0" y="32582"/>
                    <a:pt x="0" y="32582"/>
                  </a:cubicBezTo>
                  <a:cubicBezTo>
                    <a:pt x="11987" y="40355"/>
                    <a:pt x="25828" y="44793"/>
                    <a:pt x="40100" y="45440"/>
                  </a:cubicBezTo>
                  <a:cubicBezTo>
                    <a:pt x="43494" y="45469"/>
                    <a:pt x="46881" y="45118"/>
                    <a:pt x="50197" y="44393"/>
                  </a:cubicBezTo>
                  <a:cubicBezTo>
                    <a:pt x="75343" y="38963"/>
                    <a:pt x="91154" y="12960"/>
                    <a:pt x="91154" y="12960"/>
                  </a:cubicBezTo>
                  <a:cubicBezTo>
                    <a:pt x="79293" y="5205"/>
                    <a:pt x="65587" y="735"/>
                    <a:pt x="51435" y="6"/>
                  </a:cubicBezTo>
                  <a:cubicBezTo>
                    <a:pt x="47914" y="-52"/>
                    <a:pt x="44398" y="300"/>
                    <a:pt x="40957" y="105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5" name="Freihandform: Form 145">
              <a:extLst>
                <a:ext uri="{FF2B5EF4-FFF2-40B4-BE49-F238E27FC236}">
                  <a16:creationId xmlns:a16="http://schemas.microsoft.com/office/drawing/2014/main" id="{311EBCE4-DCD3-4206-B59C-41BEB12D5E9E}"/>
                </a:ext>
              </a:extLst>
            </p:cNvPr>
            <p:cNvSpPr/>
            <p:nvPr/>
          </p:nvSpPr>
          <p:spPr>
            <a:xfrm>
              <a:off x="4528655" y="3348704"/>
              <a:ext cx="45449" cy="91058"/>
            </a:xfrm>
            <a:custGeom>
              <a:avLst/>
              <a:gdLst>
                <a:gd name="connsiteX0" fmla="*/ 44392 w 45449"/>
                <a:gd name="connsiteY0" fmla="*/ 50197 h 91058"/>
                <a:gd name="connsiteX1" fmla="*/ 32581 w 45449"/>
                <a:gd name="connsiteY1" fmla="*/ 0 h 91058"/>
                <a:gd name="connsiteX2" fmla="*/ 1053 w 45449"/>
                <a:gd name="connsiteY2" fmla="*/ 40862 h 91058"/>
                <a:gd name="connsiteX3" fmla="*/ 12959 w 45449"/>
                <a:gd name="connsiteY3" fmla="*/ 91059 h 91058"/>
                <a:gd name="connsiteX4" fmla="*/ 44392 w 45449"/>
                <a:gd name="connsiteY4" fmla="*/ 50197 h 91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449" h="91058">
                  <a:moveTo>
                    <a:pt x="44392" y="50197"/>
                  </a:moveTo>
                  <a:cubicBezTo>
                    <a:pt x="49821" y="25051"/>
                    <a:pt x="32581" y="0"/>
                    <a:pt x="32581" y="0"/>
                  </a:cubicBezTo>
                  <a:cubicBezTo>
                    <a:pt x="32581" y="0"/>
                    <a:pt x="6482" y="15716"/>
                    <a:pt x="1053" y="40862"/>
                  </a:cubicBezTo>
                  <a:cubicBezTo>
                    <a:pt x="-4376" y="66008"/>
                    <a:pt x="12959" y="91059"/>
                    <a:pt x="12959" y="91059"/>
                  </a:cubicBezTo>
                  <a:cubicBezTo>
                    <a:pt x="12959" y="91059"/>
                    <a:pt x="39058" y="75343"/>
                    <a:pt x="44392" y="5019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6" name="Freihandform: Form 146">
              <a:extLst>
                <a:ext uri="{FF2B5EF4-FFF2-40B4-BE49-F238E27FC236}">
                  <a16:creationId xmlns:a16="http://schemas.microsoft.com/office/drawing/2014/main" id="{20B263A5-8145-49DE-8D45-639F22546374}"/>
                </a:ext>
              </a:extLst>
            </p:cNvPr>
            <p:cNvSpPr/>
            <p:nvPr/>
          </p:nvSpPr>
          <p:spPr>
            <a:xfrm>
              <a:off x="4549425" y="3415093"/>
              <a:ext cx="91059" cy="45529"/>
            </a:xfrm>
            <a:custGeom>
              <a:avLst/>
              <a:gdLst>
                <a:gd name="connsiteX0" fmla="*/ 40862 w 91059"/>
                <a:gd name="connsiteY0" fmla="*/ 1048 h 45529"/>
                <a:gd name="connsiteX1" fmla="*/ 0 w 91059"/>
                <a:gd name="connsiteY1" fmla="*/ 32576 h 45529"/>
                <a:gd name="connsiteX2" fmla="*/ 40100 w 91059"/>
                <a:gd name="connsiteY2" fmla="*/ 45530 h 45529"/>
                <a:gd name="connsiteX3" fmla="*/ 50197 w 91059"/>
                <a:gd name="connsiteY3" fmla="*/ 44387 h 45529"/>
                <a:gd name="connsiteX4" fmla="*/ 91059 w 91059"/>
                <a:gd name="connsiteY4" fmla="*/ 12954 h 45529"/>
                <a:gd name="connsiteX5" fmla="*/ 51054 w 91059"/>
                <a:gd name="connsiteY5" fmla="*/ 0 h 45529"/>
                <a:gd name="connsiteX6" fmla="*/ 40862 w 91059"/>
                <a:gd name="connsiteY6" fmla="*/ 1048 h 45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059" h="45529">
                  <a:moveTo>
                    <a:pt x="40862" y="1048"/>
                  </a:moveTo>
                  <a:cubicBezTo>
                    <a:pt x="15716" y="6477"/>
                    <a:pt x="0" y="32576"/>
                    <a:pt x="0" y="32576"/>
                  </a:cubicBezTo>
                  <a:cubicBezTo>
                    <a:pt x="11971" y="40395"/>
                    <a:pt x="25817" y="44868"/>
                    <a:pt x="40100" y="45530"/>
                  </a:cubicBezTo>
                  <a:cubicBezTo>
                    <a:pt x="43498" y="45526"/>
                    <a:pt x="46884" y="45142"/>
                    <a:pt x="50197" y="44387"/>
                  </a:cubicBezTo>
                  <a:cubicBezTo>
                    <a:pt x="75343" y="39053"/>
                    <a:pt x="91059" y="12954"/>
                    <a:pt x="91059" y="12954"/>
                  </a:cubicBezTo>
                  <a:cubicBezTo>
                    <a:pt x="79128" y="5125"/>
                    <a:pt x="65310" y="651"/>
                    <a:pt x="51054" y="0"/>
                  </a:cubicBezTo>
                  <a:cubicBezTo>
                    <a:pt x="47631" y="23"/>
                    <a:pt x="44218" y="374"/>
                    <a:pt x="40862" y="10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7" name="Freihandform: Form 147">
              <a:extLst>
                <a:ext uri="{FF2B5EF4-FFF2-40B4-BE49-F238E27FC236}">
                  <a16:creationId xmlns:a16="http://schemas.microsoft.com/office/drawing/2014/main" id="{1D3F43CD-85D1-4E9A-8779-14DE1E413F3A}"/>
                </a:ext>
              </a:extLst>
            </p:cNvPr>
            <p:cNvSpPr/>
            <p:nvPr/>
          </p:nvSpPr>
          <p:spPr>
            <a:xfrm>
              <a:off x="4476553" y="3400901"/>
              <a:ext cx="45444" cy="91059"/>
            </a:xfrm>
            <a:custGeom>
              <a:avLst/>
              <a:gdLst>
                <a:gd name="connsiteX0" fmla="*/ 44392 w 45444"/>
                <a:gd name="connsiteY0" fmla="*/ 50197 h 91059"/>
                <a:gd name="connsiteX1" fmla="*/ 32485 w 45444"/>
                <a:gd name="connsiteY1" fmla="*/ 0 h 91059"/>
                <a:gd name="connsiteX2" fmla="*/ 1053 w 45444"/>
                <a:gd name="connsiteY2" fmla="*/ 40862 h 91059"/>
                <a:gd name="connsiteX3" fmla="*/ 12959 w 45444"/>
                <a:gd name="connsiteY3" fmla="*/ 91059 h 91059"/>
                <a:gd name="connsiteX4" fmla="*/ 44392 w 45444"/>
                <a:gd name="connsiteY4" fmla="*/ 50197 h 91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444" h="91059">
                  <a:moveTo>
                    <a:pt x="44392" y="50197"/>
                  </a:moveTo>
                  <a:cubicBezTo>
                    <a:pt x="49821" y="25051"/>
                    <a:pt x="32485" y="0"/>
                    <a:pt x="32485" y="0"/>
                  </a:cubicBezTo>
                  <a:cubicBezTo>
                    <a:pt x="32485" y="0"/>
                    <a:pt x="6482" y="15716"/>
                    <a:pt x="1053" y="40862"/>
                  </a:cubicBezTo>
                  <a:cubicBezTo>
                    <a:pt x="-4376" y="66008"/>
                    <a:pt x="12959" y="91059"/>
                    <a:pt x="12959" y="91059"/>
                  </a:cubicBezTo>
                  <a:cubicBezTo>
                    <a:pt x="12959" y="91059"/>
                    <a:pt x="39058" y="75724"/>
                    <a:pt x="44392" y="5019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8" name="Freihandform: Form 148">
              <a:extLst>
                <a:ext uri="{FF2B5EF4-FFF2-40B4-BE49-F238E27FC236}">
                  <a16:creationId xmlns:a16="http://schemas.microsoft.com/office/drawing/2014/main" id="{56CB6618-A36C-46C8-B4C7-70F157B04761}"/>
                </a:ext>
              </a:extLst>
            </p:cNvPr>
            <p:cNvSpPr/>
            <p:nvPr/>
          </p:nvSpPr>
          <p:spPr>
            <a:xfrm>
              <a:off x="4497799" y="3467100"/>
              <a:ext cx="91059" cy="45624"/>
            </a:xfrm>
            <a:custGeom>
              <a:avLst/>
              <a:gdLst>
                <a:gd name="connsiteX0" fmla="*/ 40862 w 91059"/>
                <a:gd name="connsiteY0" fmla="*/ 1143 h 45624"/>
                <a:gd name="connsiteX1" fmla="*/ 0 w 91059"/>
                <a:gd name="connsiteY1" fmla="*/ 32671 h 45624"/>
                <a:gd name="connsiteX2" fmla="*/ 40100 w 91059"/>
                <a:gd name="connsiteY2" fmla="*/ 45625 h 45624"/>
                <a:gd name="connsiteX3" fmla="*/ 50197 w 91059"/>
                <a:gd name="connsiteY3" fmla="*/ 44577 h 45624"/>
                <a:gd name="connsiteX4" fmla="*/ 91059 w 91059"/>
                <a:gd name="connsiteY4" fmla="*/ 13049 h 45624"/>
                <a:gd name="connsiteX5" fmla="*/ 50387 w 91059"/>
                <a:gd name="connsiteY5" fmla="*/ 0 h 45624"/>
                <a:gd name="connsiteX6" fmla="*/ 40862 w 91059"/>
                <a:gd name="connsiteY6" fmla="*/ 1143 h 45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059" h="45624">
                  <a:moveTo>
                    <a:pt x="40862" y="1143"/>
                  </a:moveTo>
                  <a:cubicBezTo>
                    <a:pt x="15716" y="6572"/>
                    <a:pt x="0" y="32671"/>
                    <a:pt x="0" y="32671"/>
                  </a:cubicBezTo>
                  <a:cubicBezTo>
                    <a:pt x="11971" y="40490"/>
                    <a:pt x="25817" y="44963"/>
                    <a:pt x="40100" y="45625"/>
                  </a:cubicBezTo>
                  <a:cubicBezTo>
                    <a:pt x="43492" y="45601"/>
                    <a:pt x="46873" y="45250"/>
                    <a:pt x="50197" y="44577"/>
                  </a:cubicBezTo>
                  <a:cubicBezTo>
                    <a:pt x="75343" y="39148"/>
                    <a:pt x="91059" y="13049"/>
                    <a:pt x="91059" y="13049"/>
                  </a:cubicBezTo>
                  <a:cubicBezTo>
                    <a:pt x="78929" y="5107"/>
                    <a:pt x="64874" y="598"/>
                    <a:pt x="50387" y="0"/>
                  </a:cubicBezTo>
                  <a:cubicBezTo>
                    <a:pt x="47181" y="53"/>
                    <a:pt x="43990" y="436"/>
                    <a:pt x="40862" y="11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9" name="Freihandform: Form 149">
              <a:extLst>
                <a:ext uri="{FF2B5EF4-FFF2-40B4-BE49-F238E27FC236}">
                  <a16:creationId xmlns:a16="http://schemas.microsoft.com/office/drawing/2014/main" id="{23A14F89-DC0B-4C3A-B2F5-ABBB837E61A7}"/>
                </a:ext>
              </a:extLst>
            </p:cNvPr>
            <p:cNvSpPr/>
            <p:nvPr/>
          </p:nvSpPr>
          <p:spPr>
            <a:xfrm>
              <a:off x="4424452" y="3453003"/>
              <a:ext cx="45444" cy="91059"/>
            </a:xfrm>
            <a:custGeom>
              <a:avLst/>
              <a:gdLst>
                <a:gd name="connsiteX0" fmla="*/ 44392 w 45444"/>
                <a:gd name="connsiteY0" fmla="*/ 50197 h 91059"/>
                <a:gd name="connsiteX1" fmla="*/ 32485 w 45444"/>
                <a:gd name="connsiteY1" fmla="*/ 0 h 91059"/>
                <a:gd name="connsiteX2" fmla="*/ 1053 w 45444"/>
                <a:gd name="connsiteY2" fmla="*/ 40862 h 91059"/>
                <a:gd name="connsiteX3" fmla="*/ 12959 w 45444"/>
                <a:gd name="connsiteY3" fmla="*/ 91059 h 91059"/>
                <a:gd name="connsiteX4" fmla="*/ 44392 w 45444"/>
                <a:gd name="connsiteY4" fmla="*/ 50197 h 91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444" h="91059">
                  <a:moveTo>
                    <a:pt x="44392" y="50197"/>
                  </a:moveTo>
                  <a:cubicBezTo>
                    <a:pt x="49821" y="25051"/>
                    <a:pt x="32485" y="0"/>
                    <a:pt x="32485" y="0"/>
                  </a:cubicBezTo>
                  <a:cubicBezTo>
                    <a:pt x="32485" y="0"/>
                    <a:pt x="6482" y="15716"/>
                    <a:pt x="1053" y="40862"/>
                  </a:cubicBezTo>
                  <a:cubicBezTo>
                    <a:pt x="-4376" y="66008"/>
                    <a:pt x="12959" y="91059"/>
                    <a:pt x="12959" y="91059"/>
                  </a:cubicBezTo>
                  <a:cubicBezTo>
                    <a:pt x="12959" y="91059"/>
                    <a:pt x="38962" y="75343"/>
                    <a:pt x="44392" y="5019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0" name="Freihandform: Form 786">
              <a:extLst>
                <a:ext uri="{FF2B5EF4-FFF2-40B4-BE49-F238E27FC236}">
                  <a16:creationId xmlns:a16="http://schemas.microsoft.com/office/drawing/2014/main" id="{FCB3662A-26D0-49C9-98B6-15C233FFAD53}"/>
                </a:ext>
              </a:extLst>
            </p:cNvPr>
            <p:cNvSpPr/>
            <p:nvPr/>
          </p:nvSpPr>
          <p:spPr>
            <a:xfrm>
              <a:off x="4445221" y="3519391"/>
              <a:ext cx="91058" cy="45436"/>
            </a:xfrm>
            <a:custGeom>
              <a:avLst/>
              <a:gdLst>
                <a:gd name="connsiteX0" fmla="*/ 40862 w 91058"/>
                <a:gd name="connsiteY0" fmla="*/ 1049 h 45436"/>
                <a:gd name="connsiteX1" fmla="*/ 0 w 91058"/>
                <a:gd name="connsiteY1" fmla="*/ 32481 h 45436"/>
                <a:gd name="connsiteX2" fmla="*/ 40005 w 91058"/>
                <a:gd name="connsiteY2" fmla="*/ 45435 h 45436"/>
                <a:gd name="connsiteX3" fmla="*/ 50197 w 91058"/>
                <a:gd name="connsiteY3" fmla="*/ 44388 h 45436"/>
                <a:gd name="connsiteX4" fmla="*/ 91059 w 91058"/>
                <a:gd name="connsiteY4" fmla="*/ 12955 h 45436"/>
                <a:gd name="connsiteX5" fmla="*/ 50959 w 91058"/>
                <a:gd name="connsiteY5" fmla="*/ 1 h 45436"/>
                <a:gd name="connsiteX6" fmla="*/ 40862 w 91058"/>
                <a:gd name="connsiteY6" fmla="*/ 1049 h 45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058" h="45436">
                  <a:moveTo>
                    <a:pt x="40862" y="1049"/>
                  </a:moveTo>
                  <a:cubicBezTo>
                    <a:pt x="15716" y="6383"/>
                    <a:pt x="0" y="32481"/>
                    <a:pt x="0" y="32481"/>
                  </a:cubicBezTo>
                  <a:cubicBezTo>
                    <a:pt x="11939" y="40293"/>
                    <a:pt x="25753" y="44766"/>
                    <a:pt x="40005" y="45435"/>
                  </a:cubicBezTo>
                  <a:cubicBezTo>
                    <a:pt x="43430" y="45460"/>
                    <a:pt x="46848" y="45108"/>
                    <a:pt x="50197" y="44388"/>
                  </a:cubicBezTo>
                  <a:cubicBezTo>
                    <a:pt x="75343" y="38958"/>
                    <a:pt x="91059" y="12955"/>
                    <a:pt x="91059" y="12955"/>
                  </a:cubicBezTo>
                  <a:cubicBezTo>
                    <a:pt x="79088" y="5136"/>
                    <a:pt x="65242" y="663"/>
                    <a:pt x="50959" y="1"/>
                  </a:cubicBezTo>
                  <a:cubicBezTo>
                    <a:pt x="47565" y="-23"/>
                    <a:pt x="44179" y="328"/>
                    <a:pt x="40862" y="104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1" name="Freihandform: Form 787">
              <a:extLst>
                <a:ext uri="{FF2B5EF4-FFF2-40B4-BE49-F238E27FC236}">
                  <a16:creationId xmlns:a16="http://schemas.microsoft.com/office/drawing/2014/main" id="{32B048D0-8210-430C-BD67-56CAA8D25027}"/>
                </a:ext>
              </a:extLst>
            </p:cNvPr>
            <p:cNvSpPr/>
            <p:nvPr/>
          </p:nvSpPr>
          <p:spPr>
            <a:xfrm>
              <a:off x="4376731" y="3557478"/>
              <a:ext cx="56103" cy="77264"/>
            </a:xfrm>
            <a:custGeom>
              <a:avLst/>
              <a:gdLst>
                <a:gd name="connsiteX0" fmla="*/ 47630 w 56103"/>
                <a:gd name="connsiteY0" fmla="*/ 1823 h 77264"/>
                <a:gd name="connsiteX1" fmla="*/ 482 w 56103"/>
                <a:gd name="connsiteY1" fmla="*/ 70594 h 77264"/>
                <a:gd name="connsiteX2" fmla="*/ 2768 w 56103"/>
                <a:gd name="connsiteY2" fmla="*/ 77166 h 77264"/>
                <a:gd name="connsiteX3" fmla="*/ 4863 w 56103"/>
                <a:gd name="connsiteY3" fmla="*/ 77166 h 77264"/>
                <a:gd name="connsiteX4" fmla="*/ 9530 w 56103"/>
                <a:gd name="connsiteY4" fmla="*/ 74880 h 77264"/>
                <a:gd name="connsiteX5" fmla="*/ 54679 w 56103"/>
                <a:gd name="connsiteY5" fmla="*/ 8205 h 77264"/>
                <a:gd name="connsiteX6" fmla="*/ 54679 w 56103"/>
                <a:gd name="connsiteY6" fmla="*/ 1252 h 77264"/>
                <a:gd name="connsiteX7" fmla="*/ 47818 w 56103"/>
                <a:gd name="connsiteY7" fmla="*/ 1603 h 77264"/>
                <a:gd name="connsiteX8" fmla="*/ 47630 w 56103"/>
                <a:gd name="connsiteY8" fmla="*/ 1823 h 77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103" h="77264">
                  <a:moveTo>
                    <a:pt x="47630" y="1823"/>
                  </a:moveTo>
                  <a:cubicBezTo>
                    <a:pt x="28968" y="22581"/>
                    <a:pt x="13116" y="45703"/>
                    <a:pt x="482" y="70594"/>
                  </a:cubicBezTo>
                  <a:cubicBezTo>
                    <a:pt x="-683" y="73041"/>
                    <a:pt x="336" y="75970"/>
                    <a:pt x="2768" y="77166"/>
                  </a:cubicBezTo>
                  <a:cubicBezTo>
                    <a:pt x="3460" y="77298"/>
                    <a:pt x="4171" y="77298"/>
                    <a:pt x="4863" y="77166"/>
                  </a:cubicBezTo>
                  <a:cubicBezTo>
                    <a:pt x="6726" y="77347"/>
                    <a:pt x="8531" y="76463"/>
                    <a:pt x="9530" y="74880"/>
                  </a:cubicBezTo>
                  <a:cubicBezTo>
                    <a:pt x="21639" y="50800"/>
                    <a:pt x="36814" y="28388"/>
                    <a:pt x="54679" y="8205"/>
                  </a:cubicBezTo>
                  <a:cubicBezTo>
                    <a:pt x="56579" y="6277"/>
                    <a:pt x="56579" y="3180"/>
                    <a:pt x="54679" y="1252"/>
                  </a:cubicBezTo>
                  <a:cubicBezTo>
                    <a:pt x="52687" y="-546"/>
                    <a:pt x="49616" y="-389"/>
                    <a:pt x="47818" y="1603"/>
                  </a:cubicBezTo>
                  <a:cubicBezTo>
                    <a:pt x="47753" y="1674"/>
                    <a:pt x="47691" y="1748"/>
                    <a:pt x="47630" y="1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2" name="Freihandform: Form 788">
              <a:extLst>
                <a:ext uri="{FF2B5EF4-FFF2-40B4-BE49-F238E27FC236}">
                  <a16:creationId xmlns:a16="http://schemas.microsoft.com/office/drawing/2014/main" id="{07399DFA-AE9D-4BBE-9285-6E5E27BBAD9F}"/>
                </a:ext>
              </a:extLst>
            </p:cNvPr>
            <p:cNvSpPr/>
            <p:nvPr/>
          </p:nvSpPr>
          <p:spPr>
            <a:xfrm>
              <a:off x="4688881" y="3219449"/>
              <a:ext cx="80761" cy="80507"/>
            </a:xfrm>
            <a:custGeom>
              <a:avLst/>
              <a:gdLst>
                <a:gd name="connsiteX0" fmla="*/ 61331 w 80761"/>
                <a:gd name="connsiteY0" fmla="*/ 27337 h 80507"/>
                <a:gd name="connsiteX1" fmla="*/ 53139 w 80761"/>
                <a:gd name="connsiteY1" fmla="*/ 27337 h 80507"/>
                <a:gd name="connsiteX2" fmla="*/ 51330 w 80761"/>
                <a:gd name="connsiteY2" fmla="*/ 0 h 80507"/>
                <a:gd name="connsiteX3" fmla="*/ 7896 w 80761"/>
                <a:gd name="connsiteY3" fmla="*/ 27813 h 80507"/>
                <a:gd name="connsiteX4" fmla="*/ 2181 w 80761"/>
                <a:gd name="connsiteY4" fmla="*/ 78391 h 80507"/>
                <a:gd name="connsiteX5" fmla="*/ 2181 w 80761"/>
                <a:gd name="connsiteY5" fmla="*/ 78391 h 80507"/>
                <a:gd name="connsiteX6" fmla="*/ 2181 w 80761"/>
                <a:gd name="connsiteY6" fmla="*/ 78391 h 80507"/>
                <a:gd name="connsiteX7" fmla="*/ 2181 w 80761"/>
                <a:gd name="connsiteY7" fmla="*/ 78391 h 80507"/>
                <a:gd name="connsiteX8" fmla="*/ 2181 w 80761"/>
                <a:gd name="connsiteY8" fmla="*/ 78391 h 80507"/>
                <a:gd name="connsiteX9" fmla="*/ 21231 w 80761"/>
                <a:gd name="connsiteY9" fmla="*/ 80486 h 80507"/>
                <a:gd name="connsiteX10" fmla="*/ 52949 w 80761"/>
                <a:gd name="connsiteY10" fmla="*/ 72390 h 80507"/>
                <a:gd name="connsiteX11" fmla="*/ 80762 w 80761"/>
                <a:gd name="connsiteY11" fmla="*/ 28956 h 80507"/>
                <a:gd name="connsiteX12" fmla="*/ 61331 w 80761"/>
                <a:gd name="connsiteY12" fmla="*/ 27337 h 80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0761" h="80507">
                  <a:moveTo>
                    <a:pt x="61331" y="27337"/>
                  </a:moveTo>
                  <a:cubicBezTo>
                    <a:pt x="58759" y="27337"/>
                    <a:pt x="55997" y="27337"/>
                    <a:pt x="53139" y="27337"/>
                  </a:cubicBezTo>
                  <a:cubicBezTo>
                    <a:pt x="54034" y="18187"/>
                    <a:pt x="53423" y="8952"/>
                    <a:pt x="51330" y="0"/>
                  </a:cubicBezTo>
                  <a:cubicBezTo>
                    <a:pt x="51330" y="0"/>
                    <a:pt x="21231" y="6001"/>
                    <a:pt x="7896" y="27813"/>
                  </a:cubicBezTo>
                  <a:cubicBezTo>
                    <a:pt x="-52" y="43430"/>
                    <a:pt x="-2082" y="61394"/>
                    <a:pt x="2181" y="78391"/>
                  </a:cubicBezTo>
                  <a:lnTo>
                    <a:pt x="2181" y="78391"/>
                  </a:lnTo>
                  <a:lnTo>
                    <a:pt x="2181" y="78391"/>
                  </a:lnTo>
                  <a:lnTo>
                    <a:pt x="2181" y="78391"/>
                  </a:lnTo>
                  <a:lnTo>
                    <a:pt x="2181" y="78391"/>
                  </a:lnTo>
                  <a:cubicBezTo>
                    <a:pt x="8429" y="79818"/>
                    <a:pt x="14821" y="80521"/>
                    <a:pt x="21231" y="80486"/>
                  </a:cubicBezTo>
                  <a:cubicBezTo>
                    <a:pt x="32350" y="80784"/>
                    <a:pt x="43333" y="77981"/>
                    <a:pt x="52949" y="72390"/>
                  </a:cubicBezTo>
                  <a:cubicBezTo>
                    <a:pt x="74761" y="58865"/>
                    <a:pt x="80762" y="28956"/>
                    <a:pt x="80762" y="28956"/>
                  </a:cubicBezTo>
                  <a:cubicBezTo>
                    <a:pt x="74366" y="27688"/>
                    <a:pt x="67848" y="27145"/>
                    <a:pt x="61331" y="2733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53" name="Grafik 1870">
            <a:extLst>
              <a:ext uri="{FF2B5EF4-FFF2-40B4-BE49-F238E27FC236}">
                <a16:creationId xmlns:a16="http://schemas.microsoft.com/office/drawing/2014/main" id="{5A148D1C-112A-421B-8780-D611533A4120}"/>
              </a:ext>
            </a:extLst>
          </p:cNvPr>
          <p:cNvGrpSpPr/>
          <p:nvPr/>
        </p:nvGrpSpPr>
        <p:grpSpPr>
          <a:xfrm>
            <a:off x="3118039" y="2271927"/>
            <a:ext cx="279635" cy="568166"/>
            <a:chOff x="6427545" y="2136401"/>
            <a:chExt cx="238298" cy="484176"/>
          </a:xfrm>
          <a:solidFill>
            <a:srgbClr val="808080"/>
          </a:solidFill>
        </p:grpSpPr>
        <p:sp>
          <p:nvSpPr>
            <p:cNvPr id="154" name="Freihandform: Form 603">
              <a:extLst>
                <a:ext uri="{FF2B5EF4-FFF2-40B4-BE49-F238E27FC236}">
                  <a16:creationId xmlns:a16="http://schemas.microsoft.com/office/drawing/2014/main" id="{57ACE477-D9BD-4900-9BE8-A49C7EDBB2A6}"/>
                </a:ext>
              </a:extLst>
            </p:cNvPr>
            <p:cNvSpPr/>
            <p:nvPr/>
          </p:nvSpPr>
          <p:spPr>
            <a:xfrm>
              <a:off x="6427545" y="2321216"/>
              <a:ext cx="237145" cy="295720"/>
            </a:xfrm>
            <a:custGeom>
              <a:avLst/>
              <a:gdLst>
                <a:gd name="connsiteX0" fmla="*/ 224001 w 237145"/>
                <a:gd name="connsiteY0" fmla="*/ 212948 h 295720"/>
                <a:gd name="connsiteX1" fmla="*/ 202189 w 237145"/>
                <a:gd name="connsiteY1" fmla="*/ 131700 h 295720"/>
                <a:gd name="connsiteX2" fmla="*/ 202189 w 237145"/>
                <a:gd name="connsiteY2" fmla="*/ 132271 h 295720"/>
                <a:gd name="connsiteX3" fmla="*/ 202189 w 237145"/>
                <a:gd name="connsiteY3" fmla="*/ 131509 h 295720"/>
                <a:gd name="connsiteX4" fmla="*/ 202189 w 237145"/>
                <a:gd name="connsiteY4" fmla="*/ 131509 h 295720"/>
                <a:gd name="connsiteX5" fmla="*/ 202189 w 237145"/>
                <a:gd name="connsiteY5" fmla="*/ 130938 h 295720"/>
                <a:gd name="connsiteX6" fmla="*/ 202189 w 237145"/>
                <a:gd name="connsiteY6" fmla="*/ 129890 h 295720"/>
                <a:gd name="connsiteX7" fmla="*/ 201427 w 237145"/>
                <a:gd name="connsiteY7" fmla="*/ 127795 h 295720"/>
                <a:gd name="connsiteX8" fmla="*/ 199903 w 237145"/>
                <a:gd name="connsiteY8" fmla="*/ 123604 h 295720"/>
                <a:gd name="connsiteX9" fmla="*/ 197331 w 237145"/>
                <a:gd name="connsiteY9" fmla="*/ 116841 h 295720"/>
                <a:gd name="connsiteX10" fmla="*/ 197331 w 237145"/>
                <a:gd name="connsiteY10" fmla="*/ 116841 h 295720"/>
                <a:gd name="connsiteX11" fmla="*/ 197903 w 237145"/>
                <a:gd name="connsiteY11" fmla="*/ 114555 h 295720"/>
                <a:gd name="connsiteX12" fmla="*/ 195236 w 237145"/>
                <a:gd name="connsiteY12" fmla="*/ 109126 h 295720"/>
                <a:gd name="connsiteX13" fmla="*/ 191997 w 237145"/>
                <a:gd name="connsiteY13" fmla="*/ 104744 h 295720"/>
                <a:gd name="connsiteX14" fmla="*/ 190949 w 237145"/>
                <a:gd name="connsiteY14" fmla="*/ 102268 h 295720"/>
                <a:gd name="connsiteX15" fmla="*/ 192092 w 237145"/>
                <a:gd name="connsiteY15" fmla="*/ 100934 h 295720"/>
                <a:gd name="connsiteX16" fmla="*/ 193045 w 237145"/>
                <a:gd name="connsiteY16" fmla="*/ 95029 h 295720"/>
                <a:gd name="connsiteX17" fmla="*/ 191807 w 237145"/>
                <a:gd name="connsiteY17" fmla="*/ 83884 h 295720"/>
                <a:gd name="connsiteX18" fmla="*/ 190568 w 237145"/>
                <a:gd name="connsiteY18" fmla="*/ 81884 h 295720"/>
                <a:gd name="connsiteX19" fmla="*/ 185711 w 237145"/>
                <a:gd name="connsiteY19" fmla="*/ 81884 h 295720"/>
                <a:gd name="connsiteX20" fmla="*/ 185711 w 237145"/>
                <a:gd name="connsiteY20" fmla="*/ 81884 h 295720"/>
                <a:gd name="connsiteX21" fmla="*/ 184758 w 237145"/>
                <a:gd name="connsiteY21" fmla="*/ 89504 h 295720"/>
                <a:gd name="connsiteX22" fmla="*/ 183520 w 237145"/>
                <a:gd name="connsiteY22" fmla="*/ 87123 h 295720"/>
                <a:gd name="connsiteX23" fmla="*/ 184377 w 237145"/>
                <a:gd name="connsiteY23" fmla="*/ 85789 h 295720"/>
                <a:gd name="connsiteX24" fmla="*/ 184377 w 237145"/>
                <a:gd name="connsiteY24" fmla="*/ 79789 h 295720"/>
                <a:gd name="connsiteX25" fmla="*/ 181710 w 237145"/>
                <a:gd name="connsiteY25" fmla="*/ 68835 h 295720"/>
                <a:gd name="connsiteX26" fmla="*/ 181043 w 237145"/>
                <a:gd name="connsiteY26" fmla="*/ 67787 h 295720"/>
                <a:gd name="connsiteX27" fmla="*/ 176281 w 237145"/>
                <a:gd name="connsiteY27" fmla="*/ 68644 h 295720"/>
                <a:gd name="connsiteX28" fmla="*/ 176281 w 237145"/>
                <a:gd name="connsiteY28" fmla="*/ 68644 h 295720"/>
                <a:gd name="connsiteX29" fmla="*/ 176281 w 237145"/>
                <a:gd name="connsiteY29" fmla="*/ 73121 h 295720"/>
                <a:gd name="connsiteX30" fmla="*/ 174757 w 237145"/>
                <a:gd name="connsiteY30" fmla="*/ 70359 h 295720"/>
                <a:gd name="connsiteX31" fmla="*/ 174757 w 237145"/>
                <a:gd name="connsiteY31" fmla="*/ 70359 h 295720"/>
                <a:gd name="connsiteX32" fmla="*/ 175995 w 237145"/>
                <a:gd name="connsiteY32" fmla="*/ 64453 h 295720"/>
                <a:gd name="connsiteX33" fmla="*/ 175519 w 237145"/>
                <a:gd name="connsiteY33" fmla="*/ 53309 h 295720"/>
                <a:gd name="connsiteX34" fmla="*/ 175043 w 237145"/>
                <a:gd name="connsiteY34" fmla="*/ 51880 h 295720"/>
                <a:gd name="connsiteX35" fmla="*/ 170185 w 237145"/>
                <a:gd name="connsiteY35" fmla="*/ 51880 h 295720"/>
                <a:gd name="connsiteX36" fmla="*/ 170185 w 237145"/>
                <a:gd name="connsiteY36" fmla="*/ 51880 h 295720"/>
                <a:gd name="connsiteX37" fmla="*/ 168756 w 237145"/>
                <a:gd name="connsiteY37" fmla="*/ 60834 h 295720"/>
                <a:gd name="connsiteX38" fmla="*/ 167327 w 237145"/>
                <a:gd name="connsiteY38" fmla="*/ 58643 h 295720"/>
                <a:gd name="connsiteX39" fmla="*/ 168756 w 237145"/>
                <a:gd name="connsiteY39" fmla="*/ 56929 h 295720"/>
                <a:gd name="connsiteX40" fmla="*/ 168756 w 237145"/>
                <a:gd name="connsiteY40" fmla="*/ 50928 h 295720"/>
                <a:gd name="connsiteX41" fmla="*/ 165899 w 237145"/>
                <a:gd name="connsiteY41" fmla="*/ 39974 h 295720"/>
                <a:gd name="connsiteX42" fmla="*/ 165137 w 237145"/>
                <a:gd name="connsiteY42" fmla="*/ 38641 h 295720"/>
                <a:gd name="connsiteX43" fmla="*/ 160374 w 237145"/>
                <a:gd name="connsiteY43" fmla="*/ 39593 h 295720"/>
                <a:gd name="connsiteX44" fmla="*/ 160374 w 237145"/>
                <a:gd name="connsiteY44" fmla="*/ 39593 h 295720"/>
                <a:gd name="connsiteX45" fmla="*/ 160946 w 237145"/>
                <a:gd name="connsiteY45" fmla="*/ 49118 h 295720"/>
                <a:gd name="connsiteX46" fmla="*/ 158660 w 237145"/>
                <a:gd name="connsiteY46" fmla="*/ 46070 h 295720"/>
                <a:gd name="connsiteX47" fmla="*/ 158660 w 237145"/>
                <a:gd name="connsiteY47" fmla="*/ 46070 h 295720"/>
                <a:gd name="connsiteX48" fmla="*/ 158660 w 237145"/>
                <a:gd name="connsiteY48" fmla="*/ 40069 h 295720"/>
                <a:gd name="connsiteX49" fmla="*/ 155421 w 237145"/>
                <a:gd name="connsiteY49" fmla="*/ 29306 h 295720"/>
                <a:gd name="connsiteX50" fmla="*/ 154659 w 237145"/>
                <a:gd name="connsiteY50" fmla="*/ 27877 h 295720"/>
                <a:gd name="connsiteX51" fmla="*/ 149897 w 237145"/>
                <a:gd name="connsiteY51" fmla="*/ 29020 h 295720"/>
                <a:gd name="connsiteX52" fmla="*/ 149897 w 237145"/>
                <a:gd name="connsiteY52" fmla="*/ 29020 h 295720"/>
                <a:gd name="connsiteX53" fmla="*/ 147420 w 237145"/>
                <a:gd name="connsiteY53" fmla="*/ 28544 h 295720"/>
                <a:gd name="connsiteX54" fmla="*/ 141610 w 237145"/>
                <a:gd name="connsiteY54" fmla="*/ 27973 h 295720"/>
                <a:gd name="connsiteX55" fmla="*/ 139133 w 237145"/>
                <a:gd name="connsiteY55" fmla="*/ 25972 h 295720"/>
                <a:gd name="connsiteX56" fmla="*/ 139133 w 237145"/>
                <a:gd name="connsiteY56" fmla="*/ 24258 h 295720"/>
                <a:gd name="connsiteX57" fmla="*/ 136562 w 237145"/>
                <a:gd name="connsiteY57" fmla="*/ 18829 h 295720"/>
                <a:gd name="connsiteX58" fmla="*/ 129323 w 237145"/>
                <a:gd name="connsiteY58" fmla="*/ 10256 h 295720"/>
                <a:gd name="connsiteX59" fmla="*/ 127989 w 237145"/>
                <a:gd name="connsiteY59" fmla="*/ 9399 h 295720"/>
                <a:gd name="connsiteX60" fmla="*/ 124179 w 237145"/>
                <a:gd name="connsiteY60" fmla="*/ 12256 h 295720"/>
                <a:gd name="connsiteX61" fmla="*/ 124179 w 237145"/>
                <a:gd name="connsiteY61" fmla="*/ 12256 h 295720"/>
                <a:gd name="connsiteX62" fmla="*/ 127418 w 237145"/>
                <a:gd name="connsiteY62" fmla="*/ 18829 h 295720"/>
                <a:gd name="connsiteX63" fmla="*/ 124084 w 237145"/>
                <a:gd name="connsiteY63" fmla="*/ 17400 h 295720"/>
                <a:gd name="connsiteX64" fmla="*/ 124084 w 237145"/>
                <a:gd name="connsiteY64" fmla="*/ 16733 h 295720"/>
                <a:gd name="connsiteX65" fmla="*/ 124084 w 237145"/>
                <a:gd name="connsiteY65" fmla="*/ 14352 h 295720"/>
                <a:gd name="connsiteX66" fmla="*/ 119798 w 237145"/>
                <a:gd name="connsiteY66" fmla="*/ 10161 h 295720"/>
                <a:gd name="connsiteX67" fmla="*/ 110273 w 237145"/>
                <a:gd name="connsiteY67" fmla="*/ 4636 h 295720"/>
                <a:gd name="connsiteX68" fmla="*/ 108749 w 237145"/>
                <a:gd name="connsiteY68" fmla="*/ 4636 h 295720"/>
                <a:gd name="connsiteX69" fmla="*/ 106177 w 237145"/>
                <a:gd name="connsiteY69" fmla="*/ 8732 h 295720"/>
                <a:gd name="connsiteX70" fmla="*/ 106177 w 237145"/>
                <a:gd name="connsiteY70" fmla="*/ 8732 h 295720"/>
                <a:gd name="connsiteX71" fmla="*/ 112368 w 237145"/>
                <a:gd name="connsiteY71" fmla="*/ 14352 h 295720"/>
                <a:gd name="connsiteX72" fmla="*/ 107606 w 237145"/>
                <a:gd name="connsiteY72" fmla="*/ 13495 h 295720"/>
                <a:gd name="connsiteX73" fmla="*/ 107606 w 237145"/>
                <a:gd name="connsiteY73" fmla="*/ 11590 h 295720"/>
                <a:gd name="connsiteX74" fmla="*/ 103605 w 237145"/>
                <a:gd name="connsiteY74" fmla="*/ 7018 h 295720"/>
                <a:gd name="connsiteX75" fmla="*/ 94080 w 237145"/>
                <a:gd name="connsiteY75" fmla="*/ 826 h 295720"/>
                <a:gd name="connsiteX76" fmla="*/ 92556 w 237145"/>
                <a:gd name="connsiteY76" fmla="*/ 255 h 295720"/>
                <a:gd name="connsiteX77" fmla="*/ 89699 w 237145"/>
                <a:gd name="connsiteY77" fmla="*/ 4160 h 295720"/>
                <a:gd name="connsiteX78" fmla="*/ 89699 w 237145"/>
                <a:gd name="connsiteY78" fmla="*/ 4160 h 295720"/>
                <a:gd name="connsiteX79" fmla="*/ 99224 w 237145"/>
                <a:gd name="connsiteY79" fmla="*/ 12542 h 295720"/>
                <a:gd name="connsiteX80" fmla="*/ 95318 w 237145"/>
                <a:gd name="connsiteY80" fmla="*/ 12542 h 295720"/>
                <a:gd name="connsiteX81" fmla="*/ 95318 w 237145"/>
                <a:gd name="connsiteY81" fmla="*/ 12066 h 295720"/>
                <a:gd name="connsiteX82" fmla="*/ 94366 w 237145"/>
                <a:gd name="connsiteY82" fmla="*/ 9875 h 295720"/>
                <a:gd name="connsiteX83" fmla="*/ 89032 w 237145"/>
                <a:gd name="connsiteY83" fmla="*/ 7113 h 295720"/>
                <a:gd name="connsiteX84" fmla="*/ 77983 w 237145"/>
                <a:gd name="connsiteY84" fmla="*/ 4827 h 295720"/>
                <a:gd name="connsiteX85" fmla="*/ 76268 w 237145"/>
                <a:gd name="connsiteY85" fmla="*/ 4827 h 295720"/>
                <a:gd name="connsiteX86" fmla="*/ 75030 w 237145"/>
                <a:gd name="connsiteY86" fmla="*/ 9494 h 295720"/>
                <a:gd name="connsiteX87" fmla="*/ 75030 w 237145"/>
                <a:gd name="connsiteY87" fmla="*/ 9494 h 295720"/>
                <a:gd name="connsiteX88" fmla="*/ 82650 w 237145"/>
                <a:gd name="connsiteY88" fmla="*/ 13018 h 295720"/>
                <a:gd name="connsiteX89" fmla="*/ 81507 w 237145"/>
                <a:gd name="connsiteY89" fmla="*/ 13018 h 295720"/>
                <a:gd name="connsiteX90" fmla="*/ 78745 w 237145"/>
                <a:gd name="connsiteY90" fmla="*/ 13018 h 295720"/>
                <a:gd name="connsiteX91" fmla="*/ 78078 w 237145"/>
                <a:gd name="connsiteY91" fmla="*/ 11971 h 295720"/>
                <a:gd name="connsiteX92" fmla="*/ 72744 w 237145"/>
                <a:gd name="connsiteY92" fmla="*/ 9208 h 295720"/>
                <a:gd name="connsiteX93" fmla="*/ 61695 w 237145"/>
                <a:gd name="connsiteY93" fmla="*/ 6827 h 295720"/>
                <a:gd name="connsiteX94" fmla="*/ 60457 w 237145"/>
                <a:gd name="connsiteY94" fmla="*/ 6827 h 295720"/>
                <a:gd name="connsiteX95" fmla="*/ 59219 w 237145"/>
                <a:gd name="connsiteY95" fmla="*/ 11494 h 295720"/>
                <a:gd name="connsiteX96" fmla="*/ 59219 w 237145"/>
                <a:gd name="connsiteY96" fmla="*/ 11494 h 295720"/>
                <a:gd name="connsiteX97" fmla="*/ 66362 w 237145"/>
                <a:gd name="connsiteY97" fmla="*/ 14828 h 295720"/>
                <a:gd name="connsiteX98" fmla="*/ 64553 w 237145"/>
                <a:gd name="connsiteY98" fmla="*/ 16162 h 295720"/>
                <a:gd name="connsiteX99" fmla="*/ 64553 w 237145"/>
                <a:gd name="connsiteY99" fmla="*/ 16162 h 295720"/>
                <a:gd name="connsiteX100" fmla="*/ 62933 w 237145"/>
                <a:gd name="connsiteY100" fmla="*/ 15209 h 295720"/>
                <a:gd name="connsiteX101" fmla="*/ 57218 w 237145"/>
                <a:gd name="connsiteY101" fmla="*/ 13780 h 295720"/>
                <a:gd name="connsiteX102" fmla="*/ 45979 w 237145"/>
                <a:gd name="connsiteY102" fmla="*/ 14638 h 295720"/>
                <a:gd name="connsiteX103" fmla="*/ 44455 w 237145"/>
                <a:gd name="connsiteY103" fmla="*/ 14638 h 295720"/>
                <a:gd name="connsiteX104" fmla="*/ 44455 w 237145"/>
                <a:gd name="connsiteY104" fmla="*/ 19495 h 295720"/>
                <a:gd name="connsiteX105" fmla="*/ 44455 w 237145"/>
                <a:gd name="connsiteY105" fmla="*/ 19495 h 295720"/>
                <a:gd name="connsiteX106" fmla="*/ 46360 w 237145"/>
                <a:gd name="connsiteY106" fmla="*/ 19972 h 295720"/>
                <a:gd name="connsiteX107" fmla="*/ 42455 w 237145"/>
                <a:gd name="connsiteY107" fmla="*/ 20734 h 295720"/>
                <a:gd name="connsiteX108" fmla="*/ 31977 w 237145"/>
                <a:gd name="connsiteY108" fmla="*/ 24734 h 295720"/>
                <a:gd name="connsiteX109" fmla="*/ 30644 w 237145"/>
                <a:gd name="connsiteY109" fmla="*/ 25687 h 295720"/>
                <a:gd name="connsiteX110" fmla="*/ 32168 w 237145"/>
                <a:gd name="connsiteY110" fmla="*/ 30259 h 295720"/>
                <a:gd name="connsiteX111" fmla="*/ 33882 w 237145"/>
                <a:gd name="connsiteY111" fmla="*/ 30259 h 295720"/>
                <a:gd name="connsiteX112" fmla="*/ 31882 w 237145"/>
                <a:gd name="connsiteY112" fmla="*/ 32545 h 295720"/>
                <a:gd name="connsiteX113" fmla="*/ 31882 w 237145"/>
                <a:gd name="connsiteY113" fmla="*/ 32545 h 295720"/>
                <a:gd name="connsiteX114" fmla="*/ 31882 w 237145"/>
                <a:gd name="connsiteY114" fmla="*/ 32545 h 295720"/>
                <a:gd name="connsiteX115" fmla="*/ 31882 w 237145"/>
                <a:gd name="connsiteY115" fmla="*/ 31783 h 295720"/>
                <a:gd name="connsiteX116" fmla="*/ 29691 w 237145"/>
                <a:gd name="connsiteY116" fmla="*/ 30735 h 295720"/>
                <a:gd name="connsiteX117" fmla="*/ 23881 w 237145"/>
                <a:gd name="connsiteY117" fmla="*/ 32259 h 295720"/>
                <a:gd name="connsiteX118" fmla="*/ 14356 w 237145"/>
                <a:gd name="connsiteY118" fmla="*/ 37783 h 295720"/>
                <a:gd name="connsiteX119" fmla="*/ 13213 w 237145"/>
                <a:gd name="connsiteY119" fmla="*/ 38926 h 295720"/>
                <a:gd name="connsiteX120" fmla="*/ 15308 w 237145"/>
                <a:gd name="connsiteY120" fmla="*/ 43213 h 295720"/>
                <a:gd name="connsiteX121" fmla="*/ 15308 w 237145"/>
                <a:gd name="connsiteY121" fmla="*/ 43213 h 295720"/>
                <a:gd name="connsiteX122" fmla="*/ 21595 w 237145"/>
                <a:gd name="connsiteY122" fmla="*/ 41593 h 295720"/>
                <a:gd name="connsiteX123" fmla="*/ 21595 w 237145"/>
                <a:gd name="connsiteY123" fmla="*/ 41593 h 295720"/>
                <a:gd name="connsiteX124" fmla="*/ 19118 w 237145"/>
                <a:gd name="connsiteY124" fmla="*/ 45308 h 295720"/>
                <a:gd name="connsiteX125" fmla="*/ 19118 w 237145"/>
                <a:gd name="connsiteY125" fmla="*/ 44451 h 295720"/>
                <a:gd name="connsiteX126" fmla="*/ 18547 w 237145"/>
                <a:gd name="connsiteY126" fmla="*/ 43879 h 295720"/>
                <a:gd name="connsiteX127" fmla="*/ 16166 w 237145"/>
                <a:gd name="connsiteY127" fmla="*/ 43879 h 295720"/>
                <a:gd name="connsiteX128" fmla="*/ 11022 w 237145"/>
                <a:gd name="connsiteY128" fmla="*/ 47023 h 295720"/>
                <a:gd name="connsiteX129" fmla="*/ 3402 w 237145"/>
                <a:gd name="connsiteY129" fmla="*/ 55309 h 295720"/>
                <a:gd name="connsiteX130" fmla="*/ 2640 w 237145"/>
                <a:gd name="connsiteY130" fmla="*/ 56738 h 295720"/>
                <a:gd name="connsiteX131" fmla="*/ 6069 w 237145"/>
                <a:gd name="connsiteY131" fmla="*/ 60167 h 295720"/>
                <a:gd name="connsiteX132" fmla="*/ 6069 w 237145"/>
                <a:gd name="connsiteY132" fmla="*/ 60167 h 295720"/>
                <a:gd name="connsiteX133" fmla="*/ 7117 w 237145"/>
                <a:gd name="connsiteY133" fmla="*/ 59596 h 295720"/>
                <a:gd name="connsiteX134" fmla="*/ 6260 w 237145"/>
                <a:gd name="connsiteY134" fmla="*/ 60929 h 295720"/>
                <a:gd name="connsiteX135" fmla="*/ 68 w 237145"/>
                <a:gd name="connsiteY135" fmla="*/ 71311 h 295720"/>
                <a:gd name="connsiteX136" fmla="*/ 68 w 237145"/>
                <a:gd name="connsiteY136" fmla="*/ 72835 h 295720"/>
                <a:gd name="connsiteX137" fmla="*/ 4259 w 237145"/>
                <a:gd name="connsiteY137" fmla="*/ 75217 h 295720"/>
                <a:gd name="connsiteX138" fmla="*/ 4259 w 237145"/>
                <a:gd name="connsiteY138" fmla="*/ 75217 h 295720"/>
                <a:gd name="connsiteX139" fmla="*/ 12737 w 237145"/>
                <a:gd name="connsiteY139" fmla="*/ 60262 h 295720"/>
                <a:gd name="connsiteX140" fmla="*/ 12165 w 237145"/>
                <a:gd name="connsiteY140" fmla="*/ 56738 h 295720"/>
                <a:gd name="connsiteX141" fmla="*/ 11403 w 237145"/>
                <a:gd name="connsiteY141" fmla="*/ 56262 h 295720"/>
                <a:gd name="connsiteX142" fmla="*/ 11403 w 237145"/>
                <a:gd name="connsiteY142" fmla="*/ 56262 h 295720"/>
                <a:gd name="connsiteX143" fmla="*/ 16356 w 237145"/>
                <a:gd name="connsiteY143" fmla="*/ 50833 h 295720"/>
                <a:gd name="connsiteX144" fmla="*/ 14546 w 237145"/>
                <a:gd name="connsiteY144" fmla="*/ 58167 h 295720"/>
                <a:gd name="connsiteX145" fmla="*/ 14546 w 237145"/>
                <a:gd name="connsiteY145" fmla="*/ 59691 h 295720"/>
                <a:gd name="connsiteX146" fmla="*/ 19118 w 237145"/>
                <a:gd name="connsiteY146" fmla="*/ 61310 h 295720"/>
                <a:gd name="connsiteX147" fmla="*/ 19118 w 237145"/>
                <a:gd name="connsiteY147" fmla="*/ 61310 h 295720"/>
                <a:gd name="connsiteX148" fmla="*/ 25119 w 237145"/>
                <a:gd name="connsiteY148" fmla="*/ 45118 h 295720"/>
                <a:gd name="connsiteX149" fmla="*/ 23881 w 237145"/>
                <a:gd name="connsiteY149" fmla="*/ 41784 h 295720"/>
                <a:gd name="connsiteX150" fmla="*/ 23881 w 237145"/>
                <a:gd name="connsiteY150" fmla="*/ 41784 h 295720"/>
                <a:gd name="connsiteX151" fmla="*/ 26167 w 237145"/>
                <a:gd name="connsiteY151" fmla="*/ 39593 h 295720"/>
                <a:gd name="connsiteX152" fmla="*/ 29024 w 237145"/>
                <a:gd name="connsiteY152" fmla="*/ 37593 h 295720"/>
                <a:gd name="connsiteX153" fmla="*/ 26357 w 237145"/>
                <a:gd name="connsiteY153" fmla="*/ 42927 h 295720"/>
                <a:gd name="connsiteX154" fmla="*/ 26357 w 237145"/>
                <a:gd name="connsiteY154" fmla="*/ 44451 h 295720"/>
                <a:gd name="connsiteX155" fmla="*/ 30358 w 237145"/>
                <a:gd name="connsiteY155" fmla="*/ 47118 h 295720"/>
                <a:gd name="connsiteX156" fmla="*/ 30358 w 237145"/>
                <a:gd name="connsiteY156" fmla="*/ 47118 h 295720"/>
                <a:gd name="connsiteX157" fmla="*/ 39883 w 237145"/>
                <a:gd name="connsiteY157" fmla="*/ 32926 h 295720"/>
                <a:gd name="connsiteX158" fmla="*/ 39883 w 237145"/>
                <a:gd name="connsiteY158" fmla="*/ 30068 h 295720"/>
                <a:gd name="connsiteX159" fmla="*/ 45026 w 237145"/>
                <a:gd name="connsiteY159" fmla="*/ 28163 h 295720"/>
                <a:gd name="connsiteX160" fmla="*/ 41407 w 237145"/>
                <a:gd name="connsiteY160" fmla="*/ 32830 h 295720"/>
                <a:gd name="connsiteX161" fmla="*/ 40645 w 237145"/>
                <a:gd name="connsiteY161" fmla="*/ 34259 h 295720"/>
                <a:gd name="connsiteX162" fmla="*/ 44074 w 237145"/>
                <a:gd name="connsiteY162" fmla="*/ 37593 h 295720"/>
                <a:gd name="connsiteX163" fmla="*/ 44074 w 237145"/>
                <a:gd name="connsiteY163" fmla="*/ 37593 h 295720"/>
                <a:gd name="connsiteX164" fmla="*/ 56361 w 237145"/>
                <a:gd name="connsiteY164" fmla="*/ 25496 h 295720"/>
                <a:gd name="connsiteX165" fmla="*/ 56361 w 237145"/>
                <a:gd name="connsiteY165" fmla="*/ 21972 h 295720"/>
                <a:gd name="connsiteX166" fmla="*/ 55790 w 237145"/>
                <a:gd name="connsiteY166" fmla="*/ 21400 h 295720"/>
                <a:gd name="connsiteX167" fmla="*/ 55790 w 237145"/>
                <a:gd name="connsiteY167" fmla="*/ 21400 h 295720"/>
                <a:gd name="connsiteX168" fmla="*/ 61505 w 237145"/>
                <a:gd name="connsiteY168" fmla="*/ 20257 h 295720"/>
                <a:gd name="connsiteX169" fmla="*/ 55694 w 237145"/>
                <a:gd name="connsiteY169" fmla="*/ 28544 h 295720"/>
                <a:gd name="connsiteX170" fmla="*/ 55123 w 237145"/>
                <a:gd name="connsiteY170" fmla="*/ 30068 h 295720"/>
                <a:gd name="connsiteX171" fmla="*/ 58933 w 237145"/>
                <a:gd name="connsiteY171" fmla="*/ 33021 h 295720"/>
                <a:gd name="connsiteX172" fmla="*/ 58933 w 237145"/>
                <a:gd name="connsiteY172" fmla="*/ 33021 h 295720"/>
                <a:gd name="connsiteX173" fmla="*/ 69982 w 237145"/>
                <a:gd name="connsiteY173" fmla="*/ 19781 h 295720"/>
                <a:gd name="connsiteX174" fmla="*/ 69982 w 237145"/>
                <a:gd name="connsiteY174" fmla="*/ 17019 h 295720"/>
                <a:gd name="connsiteX175" fmla="*/ 75125 w 237145"/>
                <a:gd name="connsiteY175" fmla="*/ 17495 h 295720"/>
                <a:gd name="connsiteX176" fmla="*/ 68744 w 237145"/>
                <a:gd name="connsiteY176" fmla="*/ 23401 h 295720"/>
                <a:gd name="connsiteX177" fmla="*/ 67791 w 237145"/>
                <a:gd name="connsiteY177" fmla="*/ 24734 h 295720"/>
                <a:gd name="connsiteX178" fmla="*/ 70839 w 237145"/>
                <a:gd name="connsiteY178" fmla="*/ 28544 h 295720"/>
                <a:gd name="connsiteX179" fmla="*/ 70839 w 237145"/>
                <a:gd name="connsiteY179" fmla="*/ 28544 h 295720"/>
                <a:gd name="connsiteX180" fmla="*/ 80364 w 237145"/>
                <a:gd name="connsiteY180" fmla="*/ 22924 h 295720"/>
                <a:gd name="connsiteX181" fmla="*/ 83793 w 237145"/>
                <a:gd name="connsiteY181" fmla="*/ 24734 h 295720"/>
                <a:gd name="connsiteX182" fmla="*/ 83793 w 237145"/>
                <a:gd name="connsiteY182" fmla="*/ 24734 h 295720"/>
                <a:gd name="connsiteX183" fmla="*/ 93890 w 237145"/>
                <a:gd name="connsiteY183" fmla="*/ 22067 h 295720"/>
                <a:gd name="connsiteX184" fmla="*/ 96366 w 237145"/>
                <a:gd name="connsiteY184" fmla="*/ 23210 h 295720"/>
                <a:gd name="connsiteX185" fmla="*/ 96366 w 237145"/>
                <a:gd name="connsiteY185" fmla="*/ 23210 h 295720"/>
                <a:gd name="connsiteX186" fmla="*/ 114368 w 237145"/>
                <a:gd name="connsiteY186" fmla="*/ 21496 h 295720"/>
                <a:gd name="connsiteX187" fmla="*/ 114368 w 237145"/>
                <a:gd name="connsiteY187" fmla="*/ 21496 h 295720"/>
                <a:gd name="connsiteX188" fmla="*/ 116369 w 237145"/>
                <a:gd name="connsiteY188" fmla="*/ 24639 h 295720"/>
                <a:gd name="connsiteX189" fmla="*/ 116369 w 237145"/>
                <a:gd name="connsiteY189" fmla="*/ 24639 h 295720"/>
                <a:gd name="connsiteX190" fmla="*/ 133228 w 237145"/>
                <a:gd name="connsiteY190" fmla="*/ 28258 h 295720"/>
                <a:gd name="connsiteX191" fmla="*/ 135800 w 237145"/>
                <a:gd name="connsiteY191" fmla="*/ 27306 h 295720"/>
                <a:gd name="connsiteX192" fmla="*/ 137419 w 237145"/>
                <a:gd name="connsiteY192" fmla="*/ 27306 h 295720"/>
                <a:gd name="connsiteX193" fmla="*/ 138371 w 237145"/>
                <a:gd name="connsiteY193" fmla="*/ 28068 h 295720"/>
                <a:gd name="connsiteX194" fmla="*/ 136276 w 237145"/>
                <a:gd name="connsiteY194" fmla="*/ 28068 h 295720"/>
                <a:gd name="connsiteX195" fmla="*/ 134752 w 237145"/>
                <a:gd name="connsiteY195" fmla="*/ 28068 h 295720"/>
                <a:gd name="connsiteX196" fmla="*/ 134752 w 237145"/>
                <a:gd name="connsiteY196" fmla="*/ 32926 h 295720"/>
                <a:gd name="connsiteX197" fmla="*/ 134752 w 237145"/>
                <a:gd name="connsiteY197" fmla="*/ 32926 h 295720"/>
                <a:gd name="connsiteX198" fmla="*/ 147134 w 237145"/>
                <a:gd name="connsiteY198" fmla="*/ 35212 h 295720"/>
                <a:gd name="connsiteX199" fmla="*/ 150373 w 237145"/>
                <a:gd name="connsiteY199" fmla="*/ 38641 h 295720"/>
                <a:gd name="connsiteX200" fmla="*/ 151897 w 237145"/>
                <a:gd name="connsiteY200" fmla="*/ 40546 h 295720"/>
                <a:gd name="connsiteX201" fmla="*/ 154088 w 237145"/>
                <a:gd name="connsiteY201" fmla="*/ 45403 h 295720"/>
                <a:gd name="connsiteX202" fmla="*/ 156945 w 237145"/>
                <a:gd name="connsiteY202" fmla="*/ 47594 h 295720"/>
                <a:gd name="connsiteX203" fmla="*/ 157517 w 237145"/>
                <a:gd name="connsiteY203" fmla="*/ 47594 h 295720"/>
                <a:gd name="connsiteX204" fmla="*/ 161136 w 237145"/>
                <a:gd name="connsiteY204" fmla="*/ 52642 h 295720"/>
                <a:gd name="connsiteX205" fmla="*/ 162660 w 237145"/>
                <a:gd name="connsiteY205" fmla="*/ 54833 h 295720"/>
                <a:gd name="connsiteX206" fmla="*/ 155612 w 237145"/>
                <a:gd name="connsiteY206" fmla="*/ 50928 h 295720"/>
                <a:gd name="connsiteX207" fmla="*/ 154088 w 237145"/>
                <a:gd name="connsiteY207" fmla="*/ 50452 h 295720"/>
                <a:gd name="connsiteX208" fmla="*/ 151325 w 237145"/>
                <a:gd name="connsiteY208" fmla="*/ 54452 h 295720"/>
                <a:gd name="connsiteX209" fmla="*/ 151325 w 237145"/>
                <a:gd name="connsiteY209" fmla="*/ 54452 h 295720"/>
                <a:gd name="connsiteX210" fmla="*/ 165422 w 237145"/>
                <a:gd name="connsiteY210" fmla="*/ 64549 h 295720"/>
                <a:gd name="connsiteX211" fmla="*/ 168661 w 237145"/>
                <a:gd name="connsiteY211" fmla="*/ 64549 h 295720"/>
                <a:gd name="connsiteX212" fmla="*/ 169709 w 237145"/>
                <a:gd name="connsiteY212" fmla="*/ 66263 h 295720"/>
                <a:gd name="connsiteX213" fmla="*/ 169709 w 237145"/>
                <a:gd name="connsiteY213" fmla="*/ 67692 h 295720"/>
                <a:gd name="connsiteX214" fmla="*/ 167137 w 237145"/>
                <a:gd name="connsiteY214" fmla="*/ 66073 h 295720"/>
                <a:gd name="connsiteX215" fmla="*/ 165708 w 237145"/>
                <a:gd name="connsiteY215" fmla="*/ 65406 h 295720"/>
                <a:gd name="connsiteX216" fmla="*/ 162374 w 237145"/>
                <a:gd name="connsiteY216" fmla="*/ 68930 h 295720"/>
                <a:gd name="connsiteX217" fmla="*/ 162374 w 237145"/>
                <a:gd name="connsiteY217" fmla="*/ 68930 h 295720"/>
                <a:gd name="connsiteX218" fmla="*/ 174852 w 237145"/>
                <a:gd name="connsiteY218" fmla="*/ 81884 h 295720"/>
                <a:gd name="connsiteX219" fmla="*/ 177519 w 237145"/>
                <a:gd name="connsiteY219" fmla="*/ 82360 h 295720"/>
                <a:gd name="connsiteX220" fmla="*/ 178472 w 237145"/>
                <a:gd name="connsiteY220" fmla="*/ 84170 h 295720"/>
                <a:gd name="connsiteX221" fmla="*/ 178472 w 237145"/>
                <a:gd name="connsiteY221" fmla="*/ 84170 h 295720"/>
                <a:gd name="connsiteX222" fmla="*/ 177233 w 237145"/>
                <a:gd name="connsiteY222" fmla="*/ 83218 h 295720"/>
                <a:gd name="connsiteX223" fmla="*/ 175995 w 237145"/>
                <a:gd name="connsiteY223" fmla="*/ 81884 h 295720"/>
                <a:gd name="connsiteX224" fmla="*/ 172376 w 237145"/>
                <a:gd name="connsiteY224" fmla="*/ 85027 h 295720"/>
                <a:gd name="connsiteX225" fmla="*/ 172376 w 237145"/>
                <a:gd name="connsiteY225" fmla="*/ 85027 h 295720"/>
                <a:gd name="connsiteX226" fmla="*/ 183329 w 237145"/>
                <a:gd name="connsiteY226" fmla="*/ 97886 h 295720"/>
                <a:gd name="connsiteX227" fmla="*/ 182186 w 237145"/>
                <a:gd name="connsiteY227" fmla="*/ 101696 h 295720"/>
                <a:gd name="connsiteX228" fmla="*/ 182186 w 237145"/>
                <a:gd name="connsiteY228" fmla="*/ 101696 h 295720"/>
                <a:gd name="connsiteX229" fmla="*/ 192569 w 237145"/>
                <a:gd name="connsiteY229" fmla="*/ 115412 h 295720"/>
                <a:gd name="connsiteX230" fmla="*/ 192569 w 237145"/>
                <a:gd name="connsiteY230" fmla="*/ 115412 h 295720"/>
                <a:gd name="connsiteX231" fmla="*/ 195617 w 237145"/>
                <a:gd name="connsiteY231" fmla="*/ 123699 h 295720"/>
                <a:gd name="connsiteX232" fmla="*/ 197141 w 237145"/>
                <a:gd name="connsiteY232" fmla="*/ 127890 h 295720"/>
                <a:gd name="connsiteX233" fmla="*/ 197807 w 237145"/>
                <a:gd name="connsiteY233" fmla="*/ 129890 h 295720"/>
                <a:gd name="connsiteX234" fmla="*/ 197807 w 237145"/>
                <a:gd name="connsiteY234" fmla="*/ 130938 h 295720"/>
                <a:gd name="connsiteX235" fmla="*/ 197807 w 237145"/>
                <a:gd name="connsiteY235" fmla="*/ 131509 h 295720"/>
                <a:gd name="connsiteX236" fmla="*/ 197807 w 237145"/>
                <a:gd name="connsiteY236" fmla="*/ 131986 h 295720"/>
                <a:gd name="connsiteX237" fmla="*/ 218572 w 237145"/>
                <a:gd name="connsiteY237" fmla="*/ 213139 h 295720"/>
                <a:gd name="connsiteX238" fmla="*/ 231431 w 237145"/>
                <a:gd name="connsiteY238" fmla="*/ 295720 h 295720"/>
                <a:gd name="connsiteX239" fmla="*/ 237146 w 237145"/>
                <a:gd name="connsiteY239" fmla="*/ 293911 h 295720"/>
                <a:gd name="connsiteX240" fmla="*/ 224001 w 237145"/>
                <a:gd name="connsiteY240" fmla="*/ 212948 h 295720"/>
                <a:gd name="connsiteX241" fmla="*/ 85793 w 237145"/>
                <a:gd name="connsiteY241" fmla="*/ 14257 h 295720"/>
                <a:gd name="connsiteX242" fmla="*/ 88460 w 237145"/>
                <a:gd name="connsiteY242" fmla="*/ 14257 h 295720"/>
                <a:gd name="connsiteX243" fmla="*/ 91604 w 237145"/>
                <a:gd name="connsiteY243" fmla="*/ 14257 h 295720"/>
                <a:gd name="connsiteX244" fmla="*/ 92747 w 237145"/>
                <a:gd name="connsiteY244" fmla="*/ 14257 h 295720"/>
                <a:gd name="connsiteX245" fmla="*/ 84936 w 237145"/>
                <a:gd name="connsiteY245" fmla="*/ 17781 h 295720"/>
                <a:gd name="connsiteX246" fmla="*/ 85793 w 237145"/>
                <a:gd name="connsiteY246" fmla="*/ 14257 h 295720"/>
                <a:gd name="connsiteX247" fmla="*/ 52456 w 237145"/>
                <a:gd name="connsiteY247" fmla="*/ 21210 h 295720"/>
                <a:gd name="connsiteX248" fmla="*/ 50360 w 237145"/>
                <a:gd name="connsiteY248" fmla="*/ 22162 h 295720"/>
                <a:gd name="connsiteX249" fmla="*/ 50360 w 237145"/>
                <a:gd name="connsiteY249" fmla="*/ 22162 h 295720"/>
                <a:gd name="connsiteX250" fmla="*/ 49408 w 237145"/>
                <a:gd name="connsiteY250" fmla="*/ 21305 h 295720"/>
                <a:gd name="connsiteX251" fmla="*/ 23500 w 237145"/>
                <a:gd name="connsiteY251" fmla="*/ 41117 h 295720"/>
                <a:gd name="connsiteX252" fmla="*/ 23500 w 237145"/>
                <a:gd name="connsiteY252" fmla="*/ 41117 h 295720"/>
                <a:gd name="connsiteX253" fmla="*/ 22547 w 237145"/>
                <a:gd name="connsiteY253" fmla="*/ 41117 h 295720"/>
                <a:gd name="connsiteX254" fmla="*/ 24357 w 237145"/>
                <a:gd name="connsiteY254" fmla="*/ 40165 h 295720"/>
                <a:gd name="connsiteX255" fmla="*/ 23500 w 237145"/>
                <a:gd name="connsiteY255" fmla="*/ 41117 h 295720"/>
                <a:gd name="connsiteX256" fmla="*/ 109225 w 237145"/>
                <a:gd name="connsiteY256" fmla="*/ 15685 h 295720"/>
                <a:gd name="connsiteX257" fmla="*/ 101986 w 237145"/>
                <a:gd name="connsiteY257" fmla="*/ 16352 h 295720"/>
                <a:gd name="connsiteX258" fmla="*/ 101986 w 237145"/>
                <a:gd name="connsiteY258" fmla="*/ 14828 h 295720"/>
                <a:gd name="connsiteX259" fmla="*/ 101986 w 237145"/>
                <a:gd name="connsiteY259" fmla="*/ 14828 h 295720"/>
                <a:gd name="connsiteX260" fmla="*/ 103034 w 237145"/>
                <a:gd name="connsiteY260" fmla="*/ 14828 h 295720"/>
                <a:gd name="connsiteX261" fmla="*/ 103700 w 237145"/>
                <a:gd name="connsiteY261" fmla="*/ 14828 h 295720"/>
                <a:gd name="connsiteX262" fmla="*/ 106367 w 237145"/>
                <a:gd name="connsiteY262" fmla="*/ 14828 h 295720"/>
                <a:gd name="connsiteX263" fmla="*/ 110273 w 237145"/>
                <a:gd name="connsiteY263" fmla="*/ 15590 h 295720"/>
                <a:gd name="connsiteX264" fmla="*/ 118750 w 237145"/>
                <a:gd name="connsiteY264" fmla="*/ 19591 h 295720"/>
                <a:gd name="connsiteX265" fmla="*/ 117131 w 237145"/>
                <a:gd name="connsiteY265" fmla="*/ 19591 h 295720"/>
                <a:gd name="connsiteX266" fmla="*/ 116083 w 237145"/>
                <a:gd name="connsiteY266" fmla="*/ 19591 h 295720"/>
                <a:gd name="connsiteX267" fmla="*/ 116654 w 237145"/>
                <a:gd name="connsiteY267" fmla="*/ 18447 h 295720"/>
                <a:gd name="connsiteX268" fmla="*/ 116654 w 237145"/>
                <a:gd name="connsiteY268" fmla="*/ 17685 h 295720"/>
                <a:gd name="connsiteX269" fmla="*/ 115797 w 237145"/>
                <a:gd name="connsiteY269" fmla="*/ 16447 h 295720"/>
                <a:gd name="connsiteX270" fmla="*/ 122084 w 237145"/>
                <a:gd name="connsiteY270" fmla="*/ 18352 h 295720"/>
                <a:gd name="connsiteX271" fmla="*/ 125036 w 237145"/>
                <a:gd name="connsiteY271" fmla="*/ 19591 h 295720"/>
                <a:gd name="connsiteX272" fmla="*/ 118845 w 237145"/>
                <a:gd name="connsiteY272" fmla="*/ 19591 h 295720"/>
                <a:gd name="connsiteX273" fmla="*/ 149611 w 237145"/>
                <a:gd name="connsiteY273" fmla="*/ 35783 h 295720"/>
                <a:gd name="connsiteX274" fmla="*/ 149611 w 237145"/>
                <a:gd name="connsiteY274" fmla="*/ 35783 h 295720"/>
                <a:gd name="connsiteX275" fmla="*/ 149611 w 237145"/>
                <a:gd name="connsiteY275" fmla="*/ 36545 h 295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</a:cxnLst>
              <a:rect l="l" t="t" r="r" b="b"/>
              <a:pathLst>
                <a:path w="237145" h="295720">
                  <a:moveTo>
                    <a:pt x="224001" y="212948"/>
                  </a:moveTo>
                  <a:cubicBezTo>
                    <a:pt x="218096" y="185516"/>
                    <a:pt x="210761" y="158465"/>
                    <a:pt x="202189" y="131700"/>
                  </a:cubicBezTo>
                  <a:lnTo>
                    <a:pt x="202189" y="132271"/>
                  </a:lnTo>
                  <a:cubicBezTo>
                    <a:pt x="202189" y="132271"/>
                    <a:pt x="202189" y="131700"/>
                    <a:pt x="202189" y="131509"/>
                  </a:cubicBezTo>
                  <a:lnTo>
                    <a:pt x="202189" y="131509"/>
                  </a:lnTo>
                  <a:lnTo>
                    <a:pt x="202189" y="130938"/>
                  </a:lnTo>
                  <a:lnTo>
                    <a:pt x="202189" y="129890"/>
                  </a:lnTo>
                  <a:lnTo>
                    <a:pt x="201427" y="127795"/>
                  </a:lnTo>
                  <a:lnTo>
                    <a:pt x="199903" y="123604"/>
                  </a:lnTo>
                  <a:lnTo>
                    <a:pt x="197331" y="116841"/>
                  </a:lnTo>
                  <a:cubicBezTo>
                    <a:pt x="197331" y="116841"/>
                    <a:pt x="197331" y="116841"/>
                    <a:pt x="197331" y="116841"/>
                  </a:cubicBezTo>
                  <a:cubicBezTo>
                    <a:pt x="197830" y="116191"/>
                    <a:pt x="198038" y="115363"/>
                    <a:pt x="197903" y="114555"/>
                  </a:cubicBezTo>
                  <a:cubicBezTo>
                    <a:pt x="197406" y="112577"/>
                    <a:pt x="196497" y="110727"/>
                    <a:pt x="195236" y="109126"/>
                  </a:cubicBezTo>
                  <a:cubicBezTo>
                    <a:pt x="194188" y="107602"/>
                    <a:pt x="193140" y="106173"/>
                    <a:pt x="191997" y="104744"/>
                  </a:cubicBezTo>
                  <a:cubicBezTo>
                    <a:pt x="190854" y="103315"/>
                    <a:pt x="191235" y="103125"/>
                    <a:pt x="190949" y="102268"/>
                  </a:cubicBezTo>
                  <a:cubicBezTo>
                    <a:pt x="191470" y="101965"/>
                    <a:pt x="191873" y="101495"/>
                    <a:pt x="192092" y="100934"/>
                  </a:cubicBezTo>
                  <a:cubicBezTo>
                    <a:pt x="192809" y="99051"/>
                    <a:pt x="193134" y="97041"/>
                    <a:pt x="193045" y="95029"/>
                  </a:cubicBezTo>
                  <a:cubicBezTo>
                    <a:pt x="193209" y="91272"/>
                    <a:pt x="192791" y="87513"/>
                    <a:pt x="191807" y="83884"/>
                  </a:cubicBezTo>
                  <a:lnTo>
                    <a:pt x="190568" y="81884"/>
                  </a:lnTo>
                  <a:cubicBezTo>
                    <a:pt x="188949" y="78455"/>
                    <a:pt x="186663" y="78550"/>
                    <a:pt x="185711" y="81884"/>
                  </a:cubicBezTo>
                  <a:lnTo>
                    <a:pt x="185711" y="81884"/>
                  </a:lnTo>
                  <a:cubicBezTo>
                    <a:pt x="185072" y="84374"/>
                    <a:pt x="184752" y="86934"/>
                    <a:pt x="184758" y="89504"/>
                  </a:cubicBezTo>
                  <a:cubicBezTo>
                    <a:pt x="184758" y="88742"/>
                    <a:pt x="183996" y="87885"/>
                    <a:pt x="183520" y="87123"/>
                  </a:cubicBezTo>
                  <a:cubicBezTo>
                    <a:pt x="183934" y="86775"/>
                    <a:pt x="184233" y="86310"/>
                    <a:pt x="184377" y="85789"/>
                  </a:cubicBezTo>
                  <a:cubicBezTo>
                    <a:pt x="184762" y="83808"/>
                    <a:pt x="184762" y="81770"/>
                    <a:pt x="184377" y="79789"/>
                  </a:cubicBezTo>
                  <a:cubicBezTo>
                    <a:pt x="184055" y="76022"/>
                    <a:pt x="183155" y="72328"/>
                    <a:pt x="181710" y="68835"/>
                  </a:cubicBezTo>
                  <a:lnTo>
                    <a:pt x="181043" y="67787"/>
                  </a:lnTo>
                  <a:cubicBezTo>
                    <a:pt x="179043" y="64644"/>
                    <a:pt x="176757" y="64930"/>
                    <a:pt x="176281" y="68644"/>
                  </a:cubicBezTo>
                  <a:lnTo>
                    <a:pt x="176281" y="68644"/>
                  </a:lnTo>
                  <a:cubicBezTo>
                    <a:pt x="176186" y="70135"/>
                    <a:pt x="176186" y="71630"/>
                    <a:pt x="176281" y="73121"/>
                  </a:cubicBezTo>
                  <a:lnTo>
                    <a:pt x="174757" y="70359"/>
                  </a:lnTo>
                  <a:cubicBezTo>
                    <a:pt x="174757" y="70359"/>
                    <a:pt x="174757" y="70359"/>
                    <a:pt x="174757" y="70359"/>
                  </a:cubicBezTo>
                  <a:cubicBezTo>
                    <a:pt x="175580" y="68499"/>
                    <a:pt x="176002" y="66487"/>
                    <a:pt x="175995" y="64453"/>
                  </a:cubicBezTo>
                  <a:cubicBezTo>
                    <a:pt x="176444" y="60737"/>
                    <a:pt x="176283" y="56973"/>
                    <a:pt x="175519" y="53309"/>
                  </a:cubicBezTo>
                  <a:cubicBezTo>
                    <a:pt x="175403" y="52819"/>
                    <a:pt x="175244" y="52341"/>
                    <a:pt x="175043" y="51880"/>
                  </a:cubicBezTo>
                  <a:cubicBezTo>
                    <a:pt x="173614" y="48356"/>
                    <a:pt x="171423" y="48261"/>
                    <a:pt x="170185" y="51880"/>
                  </a:cubicBezTo>
                  <a:lnTo>
                    <a:pt x="170185" y="51880"/>
                  </a:lnTo>
                  <a:cubicBezTo>
                    <a:pt x="169235" y="54770"/>
                    <a:pt x="168753" y="57792"/>
                    <a:pt x="168756" y="60834"/>
                  </a:cubicBezTo>
                  <a:lnTo>
                    <a:pt x="167327" y="58643"/>
                  </a:lnTo>
                  <a:cubicBezTo>
                    <a:pt x="168016" y="58289"/>
                    <a:pt x="168532" y="57670"/>
                    <a:pt x="168756" y="56929"/>
                  </a:cubicBezTo>
                  <a:cubicBezTo>
                    <a:pt x="169187" y="54951"/>
                    <a:pt x="169187" y="52905"/>
                    <a:pt x="168756" y="50928"/>
                  </a:cubicBezTo>
                  <a:cubicBezTo>
                    <a:pt x="168323" y="47160"/>
                    <a:pt x="167361" y="43473"/>
                    <a:pt x="165899" y="39974"/>
                  </a:cubicBezTo>
                  <a:lnTo>
                    <a:pt x="165137" y="38641"/>
                  </a:lnTo>
                  <a:cubicBezTo>
                    <a:pt x="163041" y="35497"/>
                    <a:pt x="160850" y="35878"/>
                    <a:pt x="160374" y="39593"/>
                  </a:cubicBezTo>
                  <a:lnTo>
                    <a:pt x="160374" y="39593"/>
                  </a:lnTo>
                  <a:cubicBezTo>
                    <a:pt x="160029" y="42778"/>
                    <a:pt x="160223" y="45997"/>
                    <a:pt x="160946" y="49118"/>
                  </a:cubicBezTo>
                  <a:lnTo>
                    <a:pt x="158660" y="46070"/>
                  </a:lnTo>
                  <a:lnTo>
                    <a:pt x="158660" y="46070"/>
                  </a:lnTo>
                  <a:cubicBezTo>
                    <a:pt x="159040" y="44088"/>
                    <a:pt x="159040" y="42051"/>
                    <a:pt x="158660" y="40069"/>
                  </a:cubicBezTo>
                  <a:cubicBezTo>
                    <a:pt x="158164" y="36331"/>
                    <a:pt x="157071" y="32697"/>
                    <a:pt x="155421" y="29306"/>
                  </a:cubicBezTo>
                  <a:cubicBezTo>
                    <a:pt x="155205" y="28811"/>
                    <a:pt x="154950" y="28333"/>
                    <a:pt x="154659" y="27877"/>
                  </a:cubicBezTo>
                  <a:cubicBezTo>
                    <a:pt x="152468" y="24829"/>
                    <a:pt x="150278" y="25306"/>
                    <a:pt x="149897" y="29020"/>
                  </a:cubicBezTo>
                  <a:lnTo>
                    <a:pt x="149897" y="29020"/>
                  </a:lnTo>
                  <a:lnTo>
                    <a:pt x="147420" y="28544"/>
                  </a:lnTo>
                  <a:cubicBezTo>
                    <a:pt x="145515" y="28544"/>
                    <a:pt x="143610" y="28068"/>
                    <a:pt x="141610" y="27973"/>
                  </a:cubicBezTo>
                  <a:lnTo>
                    <a:pt x="139133" y="25972"/>
                  </a:lnTo>
                  <a:cubicBezTo>
                    <a:pt x="139297" y="25413"/>
                    <a:pt x="139297" y="24817"/>
                    <a:pt x="139133" y="24258"/>
                  </a:cubicBezTo>
                  <a:cubicBezTo>
                    <a:pt x="138655" y="22292"/>
                    <a:pt x="137780" y="20444"/>
                    <a:pt x="136562" y="18829"/>
                  </a:cubicBezTo>
                  <a:cubicBezTo>
                    <a:pt x="134601" y="15617"/>
                    <a:pt x="132160" y="12726"/>
                    <a:pt x="129323" y="10256"/>
                  </a:cubicBezTo>
                  <a:cubicBezTo>
                    <a:pt x="128900" y="9937"/>
                    <a:pt x="128455" y="9650"/>
                    <a:pt x="127989" y="9399"/>
                  </a:cubicBezTo>
                  <a:cubicBezTo>
                    <a:pt x="124751" y="7399"/>
                    <a:pt x="122941" y="8732"/>
                    <a:pt x="124179" y="12256"/>
                  </a:cubicBezTo>
                  <a:lnTo>
                    <a:pt x="124179" y="12256"/>
                  </a:lnTo>
                  <a:cubicBezTo>
                    <a:pt x="124972" y="14577"/>
                    <a:pt x="126060" y="16786"/>
                    <a:pt x="127418" y="18829"/>
                  </a:cubicBezTo>
                  <a:cubicBezTo>
                    <a:pt x="126350" y="18256"/>
                    <a:pt x="125235" y="17777"/>
                    <a:pt x="124084" y="17400"/>
                  </a:cubicBezTo>
                  <a:cubicBezTo>
                    <a:pt x="124164" y="17185"/>
                    <a:pt x="124164" y="16948"/>
                    <a:pt x="124084" y="16733"/>
                  </a:cubicBezTo>
                  <a:cubicBezTo>
                    <a:pt x="124407" y="15972"/>
                    <a:pt x="124407" y="15113"/>
                    <a:pt x="124084" y="14352"/>
                  </a:cubicBezTo>
                  <a:cubicBezTo>
                    <a:pt x="122953" y="12680"/>
                    <a:pt x="121495" y="11254"/>
                    <a:pt x="119798" y="10161"/>
                  </a:cubicBezTo>
                  <a:cubicBezTo>
                    <a:pt x="116889" y="7894"/>
                    <a:pt x="113684" y="6035"/>
                    <a:pt x="110273" y="4636"/>
                  </a:cubicBezTo>
                  <a:lnTo>
                    <a:pt x="108749" y="4636"/>
                  </a:lnTo>
                  <a:cubicBezTo>
                    <a:pt x="105129" y="3970"/>
                    <a:pt x="103796" y="5875"/>
                    <a:pt x="106177" y="8732"/>
                  </a:cubicBezTo>
                  <a:lnTo>
                    <a:pt x="106177" y="8732"/>
                  </a:lnTo>
                  <a:cubicBezTo>
                    <a:pt x="107930" y="10921"/>
                    <a:pt x="110020" y="12818"/>
                    <a:pt x="112368" y="14352"/>
                  </a:cubicBezTo>
                  <a:lnTo>
                    <a:pt x="107606" y="13495"/>
                  </a:lnTo>
                  <a:cubicBezTo>
                    <a:pt x="107840" y="12881"/>
                    <a:pt x="107840" y="12203"/>
                    <a:pt x="107606" y="11590"/>
                  </a:cubicBezTo>
                  <a:cubicBezTo>
                    <a:pt x="106623" y="9791"/>
                    <a:pt x="105257" y="8230"/>
                    <a:pt x="103605" y="7018"/>
                  </a:cubicBezTo>
                  <a:cubicBezTo>
                    <a:pt x="100776" y="4465"/>
                    <a:pt x="97561" y="2376"/>
                    <a:pt x="94080" y="826"/>
                  </a:cubicBezTo>
                  <a:lnTo>
                    <a:pt x="92556" y="255"/>
                  </a:lnTo>
                  <a:cubicBezTo>
                    <a:pt x="88937" y="-698"/>
                    <a:pt x="87508" y="1112"/>
                    <a:pt x="89699" y="4160"/>
                  </a:cubicBezTo>
                  <a:lnTo>
                    <a:pt x="89699" y="4160"/>
                  </a:lnTo>
                  <a:cubicBezTo>
                    <a:pt x="92205" y="7632"/>
                    <a:pt x="95461" y="10497"/>
                    <a:pt x="99224" y="12542"/>
                  </a:cubicBezTo>
                  <a:lnTo>
                    <a:pt x="95318" y="12542"/>
                  </a:lnTo>
                  <a:lnTo>
                    <a:pt x="95318" y="12066"/>
                  </a:lnTo>
                  <a:cubicBezTo>
                    <a:pt x="95292" y="11241"/>
                    <a:pt x="94951" y="10457"/>
                    <a:pt x="94366" y="9875"/>
                  </a:cubicBezTo>
                  <a:cubicBezTo>
                    <a:pt x="92782" y="8620"/>
                    <a:pt x="90971" y="7682"/>
                    <a:pt x="89032" y="7113"/>
                  </a:cubicBezTo>
                  <a:cubicBezTo>
                    <a:pt x="85488" y="5788"/>
                    <a:pt x="81761" y="5017"/>
                    <a:pt x="77983" y="4827"/>
                  </a:cubicBezTo>
                  <a:lnTo>
                    <a:pt x="76268" y="4827"/>
                  </a:lnTo>
                  <a:cubicBezTo>
                    <a:pt x="72554" y="4827"/>
                    <a:pt x="71887" y="7399"/>
                    <a:pt x="75030" y="9494"/>
                  </a:cubicBezTo>
                  <a:lnTo>
                    <a:pt x="75030" y="9494"/>
                  </a:lnTo>
                  <a:cubicBezTo>
                    <a:pt x="77375" y="11051"/>
                    <a:pt x="79945" y="12240"/>
                    <a:pt x="82650" y="13018"/>
                  </a:cubicBezTo>
                  <a:lnTo>
                    <a:pt x="81507" y="13018"/>
                  </a:lnTo>
                  <a:lnTo>
                    <a:pt x="78745" y="13018"/>
                  </a:lnTo>
                  <a:cubicBezTo>
                    <a:pt x="78608" y="12621"/>
                    <a:pt x="78380" y="12262"/>
                    <a:pt x="78078" y="11971"/>
                  </a:cubicBezTo>
                  <a:cubicBezTo>
                    <a:pt x="76517" y="10680"/>
                    <a:pt x="74699" y="9738"/>
                    <a:pt x="72744" y="9208"/>
                  </a:cubicBezTo>
                  <a:cubicBezTo>
                    <a:pt x="69204" y="7854"/>
                    <a:pt x="65478" y="7051"/>
                    <a:pt x="61695" y="6827"/>
                  </a:cubicBezTo>
                  <a:lnTo>
                    <a:pt x="60457" y="6827"/>
                  </a:lnTo>
                  <a:cubicBezTo>
                    <a:pt x="56742" y="7303"/>
                    <a:pt x="56075" y="9494"/>
                    <a:pt x="59219" y="11494"/>
                  </a:cubicBezTo>
                  <a:lnTo>
                    <a:pt x="59219" y="11494"/>
                  </a:lnTo>
                  <a:cubicBezTo>
                    <a:pt x="61445" y="12911"/>
                    <a:pt x="63846" y="14032"/>
                    <a:pt x="66362" y="14828"/>
                  </a:cubicBezTo>
                  <a:lnTo>
                    <a:pt x="64553" y="16162"/>
                  </a:lnTo>
                  <a:lnTo>
                    <a:pt x="64553" y="16162"/>
                  </a:lnTo>
                  <a:cubicBezTo>
                    <a:pt x="64106" y="15707"/>
                    <a:pt x="63547" y="15378"/>
                    <a:pt x="62933" y="15209"/>
                  </a:cubicBezTo>
                  <a:cubicBezTo>
                    <a:pt x="61163" y="14300"/>
                    <a:pt x="59208" y="13811"/>
                    <a:pt x="57218" y="13780"/>
                  </a:cubicBezTo>
                  <a:cubicBezTo>
                    <a:pt x="53450" y="13441"/>
                    <a:pt x="49652" y="13730"/>
                    <a:pt x="45979" y="14638"/>
                  </a:cubicBezTo>
                  <a:lnTo>
                    <a:pt x="44455" y="14638"/>
                  </a:lnTo>
                  <a:cubicBezTo>
                    <a:pt x="41026" y="16066"/>
                    <a:pt x="40931" y="18352"/>
                    <a:pt x="44455" y="19495"/>
                  </a:cubicBezTo>
                  <a:lnTo>
                    <a:pt x="44455" y="19495"/>
                  </a:lnTo>
                  <a:lnTo>
                    <a:pt x="46360" y="19972"/>
                  </a:lnTo>
                  <a:cubicBezTo>
                    <a:pt x="45039" y="20115"/>
                    <a:pt x="43733" y="20370"/>
                    <a:pt x="42455" y="20734"/>
                  </a:cubicBezTo>
                  <a:cubicBezTo>
                    <a:pt x="38784" y="21543"/>
                    <a:pt x="35253" y="22891"/>
                    <a:pt x="31977" y="24734"/>
                  </a:cubicBezTo>
                  <a:cubicBezTo>
                    <a:pt x="31496" y="24996"/>
                    <a:pt x="31048" y="25316"/>
                    <a:pt x="30644" y="25687"/>
                  </a:cubicBezTo>
                  <a:cubicBezTo>
                    <a:pt x="27786" y="28068"/>
                    <a:pt x="28453" y="30259"/>
                    <a:pt x="32168" y="30259"/>
                  </a:cubicBezTo>
                  <a:lnTo>
                    <a:pt x="33882" y="30259"/>
                  </a:lnTo>
                  <a:cubicBezTo>
                    <a:pt x="33120" y="31021"/>
                    <a:pt x="32453" y="31878"/>
                    <a:pt x="31882" y="32545"/>
                  </a:cubicBezTo>
                  <a:lnTo>
                    <a:pt x="31882" y="32545"/>
                  </a:lnTo>
                  <a:lnTo>
                    <a:pt x="31882" y="32545"/>
                  </a:lnTo>
                  <a:cubicBezTo>
                    <a:pt x="32001" y="32304"/>
                    <a:pt x="32001" y="32023"/>
                    <a:pt x="31882" y="31783"/>
                  </a:cubicBezTo>
                  <a:cubicBezTo>
                    <a:pt x="31315" y="31162"/>
                    <a:pt x="30530" y="30787"/>
                    <a:pt x="29691" y="30735"/>
                  </a:cubicBezTo>
                  <a:cubicBezTo>
                    <a:pt x="27672" y="30847"/>
                    <a:pt x="25695" y="31365"/>
                    <a:pt x="23881" y="32259"/>
                  </a:cubicBezTo>
                  <a:cubicBezTo>
                    <a:pt x="20455" y="33629"/>
                    <a:pt x="17247" y="35490"/>
                    <a:pt x="14356" y="37783"/>
                  </a:cubicBezTo>
                  <a:cubicBezTo>
                    <a:pt x="13929" y="38115"/>
                    <a:pt x="13545" y="38499"/>
                    <a:pt x="13213" y="38926"/>
                  </a:cubicBezTo>
                  <a:cubicBezTo>
                    <a:pt x="10641" y="41689"/>
                    <a:pt x="11594" y="43784"/>
                    <a:pt x="15308" y="43213"/>
                  </a:cubicBezTo>
                  <a:lnTo>
                    <a:pt x="15308" y="43213"/>
                  </a:lnTo>
                  <a:cubicBezTo>
                    <a:pt x="17460" y="42921"/>
                    <a:pt x="19570" y="42377"/>
                    <a:pt x="21595" y="41593"/>
                  </a:cubicBezTo>
                  <a:lnTo>
                    <a:pt x="21595" y="41593"/>
                  </a:lnTo>
                  <a:cubicBezTo>
                    <a:pt x="20544" y="42666"/>
                    <a:pt x="19704" y="43926"/>
                    <a:pt x="19118" y="45308"/>
                  </a:cubicBezTo>
                  <a:cubicBezTo>
                    <a:pt x="19118" y="45308"/>
                    <a:pt x="19118" y="44832"/>
                    <a:pt x="19118" y="44451"/>
                  </a:cubicBezTo>
                  <a:cubicBezTo>
                    <a:pt x="19004" y="44197"/>
                    <a:pt x="18801" y="43994"/>
                    <a:pt x="18547" y="43879"/>
                  </a:cubicBezTo>
                  <a:cubicBezTo>
                    <a:pt x="17780" y="43586"/>
                    <a:pt x="16932" y="43586"/>
                    <a:pt x="16166" y="43879"/>
                  </a:cubicBezTo>
                  <a:cubicBezTo>
                    <a:pt x="14270" y="44598"/>
                    <a:pt x="12526" y="45664"/>
                    <a:pt x="11022" y="47023"/>
                  </a:cubicBezTo>
                  <a:cubicBezTo>
                    <a:pt x="8075" y="49381"/>
                    <a:pt x="5505" y="52175"/>
                    <a:pt x="3402" y="55309"/>
                  </a:cubicBezTo>
                  <a:lnTo>
                    <a:pt x="2640" y="56738"/>
                  </a:lnTo>
                  <a:cubicBezTo>
                    <a:pt x="1116" y="60167"/>
                    <a:pt x="2640" y="61786"/>
                    <a:pt x="6069" y="60167"/>
                  </a:cubicBezTo>
                  <a:lnTo>
                    <a:pt x="6069" y="60167"/>
                  </a:lnTo>
                  <a:lnTo>
                    <a:pt x="7117" y="59596"/>
                  </a:lnTo>
                  <a:lnTo>
                    <a:pt x="6260" y="60929"/>
                  </a:lnTo>
                  <a:cubicBezTo>
                    <a:pt x="3643" y="64029"/>
                    <a:pt x="1551" y="67536"/>
                    <a:pt x="68" y="71311"/>
                  </a:cubicBezTo>
                  <a:cubicBezTo>
                    <a:pt x="-23" y="71815"/>
                    <a:pt x="-23" y="72331"/>
                    <a:pt x="68" y="72835"/>
                  </a:cubicBezTo>
                  <a:cubicBezTo>
                    <a:pt x="68" y="76550"/>
                    <a:pt x="1497" y="77693"/>
                    <a:pt x="4259" y="75217"/>
                  </a:cubicBezTo>
                  <a:lnTo>
                    <a:pt x="4259" y="75217"/>
                  </a:lnTo>
                  <a:cubicBezTo>
                    <a:pt x="8553" y="71220"/>
                    <a:pt x="11513" y="65999"/>
                    <a:pt x="12737" y="60262"/>
                  </a:cubicBezTo>
                  <a:cubicBezTo>
                    <a:pt x="13142" y="59065"/>
                    <a:pt x="12928" y="57745"/>
                    <a:pt x="12165" y="56738"/>
                  </a:cubicBezTo>
                  <a:cubicBezTo>
                    <a:pt x="11974" y="56496"/>
                    <a:pt x="11704" y="56328"/>
                    <a:pt x="11403" y="56262"/>
                  </a:cubicBezTo>
                  <a:lnTo>
                    <a:pt x="11403" y="56262"/>
                  </a:lnTo>
                  <a:cubicBezTo>
                    <a:pt x="13248" y="54639"/>
                    <a:pt x="14909" y="52818"/>
                    <a:pt x="16356" y="50833"/>
                  </a:cubicBezTo>
                  <a:cubicBezTo>
                    <a:pt x="15464" y="53197"/>
                    <a:pt x="14856" y="55659"/>
                    <a:pt x="14546" y="58167"/>
                  </a:cubicBezTo>
                  <a:lnTo>
                    <a:pt x="14546" y="59691"/>
                  </a:lnTo>
                  <a:cubicBezTo>
                    <a:pt x="14546" y="63501"/>
                    <a:pt x="16832" y="64263"/>
                    <a:pt x="19118" y="61310"/>
                  </a:cubicBezTo>
                  <a:lnTo>
                    <a:pt x="19118" y="61310"/>
                  </a:lnTo>
                  <a:cubicBezTo>
                    <a:pt x="22657" y="56614"/>
                    <a:pt x="24743" y="50985"/>
                    <a:pt x="25119" y="45118"/>
                  </a:cubicBezTo>
                  <a:cubicBezTo>
                    <a:pt x="25282" y="43870"/>
                    <a:pt x="24819" y="42622"/>
                    <a:pt x="23881" y="41784"/>
                  </a:cubicBezTo>
                  <a:lnTo>
                    <a:pt x="23881" y="41784"/>
                  </a:lnTo>
                  <a:lnTo>
                    <a:pt x="26167" y="39593"/>
                  </a:lnTo>
                  <a:cubicBezTo>
                    <a:pt x="27192" y="39037"/>
                    <a:pt x="28151" y="38366"/>
                    <a:pt x="29024" y="37593"/>
                  </a:cubicBezTo>
                  <a:cubicBezTo>
                    <a:pt x="27947" y="39270"/>
                    <a:pt x="27053" y="41059"/>
                    <a:pt x="26357" y="42927"/>
                  </a:cubicBezTo>
                  <a:cubicBezTo>
                    <a:pt x="26314" y="43434"/>
                    <a:pt x="26314" y="43944"/>
                    <a:pt x="26357" y="44451"/>
                  </a:cubicBezTo>
                  <a:cubicBezTo>
                    <a:pt x="25595" y="48166"/>
                    <a:pt x="27405" y="49404"/>
                    <a:pt x="30358" y="47118"/>
                  </a:cubicBezTo>
                  <a:lnTo>
                    <a:pt x="30358" y="47118"/>
                  </a:lnTo>
                  <a:cubicBezTo>
                    <a:pt x="34854" y="43422"/>
                    <a:pt x="38166" y="38487"/>
                    <a:pt x="39883" y="32926"/>
                  </a:cubicBezTo>
                  <a:cubicBezTo>
                    <a:pt x="40218" y="32002"/>
                    <a:pt x="40218" y="30991"/>
                    <a:pt x="39883" y="30068"/>
                  </a:cubicBezTo>
                  <a:cubicBezTo>
                    <a:pt x="41654" y="29599"/>
                    <a:pt x="43377" y="28961"/>
                    <a:pt x="45026" y="28163"/>
                  </a:cubicBezTo>
                  <a:cubicBezTo>
                    <a:pt x="43664" y="29592"/>
                    <a:pt x="42452" y="31156"/>
                    <a:pt x="41407" y="32830"/>
                  </a:cubicBezTo>
                  <a:lnTo>
                    <a:pt x="40645" y="34259"/>
                  </a:lnTo>
                  <a:cubicBezTo>
                    <a:pt x="39216" y="37688"/>
                    <a:pt x="40645" y="39307"/>
                    <a:pt x="44074" y="37593"/>
                  </a:cubicBezTo>
                  <a:lnTo>
                    <a:pt x="44074" y="37593"/>
                  </a:lnTo>
                  <a:cubicBezTo>
                    <a:pt x="49282" y="34873"/>
                    <a:pt x="53560" y="30661"/>
                    <a:pt x="56361" y="25496"/>
                  </a:cubicBezTo>
                  <a:cubicBezTo>
                    <a:pt x="57011" y="24411"/>
                    <a:pt x="57011" y="23057"/>
                    <a:pt x="56361" y="21972"/>
                  </a:cubicBezTo>
                  <a:cubicBezTo>
                    <a:pt x="56278" y="21698"/>
                    <a:pt x="56064" y="21483"/>
                    <a:pt x="55790" y="21400"/>
                  </a:cubicBezTo>
                  <a:lnTo>
                    <a:pt x="55790" y="21400"/>
                  </a:lnTo>
                  <a:cubicBezTo>
                    <a:pt x="57727" y="21203"/>
                    <a:pt x="59641" y="20820"/>
                    <a:pt x="61505" y="20257"/>
                  </a:cubicBezTo>
                  <a:cubicBezTo>
                    <a:pt x="59178" y="22725"/>
                    <a:pt x="57221" y="25516"/>
                    <a:pt x="55694" y="28544"/>
                  </a:cubicBezTo>
                  <a:lnTo>
                    <a:pt x="55123" y="30068"/>
                  </a:lnTo>
                  <a:cubicBezTo>
                    <a:pt x="54075" y="33592"/>
                    <a:pt x="55790" y="35116"/>
                    <a:pt x="58933" y="33021"/>
                  </a:cubicBezTo>
                  <a:lnTo>
                    <a:pt x="58933" y="33021"/>
                  </a:lnTo>
                  <a:cubicBezTo>
                    <a:pt x="63836" y="29788"/>
                    <a:pt x="67679" y="25183"/>
                    <a:pt x="69982" y="19781"/>
                  </a:cubicBezTo>
                  <a:cubicBezTo>
                    <a:pt x="70318" y="18891"/>
                    <a:pt x="70318" y="17909"/>
                    <a:pt x="69982" y="17019"/>
                  </a:cubicBezTo>
                  <a:cubicBezTo>
                    <a:pt x="71680" y="17319"/>
                    <a:pt x="73401" y="17478"/>
                    <a:pt x="75125" y="17495"/>
                  </a:cubicBezTo>
                  <a:cubicBezTo>
                    <a:pt x="72734" y="19157"/>
                    <a:pt x="70586" y="21145"/>
                    <a:pt x="68744" y="23401"/>
                  </a:cubicBezTo>
                  <a:cubicBezTo>
                    <a:pt x="68373" y="23805"/>
                    <a:pt x="68053" y="24253"/>
                    <a:pt x="67791" y="24734"/>
                  </a:cubicBezTo>
                  <a:cubicBezTo>
                    <a:pt x="65981" y="27973"/>
                    <a:pt x="67791" y="29782"/>
                    <a:pt x="70839" y="28544"/>
                  </a:cubicBezTo>
                  <a:lnTo>
                    <a:pt x="70839" y="28544"/>
                  </a:lnTo>
                  <a:cubicBezTo>
                    <a:pt x="74378" y="27370"/>
                    <a:pt x="77625" y="25454"/>
                    <a:pt x="80364" y="22924"/>
                  </a:cubicBezTo>
                  <a:cubicBezTo>
                    <a:pt x="80364" y="24163"/>
                    <a:pt x="81507" y="24829"/>
                    <a:pt x="83793" y="24734"/>
                  </a:cubicBezTo>
                  <a:lnTo>
                    <a:pt x="83793" y="24734"/>
                  </a:lnTo>
                  <a:cubicBezTo>
                    <a:pt x="87289" y="24446"/>
                    <a:pt x="90707" y="23543"/>
                    <a:pt x="93890" y="22067"/>
                  </a:cubicBezTo>
                  <a:cubicBezTo>
                    <a:pt x="94592" y="22672"/>
                    <a:pt x="95450" y="23068"/>
                    <a:pt x="96366" y="23210"/>
                  </a:cubicBezTo>
                  <a:lnTo>
                    <a:pt x="96366" y="23210"/>
                  </a:lnTo>
                  <a:cubicBezTo>
                    <a:pt x="102399" y="24529"/>
                    <a:pt x="108693" y="23929"/>
                    <a:pt x="114368" y="21496"/>
                  </a:cubicBezTo>
                  <a:lnTo>
                    <a:pt x="114368" y="21496"/>
                  </a:lnTo>
                  <a:cubicBezTo>
                    <a:pt x="114368" y="22448"/>
                    <a:pt x="114368" y="23591"/>
                    <a:pt x="116369" y="24639"/>
                  </a:cubicBezTo>
                  <a:lnTo>
                    <a:pt x="116369" y="24639"/>
                  </a:lnTo>
                  <a:cubicBezTo>
                    <a:pt x="121509" y="27480"/>
                    <a:pt x="127374" y="28739"/>
                    <a:pt x="133228" y="28258"/>
                  </a:cubicBezTo>
                  <a:cubicBezTo>
                    <a:pt x="134164" y="28218"/>
                    <a:pt x="135063" y="27884"/>
                    <a:pt x="135800" y="27306"/>
                  </a:cubicBezTo>
                  <a:cubicBezTo>
                    <a:pt x="136334" y="27414"/>
                    <a:pt x="136884" y="27414"/>
                    <a:pt x="137419" y="27306"/>
                  </a:cubicBezTo>
                  <a:lnTo>
                    <a:pt x="138371" y="28068"/>
                  </a:lnTo>
                  <a:cubicBezTo>
                    <a:pt x="137674" y="28021"/>
                    <a:pt x="136974" y="28021"/>
                    <a:pt x="136276" y="28068"/>
                  </a:cubicBezTo>
                  <a:lnTo>
                    <a:pt x="134752" y="28068"/>
                  </a:lnTo>
                  <a:cubicBezTo>
                    <a:pt x="131132" y="29211"/>
                    <a:pt x="130847" y="31402"/>
                    <a:pt x="134752" y="32926"/>
                  </a:cubicBezTo>
                  <a:lnTo>
                    <a:pt x="134752" y="32926"/>
                  </a:lnTo>
                  <a:cubicBezTo>
                    <a:pt x="138658" y="34599"/>
                    <a:pt x="142888" y="35380"/>
                    <a:pt x="147134" y="35212"/>
                  </a:cubicBezTo>
                  <a:lnTo>
                    <a:pt x="150373" y="38641"/>
                  </a:lnTo>
                  <a:lnTo>
                    <a:pt x="151897" y="40546"/>
                  </a:lnTo>
                  <a:cubicBezTo>
                    <a:pt x="152507" y="42216"/>
                    <a:pt x="153240" y="43840"/>
                    <a:pt x="154088" y="45403"/>
                  </a:cubicBezTo>
                  <a:cubicBezTo>
                    <a:pt x="154599" y="46577"/>
                    <a:pt x="155679" y="47405"/>
                    <a:pt x="156945" y="47594"/>
                  </a:cubicBezTo>
                  <a:cubicBezTo>
                    <a:pt x="157126" y="47680"/>
                    <a:pt x="157336" y="47680"/>
                    <a:pt x="157517" y="47594"/>
                  </a:cubicBezTo>
                  <a:cubicBezTo>
                    <a:pt x="158755" y="49309"/>
                    <a:pt x="159993" y="50928"/>
                    <a:pt x="161136" y="52642"/>
                  </a:cubicBezTo>
                  <a:lnTo>
                    <a:pt x="162660" y="54833"/>
                  </a:lnTo>
                  <a:cubicBezTo>
                    <a:pt x="160486" y="53237"/>
                    <a:pt x="158118" y="51925"/>
                    <a:pt x="155612" y="50928"/>
                  </a:cubicBezTo>
                  <a:lnTo>
                    <a:pt x="154088" y="50452"/>
                  </a:lnTo>
                  <a:cubicBezTo>
                    <a:pt x="150468" y="49594"/>
                    <a:pt x="149135" y="51404"/>
                    <a:pt x="151325" y="54452"/>
                  </a:cubicBezTo>
                  <a:lnTo>
                    <a:pt x="151325" y="54452"/>
                  </a:lnTo>
                  <a:cubicBezTo>
                    <a:pt x="154928" y="59132"/>
                    <a:pt x="159832" y="62644"/>
                    <a:pt x="165422" y="64549"/>
                  </a:cubicBezTo>
                  <a:cubicBezTo>
                    <a:pt x="166451" y="65017"/>
                    <a:pt x="167632" y="65017"/>
                    <a:pt x="168661" y="64549"/>
                  </a:cubicBezTo>
                  <a:cubicBezTo>
                    <a:pt x="169044" y="65098"/>
                    <a:pt x="169394" y="65671"/>
                    <a:pt x="169709" y="66263"/>
                  </a:cubicBezTo>
                  <a:cubicBezTo>
                    <a:pt x="169709" y="66263"/>
                    <a:pt x="169709" y="67216"/>
                    <a:pt x="169709" y="67692"/>
                  </a:cubicBezTo>
                  <a:lnTo>
                    <a:pt x="167137" y="66073"/>
                  </a:lnTo>
                  <a:lnTo>
                    <a:pt x="165708" y="65406"/>
                  </a:lnTo>
                  <a:cubicBezTo>
                    <a:pt x="162184" y="63977"/>
                    <a:pt x="160565" y="65406"/>
                    <a:pt x="162374" y="68930"/>
                  </a:cubicBezTo>
                  <a:lnTo>
                    <a:pt x="162374" y="68930"/>
                  </a:lnTo>
                  <a:cubicBezTo>
                    <a:pt x="165031" y="74479"/>
                    <a:pt x="169407" y="79022"/>
                    <a:pt x="174852" y="81884"/>
                  </a:cubicBezTo>
                  <a:cubicBezTo>
                    <a:pt x="175649" y="82373"/>
                    <a:pt x="176602" y="82543"/>
                    <a:pt x="177519" y="82360"/>
                  </a:cubicBezTo>
                  <a:cubicBezTo>
                    <a:pt x="177873" y="82943"/>
                    <a:pt x="178192" y="83548"/>
                    <a:pt x="178472" y="84170"/>
                  </a:cubicBezTo>
                  <a:lnTo>
                    <a:pt x="178472" y="84170"/>
                  </a:lnTo>
                  <a:lnTo>
                    <a:pt x="177233" y="83218"/>
                  </a:lnTo>
                  <a:lnTo>
                    <a:pt x="175995" y="81884"/>
                  </a:lnTo>
                  <a:cubicBezTo>
                    <a:pt x="172566" y="80170"/>
                    <a:pt x="170852" y="81884"/>
                    <a:pt x="172376" y="85027"/>
                  </a:cubicBezTo>
                  <a:lnTo>
                    <a:pt x="172376" y="85027"/>
                  </a:lnTo>
                  <a:cubicBezTo>
                    <a:pt x="174692" y="90292"/>
                    <a:pt x="178500" y="94762"/>
                    <a:pt x="183329" y="97886"/>
                  </a:cubicBezTo>
                  <a:cubicBezTo>
                    <a:pt x="181901" y="97886"/>
                    <a:pt x="181329" y="99315"/>
                    <a:pt x="182186" y="101696"/>
                  </a:cubicBezTo>
                  <a:lnTo>
                    <a:pt x="182186" y="101696"/>
                  </a:lnTo>
                  <a:cubicBezTo>
                    <a:pt x="184219" y="107192"/>
                    <a:pt x="187831" y="111964"/>
                    <a:pt x="192569" y="115412"/>
                  </a:cubicBezTo>
                  <a:lnTo>
                    <a:pt x="192569" y="115412"/>
                  </a:lnTo>
                  <a:cubicBezTo>
                    <a:pt x="193616" y="118174"/>
                    <a:pt x="194664" y="120937"/>
                    <a:pt x="195617" y="123699"/>
                  </a:cubicBezTo>
                  <a:lnTo>
                    <a:pt x="197141" y="127890"/>
                  </a:lnTo>
                  <a:lnTo>
                    <a:pt x="197807" y="129890"/>
                  </a:lnTo>
                  <a:lnTo>
                    <a:pt x="197807" y="130938"/>
                  </a:lnTo>
                  <a:lnTo>
                    <a:pt x="197807" y="131509"/>
                  </a:lnTo>
                  <a:lnTo>
                    <a:pt x="197807" y="131986"/>
                  </a:lnTo>
                  <a:cubicBezTo>
                    <a:pt x="205999" y="158656"/>
                    <a:pt x="212952" y="185802"/>
                    <a:pt x="218572" y="213139"/>
                  </a:cubicBezTo>
                  <a:cubicBezTo>
                    <a:pt x="224192" y="240475"/>
                    <a:pt x="228097" y="266860"/>
                    <a:pt x="231431" y="295720"/>
                  </a:cubicBezTo>
                  <a:lnTo>
                    <a:pt x="237146" y="293911"/>
                  </a:lnTo>
                  <a:cubicBezTo>
                    <a:pt x="234479" y="266955"/>
                    <a:pt x="230002" y="240380"/>
                    <a:pt x="224001" y="212948"/>
                  </a:cubicBezTo>
                  <a:close/>
                  <a:moveTo>
                    <a:pt x="85793" y="14257"/>
                  </a:moveTo>
                  <a:lnTo>
                    <a:pt x="88460" y="14257"/>
                  </a:lnTo>
                  <a:lnTo>
                    <a:pt x="91604" y="14257"/>
                  </a:lnTo>
                  <a:lnTo>
                    <a:pt x="92747" y="14257"/>
                  </a:lnTo>
                  <a:cubicBezTo>
                    <a:pt x="90027" y="15155"/>
                    <a:pt x="87409" y="16336"/>
                    <a:pt x="84936" y="17781"/>
                  </a:cubicBezTo>
                  <a:cubicBezTo>
                    <a:pt x="85815" y="16835"/>
                    <a:pt x="86139" y="15500"/>
                    <a:pt x="85793" y="14257"/>
                  </a:cubicBezTo>
                  <a:close/>
                  <a:moveTo>
                    <a:pt x="52456" y="21210"/>
                  </a:moveTo>
                  <a:lnTo>
                    <a:pt x="50360" y="22162"/>
                  </a:lnTo>
                  <a:lnTo>
                    <a:pt x="50360" y="22162"/>
                  </a:lnTo>
                  <a:lnTo>
                    <a:pt x="49408" y="21305"/>
                  </a:lnTo>
                  <a:close/>
                  <a:moveTo>
                    <a:pt x="23500" y="41117"/>
                  </a:moveTo>
                  <a:lnTo>
                    <a:pt x="23500" y="41117"/>
                  </a:lnTo>
                  <a:lnTo>
                    <a:pt x="22547" y="41117"/>
                  </a:lnTo>
                  <a:lnTo>
                    <a:pt x="24357" y="40165"/>
                  </a:lnTo>
                  <a:cubicBezTo>
                    <a:pt x="24120" y="40522"/>
                    <a:pt x="23831" y="40843"/>
                    <a:pt x="23500" y="41117"/>
                  </a:cubicBezTo>
                  <a:close/>
                  <a:moveTo>
                    <a:pt x="109225" y="15685"/>
                  </a:moveTo>
                  <a:cubicBezTo>
                    <a:pt x="106798" y="15718"/>
                    <a:pt x="104378" y="15941"/>
                    <a:pt x="101986" y="16352"/>
                  </a:cubicBezTo>
                  <a:cubicBezTo>
                    <a:pt x="102040" y="15845"/>
                    <a:pt x="102040" y="15335"/>
                    <a:pt x="101986" y="14828"/>
                  </a:cubicBezTo>
                  <a:cubicBezTo>
                    <a:pt x="101986" y="14828"/>
                    <a:pt x="101986" y="14828"/>
                    <a:pt x="101986" y="14828"/>
                  </a:cubicBezTo>
                  <a:lnTo>
                    <a:pt x="103034" y="14828"/>
                  </a:lnTo>
                  <a:lnTo>
                    <a:pt x="103700" y="14828"/>
                  </a:lnTo>
                  <a:cubicBezTo>
                    <a:pt x="104548" y="15211"/>
                    <a:pt x="105520" y="15211"/>
                    <a:pt x="106367" y="14828"/>
                  </a:cubicBezTo>
                  <a:lnTo>
                    <a:pt x="110273" y="15590"/>
                  </a:lnTo>
                  <a:close/>
                  <a:moveTo>
                    <a:pt x="118750" y="19591"/>
                  </a:moveTo>
                  <a:lnTo>
                    <a:pt x="117131" y="19591"/>
                  </a:lnTo>
                  <a:lnTo>
                    <a:pt x="116083" y="19591"/>
                  </a:lnTo>
                  <a:cubicBezTo>
                    <a:pt x="116311" y="19230"/>
                    <a:pt x="116503" y="18847"/>
                    <a:pt x="116654" y="18447"/>
                  </a:cubicBezTo>
                  <a:cubicBezTo>
                    <a:pt x="116790" y="18212"/>
                    <a:pt x="116790" y="17921"/>
                    <a:pt x="116654" y="17685"/>
                  </a:cubicBezTo>
                  <a:cubicBezTo>
                    <a:pt x="116459" y="17217"/>
                    <a:pt x="116166" y="16795"/>
                    <a:pt x="115797" y="16447"/>
                  </a:cubicBezTo>
                  <a:lnTo>
                    <a:pt x="122084" y="18352"/>
                  </a:lnTo>
                  <a:lnTo>
                    <a:pt x="125036" y="19591"/>
                  </a:lnTo>
                  <a:cubicBezTo>
                    <a:pt x="122979" y="19351"/>
                    <a:pt x="120902" y="19351"/>
                    <a:pt x="118845" y="19591"/>
                  </a:cubicBezTo>
                  <a:close/>
                  <a:moveTo>
                    <a:pt x="149611" y="35783"/>
                  </a:moveTo>
                  <a:lnTo>
                    <a:pt x="149611" y="35783"/>
                  </a:lnTo>
                  <a:cubicBezTo>
                    <a:pt x="149611" y="35783"/>
                    <a:pt x="149611" y="36259"/>
                    <a:pt x="149611" y="365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5" name="Freihandform: Form 604">
              <a:extLst>
                <a:ext uri="{FF2B5EF4-FFF2-40B4-BE49-F238E27FC236}">
                  <a16:creationId xmlns:a16="http://schemas.microsoft.com/office/drawing/2014/main" id="{EC17FB57-702E-4D98-8041-DFFA5ABA5B8E}"/>
                </a:ext>
              </a:extLst>
            </p:cNvPr>
            <p:cNvSpPr/>
            <p:nvPr/>
          </p:nvSpPr>
          <p:spPr>
            <a:xfrm>
              <a:off x="6431591" y="2363381"/>
              <a:ext cx="228718" cy="253841"/>
            </a:xfrm>
            <a:custGeom>
              <a:avLst/>
              <a:gdLst>
                <a:gd name="connsiteX0" fmla="*/ 200810 w 228718"/>
                <a:gd name="connsiteY0" fmla="*/ 146685 h 253841"/>
                <a:gd name="connsiteX1" fmla="*/ 180236 w 228718"/>
                <a:gd name="connsiteY1" fmla="*/ 96012 h 253841"/>
                <a:gd name="connsiteX2" fmla="*/ 178521 w 228718"/>
                <a:gd name="connsiteY2" fmla="*/ 92392 h 253841"/>
                <a:gd name="connsiteX3" fmla="*/ 176521 w 228718"/>
                <a:gd name="connsiteY3" fmla="*/ 88487 h 253841"/>
                <a:gd name="connsiteX4" fmla="*/ 168996 w 228718"/>
                <a:gd name="connsiteY4" fmla="*/ 74295 h 253841"/>
                <a:gd name="connsiteX5" fmla="*/ 170139 w 228718"/>
                <a:gd name="connsiteY5" fmla="*/ 73247 h 253841"/>
                <a:gd name="connsiteX6" fmla="*/ 171568 w 228718"/>
                <a:gd name="connsiteY6" fmla="*/ 67342 h 253841"/>
                <a:gd name="connsiteX7" fmla="*/ 171092 w 228718"/>
                <a:gd name="connsiteY7" fmla="*/ 56102 h 253841"/>
                <a:gd name="connsiteX8" fmla="*/ 170616 w 228718"/>
                <a:gd name="connsiteY8" fmla="*/ 54578 h 253841"/>
                <a:gd name="connsiteX9" fmla="*/ 165853 w 228718"/>
                <a:gd name="connsiteY9" fmla="*/ 54578 h 253841"/>
                <a:gd name="connsiteX10" fmla="*/ 165853 w 228718"/>
                <a:gd name="connsiteY10" fmla="*/ 54578 h 253841"/>
                <a:gd name="connsiteX11" fmla="*/ 164329 w 228718"/>
                <a:gd name="connsiteY11" fmla="*/ 66294 h 253841"/>
                <a:gd name="connsiteX12" fmla="*/ 161281 w 228718"/>
                <a:gd name="connsiteY12" fmla="*/ 61341 h 253841"/>
                <a:gd name="connsiteX13" fmla="*/ 162043 w 228718"/>
                <a:gd name="connsiteY13" fmla="*/ 60293 h 253841"/>
                <a:gd name="connsiteX14" fmla="*/ 162519 w 228718"/>
                <a:gd name="connsiteY14" fmla="*/ 54293 h 253841"/>
                <a:gd name="connsiteX15" fmla="*/ 160424 w 228718"/>
                <a:gd name="connsiteY15" fmla="*/ 43244 h 253841"/>
                <a:gd name="connsiteX16" fmla="*/ 159757 w 228718"/>
                <a:gd name="connsiteY16" fmla="*/ 41815 h 253841"/>
                <a:gd name="connsiteX17" fmla="*/ 154995 w 228718"/>
                <a:gd name="connsiteY17" fmla="*/ 42482 h 253841"/>
                <a:gd name="connsiteX18" fmla="*/ 154995 w 228718"/>
                <a:gd name="connsiteY18" fmla="*/ 42482 h 253841"/>
                <a:gd name="connsiteX19" fmla="*/ 154995 w 228718"/>
                <a:gd name="connsiteY19" fmla="*/ 52007 h 253841"/>
                <a:gd name="connsiteX20" fmla="*/ 152899 w 228718"/>
                <a:gd name="connsiteY20" fmla="*/ 49054 h 253841"/>
                <a:gd name="connsiteX21" fmla="*/ 151756 w 228718"/>
                <a:gd name="connsiteY21" fmla="*/ 47530 h 253841"/>
                <a:gd name="connsiteX22" fmla="*/ 152423 w 228718"/>
                <a:gd name="connsiteY22" fmla="*/ 46292 h 253841"/>
                <a:gd name="connsiteX23" fmla="*/ 152423 w 228718"/>
                <a:gd name="connsiteY23" fmla="*/ 40291 h 253841"/>
                <a:gd name="connsiteX24" fmla="*/ 148422 w 228718"/>
                <a:gd name="connsiteY24" fmla="*/ 29242 h 253841"/>
                <a:gd name="connsiteX25" fmla="*/ 147565 w 228718"/>
                <a:gd name="connsiteY25" fmla="*/ 28004 h 253841"/>
                <a:gd name="connsiteX26" fmla="*/ 142898 w 228718"/>
                <a:gd name="connsiteY26" fmla="*/ 29242 h 253841"/>
                <a:gd name="connsiteX27" fmla="*/ 142898 w 228718"/>
                <a:gd name="connsiteY27" fmla="*/ 29242 h 253841"/>
                <a:gd name="connsiteX28" fmla="*/ 143660 w 228718"/>
                <a:gd name="connsiteY28" fmla="*/ 37624 h 253841"/>
                <a:gd name="connsiteX29" fmla="*/ 138897 w 228718"/>
                <a:gd name="connsiteY29" fmla="*/ 32480 h 253841"/>
                <a:gd name="connsiteX30" fmla="*/ 138897 w 228718"/>
                <a:gd name="connsiteY30" fmla="*/ 32480 h 253841"/>
                <a:gd name="connsiteX31" fmla="*/ 139659 w 228718"/>
                <a:gd name="connsiteY31" fmla="*/ 32480 h 253841"/>
                <a:gd name="connsiteX32" fmla="*/ 140326 w 228718"/>
                <a:gd name="connsiteY32" fmla="*/ 30194 h 253841"/>
                <a:gd name="connsiteX33" fmla="*/ 138135 w 228718"/>
                <a:gd name="connsiteY33" fmla="*/ 24670 h 253841"/>
                <a:gd name="connsiteX34" fmla="*/ 131277 w 228718"/>
                <a:gd name="connsiteY34" fmla="*/ 15716 h 253841"/>
                <a:gd name="connsiteX35" fmla="*/ 130039 w 228718"/>
                <a:gd name="connsiteY35" fmla="*/ 14669 h 253841"/>
                <a:gd name="connsiteX36" fmla="*/ 126039 w 228718"/>
                <a:gd name="connsiteY36" fmla="*/ 17431 h 253841"/>
                <a:gd name="connsiteX37" fmla="*/ 126039 w 228718"/>
                <a:gd name="connsiteY37" fmla="*/ 17431 h 253841"/>
                <a:gd name="connsiteX38" fmla="*/ 128801 w 228718"/>
                <a:gd name="connsiteY38" fmla="*/ 24003 h 253841"/>
                <a:gd name="connsiteX39" fmla="*/ 123562 w 228718"/>
                <a:gd name="connsiteY39" fmla="*/ 20003 h 253841"/>
                <a:gd name="connsiteX40" fmla="*/ 122038 w 228718"/>
                <a:gd name="connsiteY40" fmla="*/ 19050 h 253841"/>
                <a:gd name="connsiteX41" fmla="*/ 123467 w 228718"/>
                <a:gd name="connsiteY41" fmla="*/ 18383 h 253841"/>
                <a:gd name="connsiteX42" fmla="*/ 123467 w 228718"/>
                <a:gd name="connsiteY42" fmla="*/ 17717 h 253841"/>
                <a:gd name="connsiteX43" fmla="*/ 123467 w 228718"/>
                <a:gd name="connsiteY43" fmla="*/ 15335 h 253841"/>
                <a:gd name="connsiteX44" fmla="*/ 119276 w 228718"/>
                <a:gd name="connsiteY44" fmla="*/ 11049 h 253841"/>
                <a:gd name="connsiteX45" fmla="*/ 109751 w 228718"/>
                <a:gd name="connsiteY45" fmla="*/ 5429 h 253841"/>
                <a:gd name="connsiteX46" fmla="*/ 108227 w 228718"/>
                <a:gd name="connsiteY46" fmla="*/ 4953 h 253841"/>
                <a:gd name="connsiteX47" fmla="*/ 105655 w 228718"/>
                <a:gd name="connsiteY47" fmla="*/ 9049 h 253841"/>
                <a:gd name="connsiteX48" fmla="*/ 105655 w 228718"/>
                <a:gd name="connsiteY48" fmla="*/ 9049 h 253841"/>
                <a:gd name="connsiteX49" fmla="*/ 107465 w 228718"/>
                <a:gd name="connsiteY49" fmla="*/ 11144 h 253841"/>
                <a:gd name="connsiteX50" fmla="*/ 100226 w 228718"/>
                <a:gd name="connsiteY50" fmla="*/ 8668 h 253841"/>
                <a:gd name="connsiteX51" fmla="*/ 101559 w 228718"/>
                <a:gd name="connsiteY51" fmla="*/ 7525 h 253841"/>
                <a:gd name="connsiteX52" fmla="*/ 101559 w 228718"/>
                <a:gd name="connsiteY52" fmla="*/ 6763 h 253841"/>
                <a:gd name="connsiteX53" fmla="*/ 100512 w 228718"/>
                <a:gd name="connsiteY53" fmla="*/ 4572 h 253841"/>
                <a:gd name="connsiteX54" fmla="*/ 95082 w 228718"/>
                <a:gd name="connsiteY54" fmla="*/ 2000 h 253841"/>
                <a:gd name="connsiteX55" fmla="*/ 84033 w 228718"/>
                <a:gd name="connsiteY55" fmla="*/ 0 h 253841"/>
                <a:gd name="connsiteX56" fmla="*/ 82414 w 228718"/>
                <a:gd name="connsiteY56" fmla="*/ 0 h 253841"/>
                <a:gd name="connsiteX57" fmla="*/ 81366 w 228718"/>
                <a:gd name="connsiteY57" fmla="*/ 4667 h 253841"/>
                <a:gd name="connsiteX58" fmla="*/ 81747 w 228718"/>
                <a:gd name="connsiteY58" fmla="*/ 4667 h 253841"/>
                <a:gd name="connsiteX59" fmla="*/ 85272 w 228718"/>
                <a:gd name="connsiteY59" fmla="*/ 6477 h 253841"/>
                <a:gd name="connsiteX60" fmla="*/ 83748 w 228718"/>
                <a:gd name="connsiteY60" fmla="*/ 6953 h 253841"/>
                <a:gd name="connsiteX61" fmla="*/ 82319 w 228718"/>
                <a:gd name="connsiteY61" fmla="*/ 6953 h 253841"/>
                <a:gd name="connsiteX62" fmla="*/ 81081 w 228718"/>
                <a:gd name="connsiteY62" fmla="*/ 5524 h 253841"/>
                <a:gd name="connsiteX63" fmla="*/ 75270 w 228718"/>
                <a:gd name="connsiteY63" fmla="*/ 4096 h 253841"/>
                <a:gd name="connsiteX64" fmla="*/ 64031 w 228718"/>
                <a:gd name="connsiteY64" fmla="*/ 4096 h 253841"/>
                <a:gd name="connsiteX65" fmla="*/ 62697 w 228718"/>
                <a:gd name="connsiteY65" fmla="*/ 4477 h 253841"/>
                <a:gd name="connsiteX66" fmla="*/ 62697 w 228718"/>
                <a:gd name="connsiteY66" fmla="*/ 9334 h 253841"/>
                <a:gd name="connsiteX67" fmla="*/ 62697 w 228718"/>
                <a:gd name="connsiteY67" fmla="*/ 9334 h 253841"/>
                <a:gd name="connsiteX68" fmla="*/ 67650 w 228718"/>
                <a:gd name="connsiteY68" fmla="*/ 10668 h 253841"/>
                <a:gd name="connsiteX69" fmla="*/ 66698 w 228718"/>
                <a:gd name="connsiteY69" fmla="*/ 10668 h 253841"/>
                <a:gd name="connsiteX70" fmla="*/ 65460 w 228718"/>
                <a:gd name="connsiteY70" fmla="*/ 9906 h 253841"/>
                <a:gd name="connsiteX71" fmla="*/ 59459 w 228718"/>
                <a:gd name="connsiteY71" fmla="*/ 9906 h 253841"/>
                <a:gd name="connsiteX72" fmla="*/ 48600 w 228718"/>
                <a:gd name="connsiteY72" fmla="*/ 12859 h 253841"/>
                <a:gd name="connsiteX73" fmla="*/ 47267 w 228718"/>
                <a:gd name="connsiteY73" fmla="*/ 13716 h 253841"/>
                <a:gd name="connsiteX74" fmla="*/ 47267 w 228718"/>
                <a:gd name="connsiteY74" fmla="*/ 18288 h 253841"/>
                <a:gd name="connsiteX75" fmla="*/ 43647 w 228718"/>
                <a:gd name="connsiteY75" fmla="*/ 20669 h 253841"/>
                <a:gd name="connsiteX76" fmla="*/ 34122 w 228718"/>
                <a:gd name="connsiteY76" fmla="*/ 27337 h 253841"/>
                <a:gd name="connsiteX77" fmla="*/ 34122 w 228718"/>
                <a:gd name="connsiteY77" fmla="*/ 28384 h 253841"/>
                <a:gd name="connsiteX78" fmla="*/ 36789 w 228718"/>
                <a:gd name="connsiteY78" fmla="*/ 32385 h 253841"/>
                <a:gd name="connsiteX79" fmla="*/ 36789 w 228718"/>
                <a:gd name="connsiteY79" fmla="*/ 32385 h 253841"/>
                <a:gd name="connsiteX80" fmla="*/ 36789 w 228718"/>
                <a:gd name="connsiteY80" fmla="*/ 32385 h 253841"/>
                <a:gd name="connsiteX81" fmla="*/ 34218 w 228718"/>
                <a:gd name="connsiteY81" fmla="*/ 35243 h 253841"/>
                <a:gd name="connsiteX82" fmla="*/ 33265 w 228718"/>
                <a:gd name="connsiteY82" fmla="*/ 35243 h 253841"/>
                <a:gd name="connsiteX83" fmla="*/ 27360 w 228718"/>
                <a:gd name="connsiteY83" fmla="*/ 36576 h 253841"/>
                <a:gd name="connsiteX84" fmla="*/ 17835 w 228718"/>
                <a:gd name="connsiteY84" fmla="*/ 41910 h 253841"/>
                <a:gd name="connsiteX85" fmla="*/ 16692 w 228718"/>
                <a:gd name="connsiteY85" fmla="*/ 42958 h 253841"/>
                <a:gd name="connsiteX86" fmla="*/ 18692 w 228718"/>
                <a:gd name="connsiteY86" fmla="*/ 47339 h 253841"/>
                <a:gd name="connsiteX87" fmla="*/ 18692 w 228718"/>
                <a:gd name="connsiteY87" fmla="*/ 47339 h 253841"/>
                <a:gd name="connsiteX88" fmla="*/ 21740 w 228718"/>
                <a:gd name="connsiteY88" fmla="*/ 46768 h 253841"/>
                <a:gd name="connsiteX89" fmla="*/ 19644 w 228718"/>
                <a:gd name="connsiteY89" fmla="*/ 48482 h 253841"/>
                <a:gd name="connsiteX90" fmla="*/ 12215 w 228718"/>
                <a:gd name="connsiteY90" fmla="*/ 56959 h 253841"/>
                <a:gd name="connsiteX91" fmla="*/ 11453 w 228718"/>
                <a:gd name="connsiteY91" fmla="*/ 58388 h 253841"/>
                <a:gd name="connsiteX92" fmla="*/ 14977 w 228718"/>
                <a:gd name="connsiteY92" fmla="*/ 61722 h 253841"/>
                <a:gd name="connsiteX93" fmla="*/ 15072 w 228718"/>
                <a:gd name="connsiteY93" fmla="*/ 61722 h 253841"/>
                <a:gd name="connsiteX94" fmla="*/ 17930 w 228718"/>
                <a:gd name="connsiteY94" fmla="*/ 60007 h 253841"/>
                <a:gd name="connsiteX95" fmla="*/ 17930 w 228718"/>
                <a:gd name="connsiteY95" fmla="*/ 60579 h 253841"/>
                <a:gd name="connsiteX96" fmla="*/ 17930 w 228718"/>
                <a:gd name="connsiteY96" fmla="*/ 63818 h 253841"/>
                <a:gd name="connsiteX97" fmla="*/ 17930 w 228718"/>
                <a:gd name="connsiteY97" fmla="*/ 63818 h 253841"/>
                <a:gd name="connsiteX98" fmla="*/ 15453 w 228718"/>
                <a:gd name="connsiteY98" fmla="*/ 63818 h 253841"/>
                <a:gd name="connsiteX99" fmla="*/ 10977 w 228718"/>
                <a:gd name="connsiteY99" fmla="*/ 67818 h 253841"/>
                <a:gd name="connsiteX100" fmla="*/ 4881 w 228718"/>
                <a:gd name="connsiteY100" fmla="*/ 77343 h 253841"/>
                <a:gd name="connsiteX101" fmla="*/ 4881 w 228718"/>
                <a:gd name="connsiteY101" fmla="*/ 78772 h 253841"/>
                <a:gd name="connsiteX102" fmla="*/ 8786 w 228718"/>
                <a:gd name="connsiteY102" fmla="*/ 81629 h 253841"/>
                <a:gd name="connsiteX103" fmla="*/ 8786 w 228718"/>
                <a:gd name="connsiteY103" fmla="*/ 81629 h 253841"/>
                <a:gd name="connsiteX104" fmla="*/ 11548 w 228718"/>
                <a:gd name="connsiteY104" fmla="*/ 77819 h 253841"/>
                <a:gd name="connsiteX105" fmla="*/ 11548 w 228718"/>
                <a:gd name="connsiteY105" fmla="*/ 79915 h 253841"/>
                <a:gd name="connsiteX106" fmla="*/ 11548 w 228718"/>
                <a:gd name="connsiteY106" fmla="*/ 81153 h 253841"/>
                <a:gd name="connsiteX107" fmla="*/ 10500 w 228718"/>
                <a:gd name="connsiteY107" fmla="*/ 81153 h 253841"/>
                <a:gd name="connsiteX108" fmla="*/ 6119 w 228718"/>
                <a:gd name="connsiteY108" fmla="*/ 85249 h 253841"/>
                <a:gd name="connsiteX109" fmla="*/ 213 w 228718"/>
                <a:gd name="connsiteY109" fmla="*/ 94774 h 253841"/>
                <a:gd name="connsiteX110" fmla="*/ 213 w 228718"/>
                <a:gd name="connsiteY110" fmla="*/ 96203 h 253841"/>
                <a:gd name="connsiteX111" fmla="*/ 4119 w 228718"/>
                <a:gd name="connsiteY111" fmla="*/ 98965 h 253841"/>
                <a:gd name="connsiteX112" fmla="*/ 4119 w 228718"/>
                <a:gd name="connsiteY112" fmla="*/ 98965 h 253841"/>
                <a:gd name="connsiteX113" fmla="*/ 7262 w 228718"/>
                <a:gd name="connsiteY113" fmla="*/ 96107 h 253841"/>
                <a:gd name="connsiteX114" fmla="*/ 7262 w 228718"/>
                <a:gd name="connsiteY114" fmla="*/ 97631 h 253841"/>
                <a:gd name="connsiteX115" fmla="*/ 7262 w 228718"/>
                <a:gd name="connsiteY115" fmla="*/ 108871 h 253841"/>
                <a:gd name="connsiteX116" fmla="*/ 7738 w 228718"/>
                <a:gd name="connsiteY116" fmla="*/ 110395 h 253841"/>
                <a:gd name="connsiteX117" fmla="*/ 12596 w 228718"/>
                <a:gd name="connsiteY117" fmla="*/ 110395 h 253841"/>
                <a:gd name="connsiteX118" fmla="*/ 12596 w 228718"/>
                <a:gd name="connsiteY118" fmla="*/ 110395 h 253841"/>
                <a:gd name="connsiteX119" fmla="*/ 13167 w 228718"/>
                <a:gd name="connsiteY119" fmla="*/ 93154 h 253841"/>
                <a:gd name="connsiteX120" fmla="*/ 11262 w 228718"/>
                <a:gd name="connsiteY120" fmla="*/ 90487 h 253841"/>
                <a:gd name="connsiteX121" fmla="*/ 12882 w 228718"/>
                <a:gd name="connsiteY121" fmla="*/ 87344 h 253841"/>
                <a:gd name="connsiteX122" fmla="*/ 13834 w 228718"/>
                <a:gd name="connsiteY122" fmla="*/ 90202 h 253841"/>
                <a:gd name="connsiteX123" fmla="*/ 14596 w 228718"/>
                <a:gd name="connsiteY123" fmla="*/ 91535 h 253841"/>
                <a:gd name="connsiteX124" fmla="*/ 19359 w 228718"/>
                <a:gd name="connsiteY124" fmla="*/ 90868 h 253841"/>
                <a:gd name="connsiteX125" fmla="*/ 19359 w 228718"/>
                <a:gd name="connsiteY125" fmla="*/ 90868 h 253841"/>
                <a:gd name="connsiteX126" fmla="*/ 17168 w 228718"/>
                <a:gd name="connsiteY126" fmla="*/ 73724 h 253841"/>
                <a:gd name="connsiteX127" fmla="*/ 15072 w 228718"/>
                <a:gd name="connsiteY127" fmla="*/ 72009 h 253841"/>
                <a:gd name="connsiteX128" fmla="*/ 16501 w 228718"/>
                <a:gd name="connsiteY128" fmla="*/ 69152 h 253841"/>
                <a:gd name="connsiteX129" fmla="*/ 16501 w 228718"/>
                <a:gd name="connsiteY129" fmla="*/ 71533 h 253841"/>
                <a:gd name="connsiteX130" fmla="*/ 16501 w 228718"/>
                <a:gd name="connsiteY130" fmla="*/ 73057 h 253841"/>
                <a:gd name="connsiteX131" fmla="*/ 21264 w 228718"/>
                <a:gd name="connsiteY131" fmla="*/ 73533 h 253841"/>
                <a:gd name="connsiteX132" fmla="*/ 21264 w 228718"/>
                <a:gd name="connsiteY132" fmla="*/ 73533 h 253841"/>
                <a:gd name="connsiteX133" fmla="*/ 24597 w 228718"/>
                <a:gd name="connsiteY133" fmla="*/ 56388 h 253841"/>
                <a:gd name="connsiteX134" fmla="*/ 23835 w 228718"/>
                <a:gd name="connsiteY134" fmla="*/ 54388 h 253841"/>
                <a:gd name="connsiteX135" fmla="*/ 27264 w 228718"/>
                <a:gd name="connsiteY135" fmla="*/ 49244 h 253841"/>
                <a:gd name="connsiteX136" fmla="*/ 25550 w 228718"/>
                <a:gd name="connsiteY136" fmla="*/ 59817 h 253841"/>
                <a:gd name="connsiteX137" fmla="*/ 25550 w 228718"/>
                <a:gd name="connsiteY137" fmla="*/ 61436 h 253841"/>
                <a:gd name="connsiteX138" fmla="*/ 30217 w 228718"/>
                <a:gd name="connsiteY138" fmla="*/ 62484 h 253841"/>
                <a:gd name="connsiteX139" fmla="*/ 30217 w 228718"/>
                <a:gd name="connsiteY139" fmla="*/ 62484 h 253841"/>
                <a:gd name="connsiteX140" fmla="*/ 34122 w 228718"/>
                <a:gd name="connsiteY140" fmla="*/ 45625 h 253841"/>
                <a:gd name="connsiteX141" fmla="*/ 32598 w 228718"/>
                <a:gd name="connsiteY141" fmla="*/ 42386 h 253841"/>
                <a:gd name="connsiteX142" fmla="*/ 31741 w 228718"/>
                <a:gd name="connsiteY142" fmla="*/ 42386 h 253841"/>
                <a:gd name="connsiteX143" fmla="*/ 29550 w 228718"/>
                <a:gd name="connsiteY143" fmla="*/ 43434 h 253841"/>
                <a:gd name="connsiteX144" fmla="*/ 27550 w 228718"/>
                <a:gd name="connsiteY144" fmla="*/ 47435 h 253841"/>
                <a:gd name="connsiteX145" fmla="*/ 27550 w 228718"/>
                <a:gd name="connsiteY145" fmla="*/ 45815 h 253841"/>
                <a:gd name="connsiteX146" fmla="*/ 27550 w 228718"/>
                <a:gd name="connsiteY146" fmla="*/ 45815 h 253841"/>
                <a:gd name="connsiteX147" fmla="*/ 28979 w 228718"/>
                <a:gd name="connsiteY147" fmla="*/ 43815 h 253841"/>
                <a:gd name="connsiteX148" fmla="*/ 34122 w 228718"/>
                <a:gd name="connsiteY148" fmla="*/ 39719 h 253841"/>
                <a:gd name="connsiteX149" fmla="*/ 35265 w 228718"/>
                <a:gd name="connsiteY149" fmla="*/ 38195 h 253841"/>
                <a:gd name="connsiteX150" fmla="*/ 35265 w 228718"/>
                <a:gd name="connsiteY150" fmla="*/ 40100 h 253841"/>
                <a:gd name="connsiteX151" fmla="*/ 35265 w 228718"/>
                <a:gd name="connsiteY151" fmla="*/ 41624 h 253841"/>
                <a:gd name="connsiteX152" fmla="*/ 39742 w 228718"/>
                <a:gd name="connsiteY152" fmla="*/ 43529 h 253841"/>
                <a:gd name="connsiteX153" fmla="*/ 39742 w 228718"/>
                <a:gd name="connsiteY153" fmla="*/ 43529 h 253841"/>
                <a:gd name="connsiteX154" fmla="*/ 46505 w 228718"/>
                <a:gd name="connsiteY154" fmla="*/ 27718 h 253841"/>
                <a:gd name="connsiteX155" fmla="*/ 46505 w 228718"/>
                <a:gd name="connsiteY155" fmla="*/ 27718 h 253841"/>
                <a:gd name="connsiteX156" fmla="*/ 51077 w 228718"/>
                <a:gd name="connsiteY156" fmla="*/ 23431 h 253841"/>
                <a:gd name="connsiteX157" fmla="*/ 52315 w 228718"/>
                <a:gd name="connsiteY157" fmla="*/ 20669 h 253841"/>
                <a:gd name="connsiteX158" fmla="*/ 55077 w 228718"/>
                <a:gd name="connsiteY158" fmla="*/ 18859 h 253841"/>
                <a:gd name="connsiteX159" fmla="*/ 49267 w 228718"/>
                <a:gd name="connsiteY159" fmla="*/ 27718 h 253841"/>
                <a:gd name="connsiteX160" fmla="*/ 49267 w 228718"/>
                <a:gd name="connsiteY160" fmla="*/ 29242 h 253841"/>
                <a:gd name="connsiteX161" fmla="*/ 53172 w 228718"/>
                <a:gd name="connsiteY161" fmla="*/ 32099 h 253841"/>
                <a:gd name="connsiteX162" fmla="*/ 53172 w 228718"/>
                <a:gd name="connsiteY162" fmla="*/ 32099 h 253841"/>
                <a:gd name="connsiteX163" fmla="*/ 63745 w 228718"/>
                <a:gd name="connsiteY163" fmla="*/ 18383 h 253841"/>
                <a:gd name="connsiteX164" fmla="*/ 63745 w 228718"/>
                <a:gd name="connsiteY164" fmla="*/ 16097 h 253841"/>
                <a:gd name="connsiteX165" fmla="*/ 65079 w 228718"/>
                <a:gd name="connsiteY165" fmla="*/ 15431 h 253841"/>
                <a:gd name="connsiteX166" fmla="*/ 67269 w 228718"/>
                <a:gd name="connsiteY166" fmla="*/ 12668 h 253841"/>
                <a:gd name="connsiteX167" fmla="*/ 67269 w 228718"/>
                <a:gd name="connsiteY167" fmla="*/ 12668 h 253841"/>
                <a:gd name="connsiteX168" fmla="*/ 70698 w 228718"/>
                <a:gd name="connsiteY168" fmla="*/ 11144 h 253841"/>
                <a:gd name="connsiteX169" fmla="*/ 74413 w 228718"/>
                <a:gd name="connsiteY169" fmla="*/ 11144 h 253841"/>
                <a:gd name="connsiteX170" fmla="*/ 71746 w 228718"/>
                <a:gd name="connsiteY170" fmla="*/ 13049 h 253841"/>
                <a:gd name="connsiteX171" fmla="*/ 70603 w 228718"/>
                <a:gd name="connsiteY171" fmla="*/ 14192 h 253841"/>
                <a:gd name="connsiteX172" fmla="*/ 72794 w 228718"/>
                <a:gd name="connsiteY172" fmla="*/ 18479 h 253841"/>
                <a:gd name="connsiteX173" fmla="*/ 72794 w 228718"/>
                <a:gd name="connsiteY173" fmla="*/ 18479 h 253841"/>
                <a:gd name="connsiteX174" fmla="*/ 88415 w 228718"/>
                <a:gd name="connsiteY174" fmla="*/ 11144 h 253841"/>
                <a:gd name="connsiteX175" fmla="*/ 89939 w 228718"/>
                <a:gd name="connsiteY175" fmla="*/ 8572 h 253841"/>
                <a:gd name="connsiteX176" fmla="*/ 99464 w 228718"/>
                <a:gd name="connsiteY176" fmla="*/ 10192 h 253841"/>
                <a:gd name="connsiteX177" fmla="*/ 93177 w 228718"/>
                <a:gd name="connsiteY177" fmla="*/ 10192 h 253841"/>
                <a:gd name="connsiteX178" fmla="*/ 91272 w 228718"/>
                <a:gd name="connsiteY178" fmla="*/ 11144 h 253841"/>
                <a:gd name="connsiteX179" fmla="*/ 91272 w 228718"/>
                <a:gd name="connsiteY179" fmla="*/ 15907 h 253841"/>
                <a:gd name="connsiteX180" fmla="*/ 91272 w 228718"/>
                <a:gd name="connsiteY180" fmla="*/ 15907 h 253841"/>
                <a:gd name="connsiteX181" fmla="*/ 108513 w 228718"/>
                <a:gd name="connsiteY181" fmla="*/ 17526 h 253841"/>
                <a:gd name="connsiteX182" fmla="*/ 111465 w 228718"/>
                <a:gd name="connsiteY182" fmla="*/ 15526 h 253841"/>
                <a:gd name="connsiteX183" fmla="*/ 111465 w 228718"/>
                <a:gd name="connsiteY183" fmla="*/ 15526 h 253841"/>
                <a:gd name="connsiteX184" fmla="*/ 120038 w 228718"/>
                <a:gd name="connsiteY184" fmla="*/ 20669 h 253841"/>
                <a:gd name="connsiteX185" fmla="*/ 114228 w 228718"/>
                <a:gd name="connsiteY185" fmla="*/ 19241 h 253841"/>
                <a:gd name="connsiteX186" fmla="*/ 112608 w 228718"/>
                <a:gd name="connsiteY186" fmla="*/ 19241 h 253841"/>
                <a:gd name="connsiteX187" fmla="*/ 110894 w 228718"/>
                <a:gd name="connsiteY187" fmla="*/ 23717 h 253841"/>
                <a:gd name="connsiteX188" fmla="*/ 110894 w 228718"/>
                <a:gd name="connsiteY188" fmla="*/ 23717 h 253841"/>
                <a:gd name="connsiteX189" fmla="*/ 126991 w 228718"/>
                <a:gd name="connsiteY189" fmla="*/ 30099 h 253841"/>
                <a:gd name="connsiteX190" fmla="*/ 130420 w 228718"/>
                <a:gd name="connsiteY190" fmla="*/ 29051 h 253841"/>
                <a:gd name="connsiteX191" fmla="*/ 130420 w 228718"/>
                <a:gd name="connsiteY191" fmla="*/ 29051 h 253841"/>
                <a:gd name="connsiteX192" fmla="*/ 132516 w 228718"/>
                <a:gd name="connsiteY192" fmla="*/ 30956 h 253841"/>
                <a:gd name="connsiteX193" fmla="*/ 136326 w 228718"/>
                <a:gd name="connsiteY193" fmla="*/ 34766 h 253841"/>
                <a:gd name="connsiteX194" fmla="*/ 128134 w 228718"/>
                <a:gd name="connsiteY194" fmla="*/ 32480 h 253841"/>
                <a:gd name="connsiteX195" fmla="*/ 126515 w 228718"/>
                <a:gd name="connsiteY195" fmla="*/ 32480 h 253841"/>
                <a:gd name="connsiteX196" fmla="*/ 124800 w 228718"/>
                <a:gd name="connsiteY196" fmla="*/ 36957 h 253841"/>
                <a:gd name="connsiteX197" fmla="*/ 124800 w 228718"/>
                <a:gd name="connsiteY197" fmla="*/ 36957 h 253841"/>
                <a:gd name="connsiteX198" fmla="*/ 140802 w 228718"/>
                <a:gd name="connsiteY198" fmla="*/ 43339 h 253841"/>
                <a:gd name="connsiteX199" fmla="*/ 143374 w 228718"/>
                <a:gd name="connsiteY199" fmla="*/ 42863 h 253841"/>
                <a:gd name="connsiteX200" fmla="*/ 148232 w 228718"/>
                <a:gd name="connsiteY200" fmla="*/ 49149 h 253841"/>
                <a:gd name="connsiteX201" fmla="*/ 139564 w 228718"/>
                <a:gd name="connsiteY201" fmla="*/ 45720 h 253841"/>
                <a:gd name="connsiteX202" fmla="*/ 137945 w 228718"/>
                <a:gd name="connsiteY202" fmla="*/ 45720 h 253841"/>
                <a:gd name="connsiteX203" fmla="*/ 135849 w 228718"/>
                <a:gd name="connsiteY203" fmla="*/ 50102 h 253841"/>
                <a:gd name="connsiteX204" fmla="*/ 135849 w 228718"/>
                <a:gd name="connsiteY204" fmla="*/ 50102 h 253841"/>
                <a:gd name="connsiteX205" fmla="*/ 151280 w 228718"/>
                <a:gd name="connsiteY205" fmla="*/ 57912 h 253841"/>
                <a:gd name="connsiteX206" fmla="*/ 153947 w 228718"/>
                <a:gd name="connsiteY206" fmla="*/ 57912 h 253841"/>
                <a:gd name="connsiteX207" fmla="*/ 157947 w 228718"/>
                <a:gd name="connsiteY207" fmla="*/ 64103 h 253841"/>
                <a:gd name="connsiteX208" fmla="*/ 153947 w 228718"/>
                <a:gd name="connsiteY208" fmla="*/ 61722 h 253841"/>
                <a:gd name="connsiteX209" fmla="*/ 152423 w 228718"/>
                <a:gd name="connsiteY209" fmla="*/ 61151 h 253841"/>
                <a:gd name="connsiteX210" fmla="*/ 149470 w 228718"/>
                <a:gd name="connsiteY210" fmla="*/ 64865 h 253841"/>
                <a:gd name="connsiteX211" fmla="*/ 149470 w 228718"/>
                <a:gd name="connsiteY211" fmla="*/ 64865 h 253841"/>
                <a:gd name="connsiteX212" fmla="*/ 162710 w 228718"/>
                <a:gd name="connsiteY212" fmla="*/ 75914 h 253841"/>
                <a:gd name="connsiteX213" fmla="*/ 165186 w 228718"/>
                <a:gd name="connsiteY213" fmla="*/ 75914 h 253841"/>
                <a:gd name="connsiteX214" fmla="*/ 167282 w 228718"/>
                <a:gd name="connsiteY214" fmla="*/ 79915 h 253841"/>
                <a:gd name="connsiteX215" fmla="*/ 166234 w 228718"/>
                <a:gd name="connsiteY215" fmla="*/ 79248 h 253841"/>
                <a:gd name="connsiteX216" fmla="*/ 162519 w 228718"/>
                <a:gd name="connsiteY216" fmla="*/ 82391 h 253841"/>
                <a:gd name="connsiteX217" fmla="*/ 162519 w 228718"/>
                <a:gd name="connsiteY217" fmla="*/ 82391 h 253841"/>
                <a:gd name="connsiteX218" fmla="*/ 173473 w 228718"/>
                <a:gd name="connsiteY218" fmla="*/ 95726 h 253841"/>
                <a:gd name="connsiteX219" fmla="*/ 175569 w 228718"/>
                <a:gd name="connsiteY219" fmla="*/ 96584 h 253841"/>
                <a:gd name="connsiteX220" fmla="*/ 176521 w 228718"/>
                <a:gd name="connsiteY220" fmla="*/ 98584 h 253841"/>
                <a:gd name="connsiteX221" fmla="*/ 196238 w 228718"/>
                <a:gd name="connsiteY221" fmla="*/ 149066 h 253841"/>
                <a:gd name="connsiteX222" fmla="*/ 222908 w 228718"/>
                <a:gd name="connsiteY222" fmla="*/ 253841 h 253841"/>
                <a:gd name="connsiteX223" fmla="*/ 228718 w 228718"/>
                <a:gd name="connsiteY223" fmla="*/ 252698 h 253841"/>
                <a:gd name="connsiteX224" fmla="*/ 200810 w 228718"/>
                <a:gd name="connsiteY224" fmla="*/ 146685 h 253841"/>
                <a:gd name="connsiteX225" fmla="*/ 52029 w 228718"/>
                <a:gd name="connsiteY225" fmla="*/ 19241 h 253841"/>
                <a:gd name="connsiteX226" fmla="*/ 52029 w 228718"/>
                <a:gd name="connsiteY226" fmla="*/ 19241 h 253841"/>
                <a:gd name="connsiteX227" fmla="*/ 52029 w 228718"/>
                <a:gd name="connsiteY227" fmla="*/ 19241 h 253841"/>
                <a:gd name="connsiteX228" fmla="*/ 26979 w 228718"/>
                <a:gd name="connsiteY228" fmla="*/ 45053 h 253841"/>
                <a:gd name="connsiteX229" fmla="*/ 26979 w 228718"/>
                <a:gd name="connsiteY229" fmla="*/ 45053 h 253841"/>
                <a:gd name="connsiteX230" fmla="*/ 27836 w 228718"/>
                <a:gd name="connsiteY230" fmla="*/ 45053 h 253841"/>
                <a:gd name="connsiteX231" fmla="*/ 36504 w 228718"/>
                <a:gd name="connsiteY231" fmla="*/ 37147 h 253841"/>
                <a:gd name="connsiteX232" fmla="*/ 36504 w 228718"/>
                <a:gd name="connsiteY232" fmla="*/ 36671 h 253841"/>
                <a:gd name="connsiteX233" fmla="*/ 36504 w 228718"/>
                <a:gd name="connsiteY233" fmla="*/ 35909 h 253841"/>
                <a:gd name="connsiteX234" fmla="*/ 36504 w 228718"/>
                <a:gd name="connsiteY234" fmla="*/ 35909 h 253841"/>
                <a:gd name="connsiteX235" fmla="*/ 38218 w 228718"/>
                <a:gd name="connsiteY235" fmla="*/ 33909 h 253841"/>
                <a:gd name="connsiteX236" fmla="*/ 36027 w 228718"/>
                <a:gd name="connsiteY236" fmla="*/ 37147 h 253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</a:cxnLst>
              <a:rect l="l" t="t" r="r" b="b"/>
              <a:pathLst>
                <a:path w="228718" h="253841">
                  <a:moveTo>
                    <a:pt x="200810" y="146685"/>
                  </a:moveTo>
                  <a:cubicBezTo>
                    <a:pt x="194850" y="129443"/>
                    <a:pt x="187982" y="112529"/>
                    <a:pt x="180236" y="96012"/>
                  </a:cubicBezTo>
                  <a:lnTo>
                    <a:pt x="178521" y="92392"/>
                  </a:lnTo>
                  <a:cubicBezTo>
                    <a:pt x="178087" y="90984"/>
                    <a:pt x="177410" y="89663"/>
                    <a:pt x="176521" y="88487"/>
                  </a:cubicBezTo>
                  <a:cubicBezTo>
                    <a:pt x="174140" y="83725"/>
                    <a:pt x="171663" y="78962"/>
                    <a:pt x="168996" y="74295"/>
                  </a:cubicBezTo>
                  <a:cubicBezTo>
                    <a:pt x="169503" y="74114"/>
                    <a:pt x="169915" y="73736"/>
                    <a:pt x="170139" y="73247"/>
                  </a:cubicBezTo>
                  <a:cubicBezTo>
                    <a:pt x="170971" y="71382"/>
                    <a:pt x="171456" y="69381"/>
                    <a:pt x="171568" y="67342"/>
                  </a:cubicBezTo>
                  <a:cubicBezTo>
                    <a:pt x="171981" y="63593"/>
                    <a:pt x="171820" y="59803"/>
                    <a:pt x="171092" y="56102"/>
                  </a:cubicBezTo>
                  <a:cubicBezTo>
                    <a:pt x="170976" y="55582"/>
                    <a:pt x="170817" y="55072"/>
                    <a:pt x="170616" y="54578"/>
                  </a:cubicBezTo>
                  <a:cubicBezTo>
                    <a:pt x="169282" y="51054"/>
                    <a:pt x="167091" y="50959"/>
                    <a:pt x="165853" y="54578"/>
                  </a:cubicBezTo>
                  <a:lnTo>
                    <a:pt x="165853" y="54578"/>
                  </a:lnTo>
                  <a:cubicBezTo>
                    <a:pt x="164535" y="58335"/>
                    <a:pt x="164016" y="62325"/>
                    <a:pt x="164329" y="66294"/>
                  </a:cubicBezTo>
                  <a:lnTo>
                    <a:pt x="161281" y="61341"/>
                  </a:lnTo>
                  <a:cubicBezTo>
                    <a:pt x="161601" y="61045"/>
                    <a:pt x="161860" y="60689"/>
                    <a:pt x="162043" y="60293"/>
                  </a:cubicBezTo>
                  <a:cubicBezTo>
                    <a:pt x="162543" y="58335"/>
                    <a:pt x="162704" y="56305"/>
                    <a:pt x="162519" y="54293"/>
                  </a:cubicBezTo>
                  <a:cubicBezTo>
                    <a:pt x="162402" y="50523"/>
                    <a:pt x="161695" y="46794"/>
                    <a:pt x="160424" y="43244"/>
                  </a:cubicBezTo>
                  <a:lnTo>
                    <a:pt x="159757" y="41815"/>
                  </a:lnTo>
                  <a:cubicBezTo>
                    <a:pt x="157947" y="38481"/>
                    <a:pt x="155661" y="38767"/>
                    <a:pt x="154995" y="42482"/>
                  </a:cubicBezTo>
                  <a:lnTo>
                    <a:pt x="154995" y="42482"/>
                  </a:lnTo>
                  <a:cubicBezTo>
                    <a:pt x="154489" y="45636"/>
                    <a:pt x="154489" y="48852"/>
                    <a:pt x="154995" y="52007"/>
                  </a:cubicBezTo>
                  <a:cubicBezTo>
                    <a:pt x="154328" y="51054"/>
                    <a:pt x="153661" y="50006"/>
                    <a:pt x="152899" y="49054"/>
                  </a:cubicBezTo>
                  <a:lnTo>
                    <a:pt x="151756" y="47530"/>
                  </a:lnTo>
                  <a:cubicBezTo>
                    <a:pt x="152109" y="47201"/>
                    <a:pt x="152343" y="46766"/>
                    <a:pt x="152423" y="46292"/>
                  </a:cubicBezTo>
                  <a:cubicBezTo>
                    <a:pt x="152848" y="44314"/>
                    <a:pt x="152848" y="42268"/>
                    <a:pt x="152423" y="40291"/>
                  </a:cubicBezTo>
                  <a:cubicBezTo>
                    <a:pt x="151662" y="36425"/>
                    <a:pt x="150312" y="32699"/>
                    <a:pt x="148422" y="29242"/>
                  </a:cubicBezTo>
                  <a:lnTo>
                    <a:pt x="147565" y="28004"/>
                  </a:lnTo>
                  <a:cubicBezTo>
                    <a:pt x="145279" y="24956"/>
                    <a:pt x="143088" y="25527"/>
                    <a:pt x="142898" y="29242"/>
                  </a:cubicBezTo>
                  <a:lnTo>
                    <a:pt x="142898" y="29242"/>
                  </a:lnTo>
                  <a:cubicBezTo>
                    <a:pt x="142712" y="32058"/>
                    <a:pt x="142969" y="34887"/>
                    <a:pt x="143660" y="37624"/>
                  </a:cubicBezTo>
                  <a:cubicBezTo>
                    <a:pt x="142136" y="35814"/>
                    <a:pt x="140517" y="34195"/>
                    <a:pt x="138897" y="32480"/>
                  </a:cubicBezTo>
                  <a:lnTo>
                    <a:pt x="138897" y="32480"/>
                  </a:lnTo>
                  <a:cubicBezTo>
                    <a:pt x="139140" y="32586"/>
                    <a:pt x="139417" y="32586"/>
                    <a:pt x="139659" y="32480"/>
                  </a:cubicBezTo>
                  <a:cubicBezTo>
                    <a:pt x="140148" y="31822"/>
                    <a:pt x="140384" y="31011"/>
                    <a:pt x="140326" y="30194"/>
                  </a:cubicBezTo>
                  <a:cubicBezTo>
                    <a:pt x="139947" y="28232"/>
                    <a:pt x="139204" y="26358"/>
                    <a:pt x="138135" y="24670"/>
                  </a:cubicBezTo>
                  <a:cubicBezTo>
                    <a:pt x="136317" y="21354"/>
                    <a:pt x="134005" y="18335"/>
                    <a:pt x="131277" y="15716"/>
                  </a:cubicBezTo>
                  <a:lnTo>
                    <a:pt x="130039" y="14669"/>
                  </a:lnTo>
                  <a:cubicBezTo>
                    <a:pt x="126896" y="12573"/>
                    <a:pt x="124991" y="13811"/>
                    <a:pt x="126039" y="17431"/>
                  </a:cubicBezTo>
                  <a:lnTo>
                    <a:pt x="126039" y="17431"/>
                  </a:lnTo>
                  <a:cubicBezTo>
                    <a:pt x="126682" y="19728"/>
                    <a:pt x="127609" y="21936"/>
                    <a:pt x="128801" y="24003"/>
                  </a:cubicBezTo>
                  <a:cubicBezTo>
                    <a:pt x="127086" y="22574"/>
                    <a:pt x="125372" y="21241"/>
                    <a:pt x="123562" y="20003"/>
                  </a:cubicBezTo>
                  <a:lnTo>
                    <a:pt x="122038" y="19050"/>
                  </a:lnTo>
                  <a:cubicBezTo>
                    <a:pt x="122562" y="18949"/>
                    <a:pt x="123053" y="18720"/>
                    <a:pt x="123467" y="18383"/>
                  </a:cubicBezTo>
                  <a:cubicBezTo>
                    <a:pt x="123569" y="18173"/>
                    <a:pt x="123569" y="17927"/>
                    <a:pt x="123467" y="17717"/>
                  </a:cubicBezTo>
                  <a:cubicBezTo>
                    <a:pt x="123790" y="16956"/>
                    <a:pt x="123790" y="16096"/>
                    <a:pt x="123467" y="15335"/>
                  </a:cubicBezTo>
                  <a:cubicBezTo>
                    <a:pt x="122374" y="13638"/>
                    <a:pt x="120948" y="12180"/>
                    <a:pt x="119276" y="11049"/>
                  </a:cubicBezTo>
                  <a:cubicBezTo>
                    <a:pt x="116410" y="8695"/>
                    <a:pt x="113197" y="6799"/>
                    <a:pt x="109751" y="5429"/>
                  </a:cubicBezTo>
                  <a:lnTo>
                    <a:pt x="108227" y="4953"/>
                  </a:lnTo>
                  <a:cubicBezTo>
                    <a:pt x="104607" y="4286"/>
                    <a:pt x="103274" y="6096"/>
                    <a:pt x="105655" y="9049"/>
                  </a:cubicBezTo>
                  <a:lnTo>
                    <a:pt x="105655" y="9049"/>
                  </a:lnTo>
                  <a:cubicBezTo>
                    <a:pt x="106227" y="9811"/>
                    <a:pt x="106893" y="10478"/>
                    <a:pt x="107465" y="11144"/>
                  </a:cubicBezTo>
                  <a:cubicBezTo>
                    <a:pt x="105103" y="10177"/>
                    <a:pt x="102686" y="9350"/>
                    <a:pt x="100226" y="8668"/>
                  </a:cubicBezTo>
                  <a:cubicBezTo>
                    <a:pt x="100742" y="8379"/>
                    <a:pt x="101195" y="7990"/>
                    <a:pt x="101559" y="7525"/>
                  </a:cubicBezTo>
                  <a:cubicBezTo>
                    <a:pt x="101696" y="7289"/>
                    <a:pt x="101696" y="6999"/>
                    <a:pt x="101559" y="6763"/>
                  </a:cubicBezTo>
                  <a:cubicBezTo>
                    <a:pt x="101489" y="5929"/>
                    <a:pt x="101117" y="5150"/>
                    <a:pt x="100512" y="4572"/>
                  </a:cubicBezTo>
                  <a:cubicBezTo>
                    <a:pt x="98903" y="3342"/>
                    <a:pt x="97053" y="2466"/>
                    <a:pt x="95082" y="2000"/>
                  </a:cubicBezTo>
                  <a:cubicBezTo>
                    <a:pt x="91525" y="767"/>
                    <a:pt x="87798" y="93"/>
                    <a:pt x="84033" y="0"/>
                  </a:cubicBezTo>
                  <a:lnTo>
                    <a:pt x="82414" y="0"/>
                  </a:lnTo>
                  <a:cubicBezTo>
                    <a:pt x="78699" y="476"/>
                    <a:pt x="78128" y="2667"/>
                    <a:pt x="81366" y="4667"/>
                  </a:cubicBezTo>
                  <a:lnTo>
                    <a:pt x="81747" y="4667"/>
                  </a:lnTo>
                  <a:cubicBezTo>
                    <a:pt x="82850" y="5401"/>
                    <a:pt x="84033" y="6008"/>
                    <a:pt x="85272" y="6477"/>
                  </a:cubicBezTo>
                  <a:lnTo>
                    <a:pt x="83748" y="6953"/>
                  </a:lnTo>
                  <a:lnTo>
                    <a:pt x="82319" y="6953"/>
                  </a:lnTo>
                  <a:cubicBezTo>
                    <a:pt x="82048" y="6370"/>
                    <a:pt x="81619" y="5875"/>
                    <a:pt x="81081" y="5524"/>
                  </a:cubicBezTo>
                  <a:cubicBezTo>
                    <a:pt x="79265" y="4649"/>
                    <a:pt x="77286" y="4162"/>
                    <a:pt x="75270" y="4096"/>
                  </a:cubicBezTo>
                  <a:cubicBezTo>
                    <a:pt x="71550" y="3476"/>
                    <a:pt x="67752" y="3476"/>
                    <a:pt x="64031" y="4096"/>
                  </a:cubicBezTo>
                  <a:lnTo>
                    <a:pt x="62697" y="4477"/>
                  </a:lnTo>
                  <a:cubicBezTo>
                    <a:pt x="59173" y="5810"/>
                    <a:pt x="58983" y="8001"/>
                    <a:pt x="62697" y="9334"/>
                  </a:cubicBezTo>
                  <a:lnTo>
                    <a:pt x="62697" y="9334"/>
                  </a:lnTo>
                  <a:cubicBezTo>
                    <a:pt x="64310" y="9912"/>
                    <a:pt x="65966" y="10358"/>
                    <a:pt x="67650" y="10668"/>
                  </a:cubicBezTo>
                  <a:lnTo>
                    <a:pt x="66698" y="10668"/>
                  </a:lnTo>
                  <a:cubicBezTo>
                    <a:pt x="66353" y="10318"/>
                    <a:pt x="65928" y="10056"/>
                    <a:pt x="65460" y="9906"/>
                  </a:cubicBezTo>
                  <a:cubicBezTo>
                    <a:pt x="63482" y="9478"/>
                    <a:pt x="61436" y="9478"/>
                    <a:pt x="59459" y="9906"/>
                  </a:cubicBezTo>
                  <a:cubicBezTo>
                    <a:pt x="55707" y="10317"/>
                    <a:pt x="52043" y="11313"/>
                    <a:pt x="48600" y="12859"/>
                  </a:cubicBezTo>
                  <a:lnTo>
                    <a:pt x="47267" y="13716"/>
                  </a:lnTo>
                  <a:cubicBezTo>
                    <a:pt x="44314" y="15716"/>
                    <a:pt x="44600" y="17812"/>
                    <a:pt x="47267" y="18288"/>
                  </a:cubicBezTo>
                  <a:lnTo>
                    <a:pt x="43647" y="20669"/>
                  </a:lnTo>
                  <a:cubicBezTo>
                    <a:pt x="40136" y="22368"/>
                    <a:pt x="36921" y="24619"/>
                    <a:pt x="34122" y="27337"/>
                  </a:cubicBezTo>
                  <a:lnTo>
                    <a:pt x="34122" y="28384"/>
                  </a:lnTo>
                  <a:cubicBezTo>
                    <a:pt x="32027" y="31432"/>
                    <a:pt x="33170" y="33338"/>
                    <a:pt x="36789" y="32385"/>
                  </a:cubicBezTo>
                  <a:lnTo>
                    <a:pt x="36789" y="32385"/>
                  </a:lnTo>
                  <a:lnTo>
                    <a:pt x="36789" y="32385"/>
                  </a:lnTo>
                  <a:lnTo>
                    <a:pt x="34218" y="35243"/>
                  </a:lnTo>
                  <a:lnTo>
                    <a:pt x="33265" y="35243"/>
                  </a:lnTo>
                  <a:cubicBezTo>
                    <a:pt x="31226" y="35274"/>
                    <a:pt x="29215" y="35728"/>
                    <a:pt x="27360" y="36576"/>
                  </a:cubicBezTo>
                  <a:cubicBezTo>
                    <a:pt x="23930" y="37854"/>
                    <a:pt x="20717" y="39653"/>
                    <a:pt x="17835" y="41910"/>
                  </a:cubicBezTo>
                  <a:lnTo>
                    <a:pt x="16692" y="42958"/>
                  </a:lnTo>
                  <a:cubicBezTo>
                    <a:pt x="14120" y="45720"/>
                    <a:pt x="14977" y="47720"/>
                    <a:pt x="18692" y="47339"/>
                  </a:cubicBezTo>
                  <a:lnTo>
                    <a:pt x="18692" y="47339"/>
                  </a:lnTo>
                  <a:lnTo>
                    <a:pt x="21740" y="46768"/>
                  </a:lnTo>
                  <a:cubicBezTo>
                    <a:pt x="21004" y="47292"/>
                    <a:pt x="20304" y="47865"/>
                    <a:pt x="19644" y="48482"/>
                  </a:cubicBezTo>
                  <a:cubicBezTo>
                    <a:pt x="16726" y="50887"/>
                    <a:pt x="14217" y="53750"/>
                    <a:pt x="12215" y="56959"/>
                  </a:cubicBezTo>
                  <a:cubicBezTo>
                    <a:pt x="11886" y="57392"/>
                    <a:pt x="11628" y="57874"/>
                    <a:pt x="11453" y="58388"/>
                  </a:cubicBezTo>
                  <a:cubicBezTo>
                    <a:pt x="10024" y="61817"/>
                    <a:pt x="11453" y="63437"/>
                    <a:pt x="14977" y="61722"/>
                  </a:cubicBezTo>
                  <a:lnTo>
                    <a:pt x="15072" y="61722"/>
                  </a:lnTo>
                  <a:lnTo>
                    <a:pt x="17930" y="60007"/>
                  </a:lnTo>
                  <a:lnTo>
                    <a:pt x="17930" y="60579"/>
                  </a:lnTo>
                  <a:cubicBezTo>
                    <a:pt x="17930" y="61722"/>
                    <a:pt x="17930" y="62770"/>
                    <a:pt x="17930" y="63818"/>
                  </a:cubicBezTo>
                  <a:lnTo>
                    <a:pt x="17930" y="63818"/>
                  </a:lnTo>
                  <a:cubicBezTo>
                    <a:pt x="17129" y="63534"/>
                    <a:pt x="16255" y="63534"/>
                    <a:pt x="15453" y="63818"/>
                  </a:cubicBezTo>
                  <a:cubicBezTo>
                    <a:pt x="13703" y="64830"/>
                    <a:pt x="12179" y="66192"/>
                    <a:pt x="10977" y="67818"/>
                  </a:cubicBezTo>
                  <a:cubicBezTo>
                    <a:pt x="8468" y="70661"/>
                    <a:pt x="6412" y="73874"/>
                    <a:pt x="4881" y="77343"/>
                  </a:cubicBezTo>
                  <a:cubicBezTo>
                    <a:pt x="4840" y="77818"/>
                    <a:pt x="4840" y="78296"/>
                    <a:pt x="4881" y="78772"/>
                  </a:cubicBezTo>
                  <a:cubicBezTo>
                    <a:pt x="3928" y="82391"/>
                    <a:pt x="5738" y="83820"/>
                    <a:pt x="8786" y="81629"/>
                  </a:cubicBezTo>
                  <a:lnTo>
                    <a:pt x="8786" y="81629"/>
                  </a:lnTo>
                  <a:cubicBezTo>
                    <a:pt x="9783" y="80416"/>
                    <a:pt x="10705" y="79144"/>
                    <a:pt x="11548" y="77819"/>
                  </a:cubicBezTo>
                  <a:cubicBezTo>
                    <a:pt x="11501" y="78517"/>
                    <a:pt x="11501" y="79217"/>
                    <a:pt x="11548" y="79915"/>
                  </a:cubicBezTo>
                  <a:cubicBezTo>
                    <a:pt x="11505" y="80326"/>
                    <a:pt x="11505" y="80741"/>
                    <a:pt x="11548" y="81153"/>
                  </a:cubicBezTo>
                  <a:lnTo>
                    <a:pt x="10500" y="81153"/>
                  </a:lnTo>
                  <a:cubicBezTo>
                    <a:pt x="8777" y="82206"/>
                    <a:pt x="7286" y="83600"/>
                    <a:pt x="6119" y="85249"/>
                  </a:cubicBezTo>
                  <a:cubicBezTo>
                    <a:pt x="3676" y="88104"/>
                    <a:pt x="1685" y="91316"/>
                    <a:pt x="213" y="94774"/>
                  </a:cubicBezTo>
                  <a:cubicBezTo>
                    <a:pt x="170" y="95249"/>
                    <a:pt x="170" y="95727"/>
                    <a:pt x="213" y="96203"/>
                  </a:cubicBezTo>
                  <a:cubicBezTo>
                    <a:pt x="-644" y="99917"/>
                    <a:pt x="1166" y="101251"/>
                    <a:pt x="4119" y="98965"/>
                  </a:cubicBezTo>
                  <a:lnTo>
                    <a:pt x="4119" y="98965"/>
                  </a:lnTo>
                  <a:cubicBezTo>
                    <a:pt x="5255" y="98114"/>
                    <a:pt x="6307" y="97157"/>
                    <a:pt x="7262" y="96107"/>
                  </a:cubicBezTo>
                  <a:cubicBezTo>
                    <a:pt x="7262" y="96679"/>
                    <a:pt x="7262" y="97155"/>
                    <a:pt x="7262" y="97631"/>
                  </a:cubicBezTo>
                  <a:cubicBezTo>
                    <a:pt x="6692" y="101356"/>
                    <a:pt x="6692" y="105146"/>
                    <a:pt x="7262" y="108871"/>
                  </a:cubicBezTo>
                  <a:cubicBezTo>
                    <a:pt x="7378" y="109391"/>
                    <a:pt x="7537" y="109901"/>
                    <a:pt x="7738" y="110395"/>
                  </a:cubicBezTo>
                  <a:cubicBezTo>
                    <a:pt x="9072" y="113919"/>
                    <a:pt x="11262" y="114014"/>
                    <a:pt x="12596" y="110395"/>
                  </a:cubicBezTo>
                  <a:lnTo>
                    <a:pt x="12596" y="110395"/>
                  </a:lnTo>
                  <a:cubicBezTo>
                    <a:pt x="14558" y="104844"/>
                    <a:pt x="14757" y="98823"/>
                    <a:pt x="13167" y="93154"/>
                  </a:cubicBezTo>
                  <a:cubicBezTo>
                    <a:pt x="13043" y="91993"/>
                    <a:pt x="12321" y="90981"/>
                    <a:pt x="11262" y="90487"/>
                  </a:cubicBezTo>
                  <a:cubicBezTo>
                    <a:pt x="11923" y="89507"/>
                    <a:pt x="12467" y="88452"/>
                    <a:pt x="12882" y="87344"/>
                  </a:cubicBezTo>
                  <a:cubicBezTo>
                    <a:pt x="12882" y="88297"/>
                    <a:pt x="13453" y="89249"/>
                    <a:pt x="13834" y="90202"/>
                  </a:cubicBezTo>
                  <a:cubicBezTo>
                    <a:pt x="14031" y="90677"/>
                    <a:pt x="14287" y="91125"/>
                    <a:pt x="14596" y="91535"/>
                  </a:cubicBezTo>
                  <a:cubicBezTo>
                    <a:pt x="16406" y="94869"/>
                    <a:pt x="18692" y="94583"/>
                    <a:pt x="19359" y="90868"/>
                  </a:cubicBezTo>
                  <a:lnTo>
                    <a:pt x="19359" y="90868"/>
                  </a:lnTo>
                  <a:cubicBezTo>
                    <a:pt x="20367" y="85063"/>
                    <a:pt x="19603" y="79089"/>
                    <a:pt x="17168" y="73724"/>
                  </a:cubicBezTo>
                  <a:cubicBezTo>
                    <a:pt x="16659" y="72954"/>
                    <a:pt x="15928" y="72356"/>
                    <a:pt x="15072" y="72009"/>
                  </a:cubicBezTo>
                  <a:cubicBezTo>
                    <a:pt x="15662" y="71117"/>
                    <a:pt x="16141" y="70158"/>
                    <a:pt x="16501" y="69152"/>
                  </a:cubicBezTo>
                  <a:cubicBezTo>
                    <a:pt x="16455" y="69945"/>
                    <a:pt x="16455" y="70740"/>
                    <a:pt x="16501" y="71533"/>
                  </a:cubicBezTo>
                  <a:cubicBezTo>
                    <a:pt x="16419" y="72037"/>
                    <a:pt x="16419" y="72552"/>
                    <a:pt x="16501" y="73057"/>
                  </a:cubicBezTo>
                  <a:cubicBezTo>
                    <a:pt x="17549" y="76676"/>
                    <a:pt x="19740" y="76962"/>
                    <a:pt x="21264" y="73533"/>
                  </a:cubicBezTo>
                  <a:lnTo>
                    <a:pt x="21264" y="73533"/>
                  </a:lnTo>
                  <a:cubicBezTo>
                    <a:pt x="24084" y="68287"/>
                    <a:pt x="25247" y="62309"/>
                    <a:pt x="24597" y="56388"/>
                  </a:cubicBezTo>
                  <a:cubicBezTo>
                    <a:pt x="24545" y="55661"/>
                    <a:pt x="24280" y="54965"/>
                    <a:pt x="23835" y="54388"/>
                  </a:cubicBezTo>
                  <a:cubicBezTo>
                    <a:pt x="25187" y="52822"/>
                    <a:pt x="26339" y="51094"/>
                    <a:pt x="27264" y="49244"/>
                  </a:cubicBezTo>
                  <a:cubicBezTo>
                    <a:pt x="26179" y="52666"/>
                    <a:pt x="25601" y="56228"/>
                    <a:pt x="25550" y="59817"/>
                  </a:cubicBezTo>
                  <a:cubicBezTo>
                    <a:pt x="25504" y="60356"/>
                    <a:pt x="25504" y="60897"/>
                    <a:pt x="25550" y="61436"/>
                  </a:cubicBezTo>
                  <a:cubicBezTo>
                    <a:pt x="26121" y="65151"/>
                    <a:pt x="28312" y="65627"/>
                    <a:pt x="30217" y="62484"/>
                  </a:cubicBezTo>
                  <a:lnTo>
                    <a:pt x="30217" y="62484"/>
                  </a:lnTo>
                  <a:cubicBezTo>
                    <a:pt x="33230" y="57403"/>
                    <a:pt x="34595" y="51513"/>
                    <a:pt x="34122" y="45625"/>
                  </a:cubicBezTo>
                  <a:cubicBezTo>
                    <a:pt x="34168" y="44362"/>
                    <a:pt x="33600" y="43156"/>
                    <a:pt x="32598" y="42386"/>
                  </a:cubicBezTo>
                  <a:lnTo>
                    <a:pt x="31741" y="42386"/>
                  </a:lnTo>
                  <a:cubicBezTo>
                    <a:pt x="30918" y="42494"/>
                    <a:pt x="30151" y="42861"/>
                    <a:pt x="29550" y="43434"/>
                  </a:cubicBezTo>
                  <a:cubicBezTo>
                    <a:pt x="28622" y="44620"/>
                    <a:pt x="27942" y="45980"/>
                    <a:pt x="27550" y="47435"/>
                  </a:cubicBezTo>
                  <a:cubicBezTo>
                    <a:pt x="27626" y="46897"/>
                    <a:pt x="27626" y="46352"/>
                    <a:pt x="27550" y="45815"/>
                  </a:cubicBezTo>
                  <a:lnTo>
                    <a:pt x="27550" y="45815"/>
                  </a:lnTo>
                  <a:lnTo>
                    <a:pt x="28979" y="43815"/>
                  </a:lnTo>
                  <a:cubicBezTo>
                    <a:pt x="30821" y="42618"/>
                    <a:pt x="32543" y="41246"/>
                    <a:pt x="34122" y="39719"/>
                  </a:cubicBezTo>
                  <a:cubicBezTo>
                    <a:pt x="34633" y="39322"/>
                    <a:pt x="35027" y="38796"/>
                    <a:pt x="35265" y="38195"/>
                  </a:cubicBezTo>
                  <a:cubicBezTo>
                    <a:pt x="35219" y="38829"/>
                    <a:pt x="35219" y="39466"/>
                    <a:pt x="35265" y="40100"/>
                  </a:cubicBezTo>
                  <a:cubicBezTo>
                    <a:pt x="35219" y="40607"/>
                    <a:pt x="35219" y="41117"/>
                    <a:pt x="35265" y="41624"/>
                  </a:cubicBezTo>
                  <a:cubicBezTo>
                    <a:pt x="35265" y="45434"/>
                    <a:pt x="37361" y="46292"/>
                    <a:pt x="39742" y="43529"/>
                  </a:cubicBezTo>
                  <a:lnTo>
                    <a:pt x="39742" y="43529"/>
                  </a:lnTo>
                  <a:cubicBezTo>
                    <a:pt x="43567" y="39078"/>
                    <a:pt x="45928" y="33558"/>
                    <a:pt x="46505" y="27718"/>
                  </a:cubicBezTo>
                  <a:lnTo>
                    <a:pt x="46505" y="27718"/>
                  </a:lnTo>
                  <a:cubicBezTo>
                    <a:pt x="48165" y="26442"/>
                    <a:pt x="49696" y="25006"/>
                    <a:pt x="51077" y="23431"/>
                  </a:cubicBezTo>
                  <a:cubicBezTo>
                    <a:pt x="51873" y="22736"/>
                    <a:pt x="52326" y="21727"/>
                    <a:pt x="52315" y="20669"/>
                  </a:cubicBezTo>
                  <a:lnTo>
                    <a:pt x="55077" y="18859"/>
                  </a:lnTo>
                  <a:cubicBezTo>
                    <a:pt x="52720" y="21514"/>
                    <a:pt x="50763" y="24498"/>
                    <a:pt x="49267" y="27718"/>
                  </a:cubicBezTo>
                  <a:cubicBezTo>
                    <a:pt x="49213" y="28224"/>
                    <a:pt x="49213" y="28735"/>
                    <a:pt x="49267" y="29242"/>
                  </a:cubicBezTo>
                  <a:cubicBezTo>
                    <a:pt x="48315" y="32861"/>
                    <a:pt x="50029" y="34195"/>
                    <a:pt x="53172" y="32099"/>
                  </a:cubicBezTo>
                  <a:lnTo>
                    <a:pt x="53172" y="32099"/>
                  </a:lnTo>
                  <a:cubicBezTo>
                    <a:pt x="57968" y="28666"/>
                    <a:pt x="61646" y="23895"/>
                    <a:pt x="63745" y="18383"/>
                  </a:cubicBezTo>
                  <a:cubicBezTo>
                    <a:pt x="63986" y="17640"/>
                    <a:pt x="63986" y="16840"/>
                    <a:pt x="63745" y="16097"/>
                  </a:cubicBezTo>
                  <a:lnTo>
                    <a:pt x="65079" y="15431"/>
                  </a:lnTo>
                  <a:cubicBezTo>
                    <a:pt x="66227" y="14937"/>
                    <a:pt x="67050" y="13899"/>
                    <a:pt x="67269" y="12668"/>
                  </a:cubicBezTo>
                  <a:lnTo>
                    <a:pt x="67269" y="12668"/>
                  </a:lnTo>
                  <a:lnTo>
                    <a:pt x="70698" y="11144"/>
                  </a:lnTo>
                  <a:cubicBezTo>
                    <a:pt x="71935" y="11239"/>
                    <a:pt x="73177" y="11239"/>
                    <a:pt x="74413" y="11144"/>
                  </a:cubicBezTo>
                  <a:cubicBezTo>
                    <a:pt x="73486" y="11725"/>
                    <a:pt x="72596" y="12361"/>
                    <a:pt x="71746" y="13049"/>
                  </a:cubicBezTo>
                  <a:lnTo>
                    <a:pt x="70603" y="14192"/>
                  </a:lnTo>
                  <a:cubicBezTo>
                    <a:pt x="68127" y="16955"/>
                    <a:pt x="69079" y="18955"/>
                    <a:pt x="72794" y="18479"/>
                  </a:cubicBezTo>
                  <a:lnTo>
                    <a:pt x="72794" y="18479"/>
                  </a:lnTo>
                  <a:cubicBezTo>
                    <a:pt x="78610" y="17627"/>
                    <a:pt x="84045" y="15076"/>
                    <a:pt x="88415" y="11144"/>
                  </a:cubicBezTo>
                  <a:cubicBezTo>
                    <a:pt x="89270" y="10547"/>
                    <a:pt x="89825" y="9609"/>
                    <a:pt x="89939" y="8572"/>
                  </a:cubicBezTo>
                  <a:cubicBezTo>
                    <a:pt x="93163" y="8772"/>
                    <a:pt x="96356" y="9315"/>
                    <a:pt x="99464" y="10192"/>
                  </a:cubicBezTo>
                  <a:cubicBezTo>
                    <a:pt x="97375" y="9954"/>
                    <a:pt x="95266" y="9954"/>
                    <a:pt x="93177" y="10192"/>
                  </a:cubicBezTo>
                  <a:lnTo>
                    <a:pt x="91272" y="11144"/>
                  </a:lnTo>
                  <a:cubicBezTo>
                    <a:pt x="87748" y="12192"/>
                    <a:pt x="87462" y="14478"/>
                    <a:pt x="91272" y="15907"/>
                  </a:cubicBezTo>
                  <a:lnTo>
                    <a:pt x="91272" y="15907"/>
                  </a:lnTo>
                  <a:cubicBezTo>
                    <a:pt x="96713" y="18217"/>
                    <a:pt x="102737" y="18782"/>
                    <a:pt x="108513" y="17526"/>
                  </a:cubicBezTo>
                  <a:cubicBezTo>
                    <a:pt x="109762" y="17374"/>
                    <a:pt x="110861" y="16629"/>
                    <a:pt x="111465" y="15526"/>
                  </a:cubicBezTo>
                  <a:lnTo>
                    <a:pt x="111465" y="15526"/>
                  </a:lnTo>
                  <a:cubicBezTo>
                    <a:pt x="114409" y="17092"/>
                    <a:pt x="117271" y="18809"/>
                    <a:pt x="120038" y="20669"/>
                  </a:cubicBezTo>
                  <a:cubicBezTo>
                    <a:pt x="118166" y="19959"/>
                    <a:pt x="116215" y="19479"/>
                    <a:pt x="114228" y="19241"/>
                  </a:cubicBezTo>
                  <a:lnTo>
                    <a:pt x="112608" y="19241"/>
                  </a:lnTo>
                  <a:cubicBezTo>
                    <a:pt x="108894" y="19241"/>
                    <a:pt x="108036" y="21431"/>
                    <a:pt x="110894" y="23717"/>
                  </a:cubicBezTo>
                  <a:lnTo>
                    <a:pt x="110894" y="23717"/>
                  </a:lnTo>
                  <a:cubicBezTo>
                    <a:pt x="115498" y="27411"/>
                    <a:pt x="121107" y="29634"/>
                    <a:pt x="126991" y="30099"/>
                  </a:cubicBezTo>
                  <a:cubicBezTo>
                    <a:pt x="128239" y="30380"/>
                    <a:pt x="129543" y="29982"/>
                    <a:pt x="130420" y="29051"/>
                  </a:cubicBezTo>
                  <a:cubicBezTo>
                    <a:pt x="130420" y="29051"/>
                    <a:pt x="130420" y="29051"/>
                    <a:pt x="130420" y="29051"/>
                  </a:cubicBezTo>
                  <a:lnTo>
                    <a:pt x="132516" y="30956"/>
                  </a:lnTo>
                  <a:lnTo>
                    <a:pt x="136326" y="34766"/>
                  </a:lnTo>
                  <a:cubicBezTo>
                    <a:pt x="133714" y="33630"/>
                    <a:pt x="130957" y="32861"/>
                    <a:pt x="128134" y="32480"/>
                  </a:cubicBezTo>
                  <a:lnTo>
                    <a:pt x="126515" y="32480"/>
                  </a:lnTo>
                  <a:cubicBezTo>
                    <a:pt x="122800" y="32480"/>
                    <a:pt x="121943" y="34576"/>
                    <a:pt x="124800" y="36957"/>
                  </a:cubicBezTo>
                  <a:lnTo>
                    <a:pt x="124800" y="36957"/>
                  </a:lnTo>
                  <a:cubicBezTo>
                    <a:pt x="129384" y="40623"/>
                    <a:pt x="134954" y="42844"/>
                    <a:pt x="140802" y="43339"/>
                  </a:cubicBezTo>
                  <a:cubicBezTo>
                    <a:pt x="141689" y="43516"/>
                    <a:pt x="142610" y="43345"/>
                    <a:pt x="143374" y="42863"/>
                  </a:cubicBezTo>
                  <a:cubicBezTo>
                    <a:pt x="144993" y="44958"/>
                    <a:pt x="146708" y="47054"/>
                    <a:pt x="148232" y="49149"/>
                  </a:cubicBezTo>
                  <a:cubicBezTo>
                    <a:pt x="145505" y="47632"/>
                    <a:pt x="142591" y="46479"/>
                    <a:pt x="139564" y="45720"/>
                  </a:cubicBezTo>
                  <a:lnTo>
                    <a:pt x="137945" y="45720"/>
                  </a:lnTo>
                  <a:cubicBezTo>
                    <a:pt x="134230" y="45720"/>
                    <a:pt x="133182" y="47530"/>
                    <a:pt x="135849" y="50102"/>
                  </a:cubicBezTo>
                  <a:lnTo>
                    <a:pt x="135849" y="50102"/>
                  </a:lnTo>
                  <a:cubicBezTo>
                    <a:pt x="140098" y="54187"/>
                    <a:pt x="145472" y="56907"/>
                    <a:pt x="151280" y="57912"/>
                  </a:cubicBezTo>
                  <a:cubicBezTo>
                    <a:pt x="152140" y="58233"/>
                    <a:pt x="153087" y="58233"/>
                    <a:pt x="153947" y="57912"/>
                  </a:cubicBezTo>
                  <a:cubicBezTo>
                    <a:pt x="155376" y="60007"/>
                    <a:pt x="156614" y="62008"/>
                    <a:pt x="157947" y="64103"/>
                  </a:cubicBezTo>
                  <a:cubicBezTo>
                    <a:pt x="156683" y="63199"/>
                    <a:pt x="155345" y="62402"/>
                    <a:pt x="153947" y="61722"/>
                  </a:cubicBezTo>
                  <a:lnTo>
                    <a:pt x="152423" y="61151"/>
                  </a:lnTo>
                  <a:cubicBezTo>
                    <a:pt x="148899" y="60007"/>
                    <a:pt x="147375" y="61722"/>
                    <a:pt x="149470" y="64865"/>
                  </a:cubicBezTo>
                  <a:lnTo>
                    <a:pt x="149470" y="64865"/>
                  </a:lnTo>
                  <a:cubicBezTo>
                    <a:pt x="152640" y="69824"/>
                    <a:pt x="157264" y="73683"/>
                    <a:pt x="162710" y="75914"/>
                  </a:cubicBezTo>
                  <a:cubicBezTo>
                    <a:pt x="163510" y="76205"/>
                    <a:pt x="164387" y="76205"/>
                    <a:pt x="165186" y="75914"/>
                  </a:cubicBezTo>
                  <a:lnTo>
                    <a:pt x="167282" y="79915"/>
                  </a:lnTo>
                  <a:cubicBezTo>
                    <a:pt x="166971" y="79638"/>
                    <a:pt x="166617" y="79413"/>
                    <a:pt x="166234" y="79248"/>
                  </a:cubicBezTo>
                  <a:cubicBezTo>
                    <a:pt x="162900" y="77438"/>
                    <a:pt x="161091" y="79248"/>
                    <a:pt x="162519" y="82391"/>
                  </a:cubicBezTo>
                  <a:lnTo>
                    <a:pt x="162519" y="82391"/>
                  </a:lnTo>
                  <a:cubicBezTo>
                    <a:pt x="164761" y="87828"/>
                    <a:pt x="168576" y="92471"/>
                    <a:pt x="173473" y="95726"/>
                  </a:cubicBezTo>
                  <a:cubicBezTo>
                    <a:pt x="174087" y="96187"/>
                    <a:pt x="174808" y="96482"/>
                    <a:pt x="175569" y="96584"/>
                  </a:cubicBezTo>
                  <a:lnTo>
                    <a:pt x="176521" y="98584"/>
                  </a:lnTo>
                  <a:cubicBezTo>
                    <a:pt x="184003" y="115042"/>
                    <a:pt x="190585" y="131894"/>
                    <a:pt x="196238" y="149066"/>
                  </a:cubicBezTo>
                  <a:cubicBezTo>
                    <a:pt x="207614" y="183311"/>
                    <a:pt x="216526" y="218325"/>
                    <a:pt x="222908" y="253841"/>
                  </a:cubicBezTo>
                  <a:lnTo>
                    <a:pt x="228718" y="252698"/>
                  </a:lnTo>
                  <a:cubicBezTo>
                    <a:pt x="222014" y="216727"/>
                    <a:pt x="212687" y="181295"/>
                    <a:pt x="200810" y="146685"/>
                  </a:cubicBezTo>
                  <a:close/>
                  <a:moveTo>
                    <a:pt x="52029" y="19241"/>
                  </a:moveTo>
                  <a:lnTo>
                    <a:pt x="52029" y="19241"/>
                  </a:lnTo>
                  <a:lnTo>
                    <a:pt x="52029" y="19241"/>
                  </a:lnTo>
                  <a:close/>
                  <a:moveTo>
                    <a:pt x="26979" y="45053"/>
                  </a:moveTo>
                  <a:lnTo>
                    <a:pt x="26979" y="45053"/>
                  </a:lnTo>
                  <a:lnTo>
                    <a:pt x="27836" y="45053"/>
                  </a:lnTo>
                  <a:close/>
                  <a:moveTo>
                    <a:pt x="36504" y="37147"/>
                  </a:moveTo>
                  <a:lnTo>
                    <a:pt x="36504" y="36671"/>
                  </a:lnTo>
                  <a:cubicBezTo>
                    <a:pt x="36623" y="36431"/>
                    <a:pt x="36623" y="36149"/>
                    <a:pt x="36504" y="35909"/>
                  </a:cubicBezTo>
                  <a:lnTo>
                    <a:pt x="36504" y="35909"/>
                  </a:lnTo>
                  <a:lnTo>
                    <a:pt x="38218" y="33909"/>
                  </a:lnTo>
                  <a:cubicBezTo>
                    <a:pt x="37401" y="34927"/>
                    <a:pt x="36669" y="36010"/>
                    <a:pt x="36027" y="371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6" name="Freihandform: Form 605">
              <a:extLst>
                <a:ext uri="{FF2B5EF4-FFF2-40B4-BE49-F238E27FC236}">
                  <a16:creationId xmlns:a16="http://schemas.microsoft.com/office/drawing/2014/main" id="{25D83C8A-D073-48C2-85E5-E5BCF1ADFF11}"/>
                </a:ext>
              </a:extLst>
            </p:cNvPr>
            <p:cNvSpPr/>
            <p:nvPr/>
          </p:nvSpPr>
          <p:spPr>
            <a:xfrm>
              <a:off x="6524102" y="2136401"/>
              <a:ext cx="141741" cy="484176"/>
            </a:xfrm>
            <a:custGeom>
              <a:avLst/>
              <a:gdLst>
                <a:gd name="connsiteX0" fmla="*/ 141637 w 141741"/>
                <a:gd name="connsiteY0" fmla="*/ 479584 h 484176"/>
                <a:gd name="connsiteX1" fmla="*/ 138970 w 141741"/>
                <a:gd name="connsiteY1" fmla="*/ 479584 h 484176"/>
                <a:gd name="connsiteX2" fmla="*/ 137922 w 141741"/>
                <a:gd name="connsiteY2" fmla="*/ 423577 h 484176"/>
                <a:gd name="connsiteX3" fmla="*/ 101918 w 141741"/>
                <a:gd name="connsiteY3" fmla="*/ 183833 h 484176"/>
                <a:gd name="connsiteX4" fmla="*/ 51149 w 141741"/>
                <a:gd name="connsiteY4" fmla="*/ 0 h 484176"/>
                <a:gd name="connsiteX5" fmla="*/ 79724 w 141741"/>
                <a:gd name="connsiteY5" fmla="*/ 141446 h 484176"/>
                <a:gd name="connsiteX6" fmla="*/ 107061 w 141741"/>
                <a:gd name="connsiteY6" fmla="*/ 272415 h 484176"/>
                <a:gd name="connsiteX7" fmla="*/ 133350 w 141741"/>
                <a:gd name="connsiteY7" fmla="*/ 469487 h 484176"/>
                <a:gd name="connsiteX8" fmla="*/ 126968 w 141741"/>
                <a:gd name="connsiteY8" fmla="*/ 433483 h 484176"/>
                <a:gd name="connsiteX9" fmla="*/ 66580 w 141741"/>
                <a:gd name="connsiteY9" fmla="*/ 238887 h 484176"/>
                <a:gd name="connsiteX10" fmla="*/ 0 w 141741"/>
                <a:gd name="connsiteY10" fmla="*/ 92012 h 484176"/>
                <a:gd name="connsiteX11" fmla="*/ 41624 w 141741"/>
                <a:gd name="connsiteY11" fmla="*/ 206312 h 484176"/>
                <a:gd name="connsiteX12" fmla="*/ 81344 w 141741"/>
                <a:gd name="connsiteY12" fmla="*/ 311753 h 484176"/>
                <a:gd name="connsiteX13" fmla="*/ 130302 w 141741"/>
                <a:gd name="connsiteY13" fmla="*/ 480536 h 484176"/>
                <a:gd name="connsiteX14" fmla="*/ 130302 w 141741"/>
                <a:gd name="connsiteY14" fmla="*/ 480536 h 484176"/>
                <a:gd name="connsiteX15" fmla="*/ 134493 w 141741"/>
                <a:gd name="connsiteY15" fmla="*/ 484156 h 484176"/>
                <a:gd name="connsiteX16" fmla="*/ 137636 w 141741"/>
                <a:gd name="connsiteY16" fmla="*/ 484156 h 484176"/>
                <a:gd name="connsiteX17" fmla="*/ 141721 w 141741"/>
                <a:gd name="connsiteY17" fmla="*/ 480853 h 484176"/>
                <a:gd name="connsiteX18" fmla="*/ 141637 w 141741"/>
                <a:gd name="connsiteY18" fmla="*/ 479584 h 484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41741" h="484176">
                  <a:moveTo>
                    <a:pt x="141637" y="479584"/>
                  </a:moveTo>
                  <a:lnTo>
                    <a:pt x="138970" y="479584"/>
                  </a:lnTo>
                  <a:cubicBezTo>
                    <a:pt x="138970" y="466154"/>
                    <a:pt x="138970" y="446818"/>
                    <a:pt x="137922" y="423577"/>
                  </a:cubicBezTo>
                  <a:cubicBezTo>
                    <a:pt x="133700" y="342686"/>
                    <a:pt x="121642" y="262395"/>
                    <a:pt x="101918" y="183833"/>
                  </a:cubicBezTo>
                  <a:cubicBezTo>
                    <a:pt x="91059" y="135636"/>
                    <a:pt x="74962" y="72962"/>
                    <a:pt x="51149" y="0"/>
                  </a:cubicBezTo>
                  <a:cubicBezTo>
                    <a:pt x="57436" y="32480"/>
                    <a:pt x="66961" y="81534"/>
                    <a:pt x="79724" y="141446"/>
                  </a:cubicBezTo>
                  <a:cubicBezTo>
                    <a:pt x="94964" y="215646"/>
                    <a:pt x="100394" y="237839"/>
                    <a:pt x="107061" y="272415"/>
                  </a:cubicBezTo>
                  <a:cubicBezTo>
                    <a:pt x="119526" y="337559"/>
                    <a:pt x="128303" y="403354"/>
                    <a:pt x="133350" y="469487"/>
                  </a:cubicBezTo>
                  <a:cubicBezTo>
                    <a:pt x="131826" y="459962"/>
                    <a:pt x="129731" y="447389"/>
                    <a:pt x="126968" y="433483"/>
                  </a:cubicBezTo>
                  <a:cubicBezTo>
                    <a:pt x="113209" y="366810"/>
                    <a:pt x="92983" y="301636"/>
                    <a:pt x="66580" y="238887"/>
                  </a:cubicBezTo>
                  <a:cubicBezTo>
                    <a:pt x="50864" y="200025"/>
                    <a:pt x="29432" y="149924"/>
                    <a:pt x="0" y="92012"/>
                  </a:cubicBezTo>
                  <a:cubicBezTo>
                    <a:pt x="9525" y="118205"/>
                    <a:pt x="23622" y="157829"/>
                    <a:pt x="41624" y="206312"/>
                  </a:cubicBezTo>
                  <a:cubicBezTo>
                    <a:pt x="63913" y="266033"/>
                    <a:pt x="71247" y="283845"/>
                    <a:pt x="81344" y="311753"/>
                  </a:cubicBezTo>
                  <a:cubicBezTo>
                    <a:pt x="101028" y="366983"/>
                    <a:pt x="117377" y="423346"/>
                    <a:pt x="130302" y="480536"/>
                  </a:cubicBezTo>
                  <a:lnTo>
                    <a:pt x="130302" y="480536"/>
                  </a:lnTo>
                  <a:cubicBezTo>
                    <a:pt x="130589" y="482625"/>
                    <a:pt x="132384" y="484175"/>
                    <a:pt x="134493" y="484156"/>
                  </a:cubicBezTo>
                  <a:lnTo>
                    <a:pt x="137636" y="484156"/>
                  </a:lnTo>
                  <a:cubicBezTo>
                    <a:pt x="139676" y="484372"/>
                    <a:pt x="141505" y="482893"/>
                    <a:pt x="141721" y="480853"/>
                  </a:cubicBezTo>
                  <a:cubicBezTo>
                    <a:pt x="141766" y="480428"/>
                    <a:pt x="141738" y="479999"/>
                    <a:pt x="141637" y="47958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58" name="Grafik 1940">
            <a:extLst>
              <a:ext uri="{FF2B5EF4-FFF2-40B4-BE49-F238E27FC236}">
                <a16:creationId xmlns:a16="http://schemas.microsoft.com/office/drawing/2014/main" id="{33FC899A-41C7-4A5F-B8CB-4D780F6F2463}"/>
              </a:ext>
            </a:extLst>
          </p:cNvPr>
          <p:cNvGrpSpPr/>
          <p:nvPr/>
        </p:nvGrpSpPr>
        <p:grpSpPr>
          <a:xfrm>
            <a:off x="4300424" y="2262550"/>
            <a:ext cx="160393" cy="586920"/>
            <a:chOff x="6245580" y="2264184"/>
            <a:chExt cx="136683" cy="500158"/>
          </a:xfrm>
          <a:solidFill>
            <a:srgbClr val="808080"/>
          </a:solidFill>
        </p:grpSpPr>
        <p:sp>
          <p:nvSpPr>
            <p:cNvPr id="159" name="Freihandform: Form 1946">
              <a:extLst>
                <a:ext uri="{FF2B5EF4-FFF2-40B4-BE49-F238E27FC236}">
                  <a16:creationId xmlns:a16="http://schemas.microsoft.com/office/drawing/2014/main" id="{A4736946-DE25-4BD6-B634-F643CC7F65AB}"/>
                </a:ext>
              </a:extLst>
            </p:cNvPr>
            <p:cNvSpPr/>
            <p:nvPr/>
          </p:nvSpPr>
          <p:spPr>
            <a:xfrm>
              <a:off x="6287489" y="2264184"/>
              <a:ext cx="53340" cy="94682"/>
            </a:xfrm>
            <a:custGeom>
              <a:avLst/>
              <a:gdLst>
                <a:gd name="connsiteX0" fmla="*/ 26480 w 53340"/>
                <a:gd name="connsiteY0" fmla="*/ 94678 h 94682"/>
                <a:gd name="connsiteX1" fmla="*/ 53336 w 53340"/>
                <a:gd name="connsiteY1" fmla="*/ 68775 h 94682"/>
                <a:gd name="connsiteX2" fmla="*/ 53340 w 53340"/>
                <a:gd name="connsiteY2" fmla="*/ 68199 h 94682"/>
                <a:gd name="connsiteX3" fmla="*/ 26480 w 53340"/>
                <a:gd name="connsiteY3" fmla="*/ 0 h 94682"/>
                <a:gd name="connsiteX4" fmla="*/ 0 w 53340"/>
                <a:gd name="connsiteY4" fmla="*/ 68199 h 94682"/>
                <a:gd name="connsiteX5" fmla="*/ 26289 w 53340"/>
                <a:gd name="connsiteY5" fmla="*/ 94678 h 94682"/>
                <a:gd name="connsiteX6" fmla="*/ 26480 w 53340"/>
                <a:gd name="connsiteY6" fmla="*/ 94678 h 94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3340" h="94682">
                  <a:moveTo>
                    <a:pt x="26480" y="94678"/>
                  </a:moveTo>
                  <a:cubicBezTo>
                    <a:pt x="41049" y="94942"/>
                    <a:pt x="53073" y="83344"/>
                    <a:pt x="53336" y="68775"/>
                  </a:cubicBezTo>
                  <a:cubicBezTo>
                    <a:pt x="53340" y="68583"/>
                    <a:pt x="53341" y="68391"/>
                    <a:pt x="53340" y="68199"/>
                  </a:cubicBezTo>
                  <a:cubicBezTo>
                    <a:pt x="53340" y="53626"/>
                    <a:pt x="26480" y="0"/>
                    <a:pt x="26480" y="0"/>
                  </a:cubicBezTo>
                  <a:cubicBezTo>
                    <a:pt x="26480" y="0"/>
                    <a:pt x="0" y="53626"/>
                    <a:pt x="0" y="68199"/>
                  </a:cubicBezTo>
                  <a:cubicBezTo>
                    <a:pt x="-53" y="82771"/>
                    <a:pt x="11717" y="94626"/>
                    <a:pt x="26289" y="94678"/>
                  </a:cubicBezTo>
                  <a:cubicBezTo>
                    <a:pt x="26352" y="94679"/>
                    <a:pt x="26416" y="94679"/>
                    <a:pt x="26480" y="9467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0" name="Freihandform: Form 1947">
              <a:extLst>
                <a:ext uri="{FF2B5EF4-FFF2-40B4-BE49-F238E27FC236}">
                  <a16:creationId xmlns:a16="http://schemas.microsoft.com/office/drawing/2014/main" id="{141C75F0-A83B-434D-A932-ECD2AC15DD5F}"/>
                </a:ext>
              </a:extLst>
            </p:cNvPr>
            <p:cNvSpPr/>
            <p:nvPr/>
          </p:nvSpPr>
          <p:spPr>
            <a:xfrm>
              <a:off x="6319202" y="2339622"/>
              <a:ext cx="63061" cy="83968"/>
            </a:xfrm>
            <a:custGeom>
              <a:avLst/>
              <a:gdLst>
                <a:gd name="connsiteX0" fmla="*/ 4197 w 63061"/>
                <a:gd name="connsiteY0" fmla="*/ 43244 h 83968"/>
                <a:gd name="connsiteX1" fmla="*/ 12150 w 63061"/>
                <a:gd name="connsiteY1" fmla="*/ 79772 h 83968"/>
                <a:gd name="connsiteX2" fmla="*/ 48679 w 63061"/>
                <a:gd name="connsiteY2" fmla="*/ 71819 h 83968"/>
                <a:gd name="connsiteX3" fmla="*/ 63061 w 63061"/>
                <a:gd name="connsiteY3" fmla="*/ 0 h 83968"/>
                <a:gd name="connsiteX4" fmla="*/ 4197 w 63061"/>
                <a:gd name="connsiteY4" fmla="*/ 43244 h 8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061" h="83968">
                  <a:moveTo>
                    <a:pt x="4197" y="43244"/>
                  </a:moveTo>
                  <a:cubicBezTo>
                    <a:pt x="-3694" y="55527"/>
                    <a:pt x="-133" y="71881"/>
                    <a:pt x="12150" y="79772"/>
                  </a:cubicBezTo>
                  <a:cubicBezTo>
                    <a:pt x="24434" y="87663"/>
                    <a:pt x="40788" y="84102"/>
                    <a:pt x="48679" y="71819"/>
                  </a:cubicBezTo>
                  <a:cubicBezTo>
                    <a:pt x="56584" y="59531"/>
                    <a:pt x="63061" y="0"/>
                    <a:pt x="63061" y="0"/>
                  </a:cubicBezTo>
                  <a:cubicBezTo>
                    <a:pt x="63061" y="0"/>
                    <a:pt x="12103" y="30956"/>
                    <a:pt x="4197" y="432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1" name="Freihandform: Form 1948">
              <a:extLst>
                <a:ext uri="{FF2B5EF4-FFF2-40B4-BE49-F238E27FC236}">
                  <a16:creationId xmlns:a16="http://schemas.microsoft.com/office/drawing/2014/main" id="{C1530F96-0427-4027-98D6-04BE7DDCCFC7}"/>
                </a:ext>
              </a:extLst>
            </p:cNvPr>
            <p:cNvSpPr/>
            <p:nvPr/>
          </p:nvSpPr>
          <p:spPr>
            <a:xfrm>
              <a:off x="6319202" y="2415536"/>
              <a:ext cx="63061" cy="83873"/>
            </a:xfrm>
            <a:custGeom>
              <a:avLst/>
              <a:gdLst>
                <a:gd name="connsiteX0" fmla="*/ 4197 w 63061"/>
                <a:gd name="connsiteY0" fmla="*/ 43148 h 83873"/>
                <a:gd name="connsiteX1" fmla="*/ 12150 w 63061"/>
                <a:gd name="connsiteY1" fmla="*/ 79677 h 83873"/>
                <a:gd name="connsiteX2" fmla="*/ 48679 w 63061"/>
                <a:gd name="connsiteY2" fmla="*/ 71723 h 83873"/>
                <a:gd name="connsiteX3" fmla="*/ 63061 w 63061"/>
                <a:gd name="connsiteY3" fmla="*/ 0 h 83873"/>
                <a:gd name="connsiteX4" fmla="*/ 4197 w 63061"/>
                <a:gd name="connsiteY4" fmla="*/ 43148 h 83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061" h="83873">
                  <a:moveTo>
                    <a:pt x="4197" y="43148"/>
                  </a:moveTo>
                  <a:cubicBezTo>
                    <a:pt x="-3694" y="55432"/>
                    <a:pt x="-133" y="71786"/>
                    <a:pt x="12150" y="79677"/>
                  </a:cubicBezTo>
                  <a:cubicBezTo>
                    <a:pt x="24434" y="87567"/>
                    <a:pt x="40788" y="84007"/>
                    <a:pt x="48679" y="71723"/>
                  </a:cubicBezTo>
                  <a:cubicBezTo>
                    <a:pt x="56584" y="59436"/>
                    <a:pt x="63061" y="0"/>
                    <a:pt x="63061" y="0"/>
                  </a:cubicBezTo>
                  <a:cubicBezTo>
                    <a:pt x="63061" y="0"/>
                    <a:pt x="12103" y="30766"/>
                    <a:pt x="4197" y="431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2" name="Freihandform: Form 1949">
              <a:extLst>
                <a:ext uri="{FF2B5EF4-FFF2-40B4-BE49-F238E27FC236}">
                  <a16:creationId xmlns:a16="http://schemas.microsoft.com/office/drawing/2014/main" id="{E5B20611-0D57-4CDA-9924-342B85F94A11}"/>
                </a:ext>
              </a:extLst>
            </p:cNvPr>
            <p:cNvSpPr/>
            <p:nvPr/>
          </p:nvSpPr>
          <p:spPr>
            <a:xfrm>
              <a:off x="6319202" y="2491260"/>
              <a:ext cx="63061" cy="83873"/>
            </a:xfrm>
            <a:custGeom>
              <a:avLst/>
              <a:gdLst>
                <a:gd name="connsiteX0" fmla="*/ 4197 w 63061"/>
                <a:gd name="connsiteY0" fmla="*/ 43148 h 83873"/>
                <a:gd name="connsiteX1" fmla="*/ 12150 w 63061"/>
                <a:gd name="connsiteY1" fmla="*/ 79677 h 83873"/>
                <a:gd name="connsiteX2" fmla="*/ 48679 w 63061"/>
                <a:gd name="connsiteY2" fmla="*/ 71723 h 83873"/>
                <a:gd name="connsiteX3" fmla="*/ 63061 w 63061"/>
                <a:gd name="connsiteY3" fmla="*/ 0 h 83873"/>
                <a:gd name="connsiteX4" fmla="*/ 4197 w 63061"/>
                <a:gd name="connsiteY4" fmla="*/ 43148 h 83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061" h="83873">
                  <a:moveTo>
                    <a:pt x="4197" y="43148"/>
                  </a:moveTo>
                  <a:cubicBezTo>
                    <a:pt x="-3694" y="55432"/>
                    <a:pt x="-133" y="71786"/>
                    <a:pt x="12150" y="79677"/>
                  </a:cubicBezTo>
                  <a:cubicBezTo>
                    <a:pt x="24434" y="87567"/>
                    <a:pt x="40788" y="84007"/>
                    <a:pt x="48679" y="71723"/>
                  </a:cubicBezTo>
                  <a:cubicBezTo>
                    <a:pt x="56584" y="59436"/>
                    <a:pt x="63061" y="0"/>
                    <a:pt x="63061" y="0"/>
                  </a:cubicBezTo>
                  <a:cubicBezTo>
                    <a:pt x="63061" y="0"/>
                    <a:pt x="12103" y="30766"/>
                    <a:pt x="4197" y="431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3" name="Freihandform: Form 1950">
              <a:extLst>
                <a:ext uri="{FF2B5EF4-FFF2-40B4-BE49-F238E27FC236}">
                  <a16:creationId xmlns:a16="http://schemas.microsoft.com/office/drawing/2014/main" id="{F470162E-C672-4672-99C3-4BC524B359F0}"/>
                </a:ext>
              </a:extLst>
            </p:cNvPr>
            <p:cNvSpPr/>
            <p:nvPr/>
          </p:nvSpPr>
          <p:spPr>
            <a:xfrm>
              <a:off x="6319202" y="2566983"/>
              <a:ext cx="63061" cy="83873"/>
            </a:xfrm>
            <a:custGeom>
              <a:avLst/>
              <a:gdLst>
                <a:gd name="connsiteX0" fmla="*/ 4197 w 63061"/>
                <a:gd name="connsiteY0" fmla="*/ 43148 h 83873"/>
                <a:gd name="connsiteX1" fmla="*/ 12150 w 63061"/>
                <a:gd name="connsiteY1" fmla="*/ 79677 h 83873"/>
                <a:gd name="connsiteX2" fmla="*/ 48679 w 63061"/>
                <a:gd name="connsiteY2" fmla="*/ 71723 h 83873"/>
                <a:gd name="connsiteX3" fmla="*/ 63061 w 63061"/>
                <a:gd name="connsiteY3" fmla="*/ 0 h 83873"/>
                <a:gd name="connsiteX4" fmla="*/ 4197 w 63061"/>
                <a:gd name="connsiteY4" fmla="*/ 43148 h 83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061" h="83873">
                  <a:moveTo>
                    <a:pt x="4197" y="43148"/>
                  </a:moveTo>
                  <a:cubicBezTo>
                    <a:pt x="-3694" y="55432"/>
                    <a:pt x="-133" y="71786"/>
                    <a:pt x="12150" y="79677"/>
                  </a:cubicBezTo>
                  <a:cubicBezTo>
                    <a:pt x="24434" y="87567"/>
                    <a:pt x="40788" y="84007"/>
                    <a:pt x="48679" y="71723"/>
                  </a:cubicBezTo>
                  <a:cubicBezTo>
                    <a:pt x="56584" y="59436"/>
                    <a:pt x="63061" y="0"/>
                    <a:pt x="63061" y="0"/>
                  </a:cubicBezTo>
                  <a:cubicBezTo>
                    <a:pt x="63061" y="0"/>
                    <a:pt x="12103" y="30575"/>
                    <a:pt x="4197" y="431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4" name="Freihandform: Form 814">
              <a:extLst>
                <a:ext uri="{FF2B5EF4-FFF2-40B4-BE49-F238E27FC236}">
                  <a16:creationId xmlns:a16="http://schemas.microsoft.com/office/drawing/2014/main" id="{7C3A7485-0355-4401-875C-075343F6B8BC}"/>
                </a:ext>
              </a:extLst>
            </p:cNvPr>
            <p:cNvSpPr/>
            <p:nvPr/>
          </p:nvSpPr>
          <p:spPr>
            <a:xfrm>
              <a:off x="6245580" y="2339526"/>
              <a:ext cx="63426" cy="84438"/>
            </a:xfrm>
            <a:custGeom>
              <a:avLst/>
              <a:gdLst>
                <a:gd name="connsiteX0" fmla="*/ 0 w 63426"/>
                <a:gd name="connsiteY0" fmla="*/ 0 h 84438"/>
                <a:gd name="connsiteX1" fmla="*/ 14383 w 63426"/>
                <a:gd name="connsiteY1" fmla="*/ 71819 h 84438"/>
                <a:gd name="connsiteX2" fmla="*/ 50806 w 63426"/>
                <a:gd name="connsiteY2" fmla="*/ 80516 h 84438"/>
                <a:gd name="connsiteX3" fmla="*/ 59504 w 63426"/>
                <a:gd name="connsiteY3" fmla="*/ 44092 h 84438"/>
                <a:gd name="connsiteX4" fmla="*/ 58960 w 63426"/>
                <a:gd name="connsiteY4" fmla="*/ 43244 h 84438"/>
                <a:gd name="connsiteX5" fmla="*/ 0 w 63426"/>
                <a:gd name="connsiteY5" fmla="*/ 0 h 84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426" h="84438">
                  <a:moveTo>
                    <a:pt x="0" y="0"/>
                  </a:moveTo>
                  <a:cubicBezTo>
                    <a:pt x="0" y="0"/>
                    <a:pt x="6572" y="59531"/>
                    <a:pt x="14383" y="71819"/>
                  </a:cubicBezTo>
                  <a:cubicBezTo>
                    <a:pt x="22039" y="84278"/>
                    <a:pt x="38347" y="88172"/>
                    <a:pt x="50806" y="80516"/>
                  </a:cubicBezTo>
                  <a:cubicBezTo>
                    <a:pt x="63266" y="72859"/>
                    <a:pt x="67160" y="56552"/>
                    <a:pt x="59504" y="44092"/>
                  </a:cubicBezTo>
                  <a:cubicBezTo>
                    <a:pt x="59328" y="43806"/>
                    <a:pt x="59146" y="43523"/>
                    <a:pt x="58960" y="43244"/>
                  </a:cubicBezTo>
                  <a:cubicBezTo>
                    <a:pt x="51149" y="31052"/>
                    <a:pt x="0" y="0"/>
                    <a:pt x="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5" name="Freihandform: Form 815">
              <a:extLst>
                <a:ext uri="{FF2B5EF4-FFF2-40B4-BE49-F238E27FC236}">
                  <a16:creationId xmlns:a16="http://schemas.microsoft.com/office/drawing/2014/main" id="{B851D9B0-B142-438A-AABD-603DFB1A98CA}"/>
                </a:ext>
              </a:extLst>
            </p:cNvPr>
            <p:cNvSpPr/>
            <p:nvPr/>
          </p:nvSpPr>
          <p:spPr>
            <a:xfrm>
              <a:off x="6245580" y="2415345"/>
              <a:ext cx="63149" cy="83913"/>
            </a:xfrm>
            <a:custGeom>
              <a:avLst/>
              <a:gdLst>
                <a:gd name="connsiteX0" fmla="*/ 0 w 63149"/>
                <a:gd name="connsiteY0" fmla="*/ 0 h 83913"/>
                <a:gd name="connsiteX1" fmla="*/ 14383 w 63149"/>
                <a:gd name="connsiteY1" fmla="*/ 71723 h 83913"/>
                <a:gd name="connsiteX2" fmla="*/ 50959 w 63149"/>
                <a:gd name="connsiteY2" fmla="*/ 79724 h 83913"/>
                <a:gd name="connsiteX3" fmla="*/ 58960 w 63149"/>
                <a:gd name="connsiteY3" fmla="*/ 43148 h 83913"/>
                <a:gd name="connsiteX4" fmla="*/ 0 w 63149"/>
                <a:gd name="connsiteY4" fmla="*/ 0 h 83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49" h="83913">
                  <a:moveTo>
                    <a:pt x="0" y="0"/>
                  </a:moveTo>
                  <a:cubicBezTo>
                    <a:pt x="0" y="0"/>
                    <a:pt x="6572" y="59436"/>
                    <a:pt x="14383" y="71723"/>
                  </a:cubicBezTo>
                  <a:cubicBezTo>
                    <a:pt x="22274" y="84033"/>
                    <a:pt x="38649" y="87615"/>
                    <a:pt x="50959" y="79724"/>
                  </a:cubicBezTo>
                  <a:cubicBezTo>
                    <a:pt x="63268" y="71833"/>
                    <a:pt x="66851" y="55458"/>
                    <a:pt x="58960" y="43148"/>
                  </a:cubicBezTo>
                  <a:cubicBezTo>
                    <a:pt x="51149" y="30956"/>
                    <a:pt x="0" y="0"/>
                    <a:pt x="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6" name="Freihandform: Form 816">
              <a:extLst>
                <a:ext uri="{FF2B5EF4-FFF2-40B4-BE49-F238E27FC236}">
                  <a16:creationId xmlns:a16="http://schemas.microsoft.com/office/drawing/2014/main" id="{F2EDC93F-4023-4A81-BD6B-E04C85DCFE4B}"/>
                </a:ext>
              </a:extLst>
            </p:cNvPr>
            <p:cNvSpPr/>
            <p:nvPr/>
          </p:nvSpPr>
          <p:spPr>
            <a:xfrm>
              <a:off x="6245580" y="2491069"/>
              <a:ext cx="63149" cy="83913"/>
            </a:xfrm>
            <a:custGeom>
              <a:avLst/>
              <a:gdLst>
                <a:gd name="connsiteX0" fmla="*/ 0 w 63149"/>
                <a:gd name="connsiteY0" fmla="*/ 0 h 83913"/>
                <a:gd name="connsiteX1" fmla="*/ 14383 w 63149"/>
                <a:gd name="connsiteY1" fmla="*/ 71723 h 83913"/>
                <a:gd name="connsiteX2" fmla="*/ 50959 w 63149"/>
                <a:gd name="connsiteY2" fmla="*/ 79724 h 83913"/>
                <a:gd name="connsiteX3" fmla="*/ 58960 w 63149"/>
                <a:gd name="connsiteY3" fmla="*/ 43148 h 83913"/>
                <a:gd name="connsiteX4" fmla="*/ 0 w 63149"/>
                <a:gd name="connsiteY4" fmla="*/ 0 h 83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49" h="83913">
                  <a:moveTo>
                    <a:pt x="0" y="0"/>
                  </a:moveTo>
                  <a:cubicBezTo>
                    <a:pt x="0" y="0"/>
                    <a:pt x="6572" y="59436"/>
                    <a:pt x="14383" y="71723"/>
                  </a:cubicBezTo>
                  <a:cubicBezTo>
                    <a:pt x="22274" y="84033"/>
                    <a:pt x="38649" y="87615"/>
                    <a:pt x="50959" y="79724"/>
                  </a:cubicBezTo>
                  <a:cubicBezTo>
                    <a:pt x="63268" y="71833"/>
                    <a:pt x="66851" y="55458"/>
                    <a:pt x="58960" y="43148"/>
                  </a:cubicBezTo>
                  <a:cubicBezTo>
                    <a:pt x="51149" y="30956"/>
                    <a:pt x="0" y="0"/>
                    <a:pt x="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7" name="Freihandform: Form 817">
              <a:extLst>
                <a:ext uri="{FF2B5EF4-FFF2-40B4-BE49-F238E27FC236}">
                  <a16:creationId xmlns:a16="http://schemas.microsoft.com/office/drawing/2014/main" id="{B61CFBFB-444D-4778-8E4F-FC8A4292E8B1}"/>
                </a:ext>
              </a:extLst>
            </p:cNvPr>
            <p:cNvSpPr/>
            <p:nvPr/>
          </p:nvSpPr>
          <p:spPr>
            <a:xfrm>
              <a:off x="6245580" y="2566793"/>
              <a:ext cx="63149" cy="83913"/>
            </a:xfrm>
            <a:custGeom>
              <a:avLst/>
              <a:gdLst>
                <a:gd name="connsiteX0" fmla="*/ 0 w 63149"/>
                <a:gd name="connsiteY0" fmla="*/ 0 h 83913"/>
                <a:gd name="connsiteX1" fmla="*/ 14383 w 63149"/>
                <a:gd name="connsiteY1" fmla="*/ 71723 h 83913"/>
                <a:gd name="connsiteX2" fmla="*/ 50959 w 63149"/>
                <a:gd name="connsiteY2" fmla="*/ 79724 h 83913"/>
                <a:gd name="connsiteX3" fmla="*/ 58960 w 63149"/>
                <a:gd name="connsiteY3" fmla="*/ 43148 h 83913"/>
                <a:gd name="connsiteX4" fmla="*/ 0 w 63149"/>
                <a:gd name="connsiteY4" fmla="*/ 0 h 83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49" h="83913">
                  <a:moveTo>
                    <a:pt x="0" y="0"/>
                  </a:moveTo>
                  <a:cubicBezTo>
                    <a:pt x="0" y="0"/>
                    <a:pt x="6572" y="59341"/>
                    <a:pt x="14383" y="71723"/>
                  </a:cubicBezTo>
                  <a:cubicBezTo>
                    <a:pt x="22274" y="84033"/>
                    <a:pt x="38649" y="87615"/>
                    <a:pt x="50959" y="79724"/>
                  </a:cubicBezTo>
                  <a:cubicBezTo>
                    <a:pt x="63268" y="71833"/>
                    <a:pt x="66851" y="55458"/>
                    <a:pt x="58960" y="43148"/>
                  </a:cubicBezTo>
                  <a:cubicBezTo>
                    <a:pt x="51149" y="30766"/>
                    <a:pt x="0" y="0"/>
                    <a:pt x="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8" name="Freihandform: Form 818">
              <a:extLst>
                <a:ext uri="{FF2B5EF4-FFF2-40B4-BE49-F238E27FC236}">
                  <a16:creationId xmlns:a16="http://schemas.microsoft.com/office/drawing/2014/main" id="{BFC2F090-F28A-4BDA-B6D9-AA919D812B8C}"/>
                </a:ext>
              </a:extLst>
            </p:cNvPr>
            <p:cNvSpPr/>
            <p:nvPr/>
          </p:nvSpPr>
          <p:spPr>
            <a:xfrm>
              <a:off x="6309873" y="2661946"/>
              <a:ext cx="8191" cy="102396"/>
            </a:xfrm>
            <a:custGeom>
              <a:avLst/>
              <a:gdLst>
                <a:gd name="connsiteX0" fmla="*/ 4096 w 8191"/>
                <a:gd name="connsiteY0" fmla="*/ 1 h 102396"/>
                <a:gd name="connsiteX1" fmla="*/ 1 w 8191"/>
                <a:gd name="connsiteY1" fmla="*/ 3905 h 102396"/>
                <a:gd name="connsiteX2" fmla="*/ 0 w 8191"/>
                <a:gd name="connsiteY2" fmla="*/ 4002 h 102396"/>
                <a:gd name="connsiteX3" fmla="*/ 0 w 8191"/>
                <a:gd name="connsiteY3" fmla="*/ 98394 h 102396"/>
                <a:gd name="connsiteX4" fmla="*/ 3999 w 8191"/>
                <a:gd name="connsiteY4" fmla="*/ 102396 h 102396"/>
                <a:gd name="connsiteX5" fmla="*/ 4096 w 8191"/>
                <a:gd name="connsiteY5" fmla="*/ 102395 h 102396"/>
                <a:gd name="connsiteX6" fmla="*/ 8192 w 8191"/>
                <a:gd name="connsiteY6" fmla="*/ 98394 h 102396"/>
                <a:gd name="connsiteX7" fmla="*/ 8192 w 8191"/>
                <a:gd name="connsiteY7" fmla="*/ 4002 h 102396"/>
                <a:gd name="connsiteX8" fmla="*/ 4096 w 8191"/>
                <a:gd name="connsiteY8" fmla="*/ 1 h 102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191" h="102396">
                  <a:moveTo>
                    <a:pt x="4096" y="1"/>
                  </a:moveTo>
                  <a:cubicBezTo>
                    <a:pt x="1887" y="-51"/>
                    <a:pt x="54" y="1696"/>
                    <a:pt x="1" y="3905"/>
                  </a:cubicBezTo>
                  <a:cubicBezTo>
                    <a:pt x="0" y="3937"/>
                    <a:pt x="0" y="3970"/>
                    <a:pt x="0" y="4002"/>
                  </a:cubicBezTo>
                  <a:lnTo>
                    <a:pt x="0" y="98394"/>
                  </a:lnTo>
                  <a:cubicBezTo>
                    <a:pt x="-1" y="100604"/>
                    <a:pt x="1790" y="102395"/>
                    <a:pt x="3999" y="102396"/>
                  </a:cubicBezTo>
                  <a:cubicBezTo>
                    <a:pt x="4031" y="102396"/>
                    <a:pt x="4064" y="102396"/>
                    <a:pt x="4096" y="102395"/>
                  </a:cubicBezTo>
                  <a:cubicBezTo>
                    <a:pt x="6321" y="102396"/>
                    <a:pt x="8140" y="100619"/>
                    <a:pt x="8192" y="98394"/>
                  </a:cubicBezTo>
                  <a:lnTo>
                    <a:pt x="8192" y="4002"/>
                  </a:lnTo>
                  <a:cubicBezTo>
                    <a:pt x="8140" y="1777"/>
                    <a:pt x="6321" y="1"/>
                    <a:pt x="4096" y="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169" name="Grafik 3">
            <a:extLst>
              <a:ext uri="{FF2B5EF4-FFF2-40B4-BE49-F238E27FC236}">
                <a16:creationId xmlns:a16="http://schemas.microsoft.com/office/drawing/2014/main" id="{E151D6BC-A59C-4E23-B5DB-6393240814DC}"/>
              </a:ext>
            </a:extLst>
          </p:cNvPr>
          <p:cNvSpPr/>
          <p:nvPr/>
        </p:nvSpPr>
        <p:spPr>
          <a:xfrm>
            <a:off x="4688646" y="2282502"/>
            <a:ext cx="380028" cy="547016"/>
          </a:xfrm>
          <a:custGeom>
            <a:avLst/>
            <a:gdLst>
              <a:gd name="connsiteX0" fmla="*/ 283464 w 323850"/>
              <a:gd name="connsiteY0" fmla="*/ 34481 h 466153"/>
              <a:gd name="connsiteX1" fmla="*/ 234887 w 323850"/>
              <a:gd name="connsiteY1" fmla="*/ 56198 h 466153"/>
              <a:gd name="connsiteX2" fmla="*/ 146495 w 323850"/>
              <a:gd name="connsiteY2" fmla="*/ 116110 h 466153"/>
              <a:gd name="connsiteX3" fmla="*/ 128302 w 323850"/>
              <a:gd name="connsiteY3" fmla="*/ 178403 h 466153"/>
              <a:gd name="connsiteX4" fmla="*/ 128302 w 323850"/>
              <a:gd name="connsiteY4" fmla="*/ 191929 h 466153"/>
              <a:gd name="connsiteX5" fmla="*/ 69914 w 323850"/>
              <a:gd name="connsiteY5" fmla="*/ 142875 h 466153"/>
              <a:gd name="connsiteX6" fmla="*/ 25908 w 323850"/>
              <a:gd name="connsiteY6" fmla="*/ 135636 h 466153"/>
              <a:gd name="connsiteX7" fmla="*/ 0 w 323850"/>
              <a:gd name="connsiteY7" fmla="*/ 118586 h 466153"/>
              <a:gd name="connsiteX8" fmla="*/ 3619 w 323850"/>
              <a:gd name="connsiteY8" fmla="*/ 134779 h 466153"/>
              <a:gd name="connsiteX9" fmla="*/ 13145 w 323850"/>
              <a:gd name="connsiteY9" fmla="*/ 166307 h 466153"/>
              <a:gd name="connsiteX10" fmla="*/ 50387 w 323850"/>
              <a:gd name="connsiteY10" fmla="*/ 204407 h 466153"/>
              <a:gd name="connsiteX11" fmla="*/ 120491 w 323850"/>
              <a:gd name="connsiteY11" fmla="*/ 236982 h 466153"/>
              <a:gd name="connsiteX12" fmla="*/ 126968 w 323850"/>
              <a:gd name="connsiteY12" fmla="*/ 238792 h 466153"/>
              <a:gd name="connsiteX13" fmla="*/ 125254 w 323850"/>
              <a:gd name="connsiteY13" fmla="*/ 234506 h 466153"/>
              <a:gd name="connsiteX14" fmla="*/ 113824 w 323850"/>
              <a:gd name="connsiteY14" fmla="*/ 215456 h 466153"/>
              <a:gd name="connsiteX15" fmla="*/ 90773 w 323850"/>
              <a:gd name="connsiteY15" fmla="*/ 196406 h 466153"/>
              <a:gd name="connsiteX16" fmla="*/ 61246 w 323850"/>
              <a:gd name="connsiteY16" fmla="*/ 182975 h 466153"/>
              <a:gd name="connsiteX17" fmla="*/ 36671 w 323850"/>
              <a:gd name="connsiteY17" fmla="*/ 161925 h 466153"/>
              <a:gd name="connsiteX18" fmla="*/ 62960 w 323850"/>
              <a:gd name="connsiteY18" fmla="*/ 180023 h 466153"/>
              <a:gd name="connsiteX19" fmla="*/ 93345 w 323850"/>
              <a:gd name="connsiteY19" fmla="*/ 190500 h 466153"/>
              <a:gd name="connsiteX20" fmla="*/ 121349 w 323850"/>
              <a:gd name="connsiteY20" fmla="*/ 209550 h 466153"/>
              <a:gd name="connsiteX21" fmla="*/ 137065 w 323850"/>
              <a:gd name="connsiteY21" fmla="*/ 259556 h 466153"/>
              <a:gd name="connsiteX22" fmla="*/ 137065 w 323850"/>
              <a:gd name="connsiteY22" fmla="*/ 294989 h 466153"/>
              <a:gd name="connsiteX23" fmla="*/ 134684 w 323850"/>
              <a:gd name="connsiteY23" fmla="*/ 325850 h 466153"/>
              <a:gd name="connsiteX24" fmla="*/ 89345 w 323850"/>
              <a:gd name="connsiteY24" fmla="*/ 326708 h 466153"/>
              <a:gd name="connsiteX25" fmla="*/ 74581 w 323850"/>
              <a:gd name="connsiteY25" fmla="*/ 345758 h 466153"/>
              <a:gd name="connsiteX26" fmla="*/ 79248 w 323850"/>
              <a:gd name="connsiteY26" fmla="*/ 369189 h 466153"/>
              <a:gd name="connsiteX27" fmla="*/ 138779 w 323850"/>
              <a:gd name="connsiteY27" fmla="*/ 384048 h 466153"/>
              <a:gd name="connsiteX28" fmla="*/ 140494 w 323850"/>
              <a:gd name="connsiteY28" fmla="*/ 384048 h 466153"/>
              <a:gd name="connsiteX29" fmla="*/ 144685 w 323850"/>
              <a:gd name="connsiteY29" fmla="*/ 399764 h 466153"/>
              <a:gd name="connsiteX30" fmla="*/ 147828 w 323850"/>
              <a:gd name="connsiteY30" fmla="*/ 409289 h 466153"/>
              <a:gd name="connsiteX31" fmla="*/ 128778 w 323850"/>
              <a:gd name="connsiteY31" fmla="*/ 409289 h 466153"/>
              <a:gd name="connsiteX32" fmla="*/ 113062 w 323850"/>
              <a:gd name="connsiteY32" fmla="*/ 398907 h 466153"/>
              <a:gd name="connsiteX33" fmla="*/ 124873 w 323850"/>
              <a:gd name="connsiteY33" fmla="*/ 409766 h 466153"/>
              <a:gd name="connsiteX34" fmla="*/ 101346 w 323850"/>
              <a:gd name="connsiteY34" fmla="*/ 421862 h 466153"/>
              <a:gd name="connsiteX35" fmla="*/ 124015 w 323850"/>
              <a:gd name="connsiteY35" fmla="*/ 412337 h 466153"/>
              <a:gd name="connsiteX36" fmla="*/ 127445 w 323850"/>
              <a:gd name="connsiteY36" fmla="*/ 418910 h 466153"/>
              <a:gd name="connsiteX37" fmla="*/ 123158 w 323850"/>
              <a:gd name="connsiteY37" fmla="*/ 424625 h 466153"/>
              <a:gd name="connsiteX38" fmla="*/ 136398 w 323850"/>
              <a:gd name="connsiteY38" fmla="*/ 413385 h 466153"/>
              <a:gd name="connsiteX39" fmla="*/ 149257 w 323850"/>
              <a:gd name="connsiteY39" fmla="*/ 413385 h 466153"/>
              <a:gd name="connsiteX40" fmla="*/ 143161 w 323850"/>
              <a:gd name="connsiteY40" fmla="*/ 434435 h 466153"/>
              <a:gd name="connsiteX41" fmla="*/ 122492 w 323850"/>
              <a:gd name="connsiteY41" fmla="*/ 439865 h 466153"/>
              <a:gd name="connsiteX42" fmla="*/ 130112 w 323850"/>
              <a:gd name="connsiteY42" fmla="*/ 439198 h 466153"/>
              <a:gd name="connsiteX43" fmla="*/ 134779 w 323850"/>
              <a:gd name="connsiteY43" fmla="*/ 441198 h 466153"/>
              <a:gd name="connsiteX44" fmla="*/ 124492 w 323850"/>
              <a:gd name="connsiteY44" fmla="*/ 447104 h 466153"/>
              <a:gd name="connsiteX45" fmla="*/ 119729 w 323850"/>
              <a:gd name="connsiteY45" fmla="*/ 466154 h 466153"/>
              <a:gd name="connsiteX46" fmla="*/ 140018 w 323850"/>
              <a:gd name="connsiteY46" fmla="*/ 447675 h 466153"/>
              <a:gd name="connsiteX47" fmla="*/ 139160 w 323850"/>
              <a:gd name="connsiteY47" fmla="*/ 459486 h 466153"/>
              <a:gd name="connsiteX48" fmla="*/ 142399 w 323850"/>
              <a:gd name="connsiteY48" fmla="*/ 447389 h 466153"/>
              <a:gd name="connsiteX49" fmla="*/ 159830 w 323850"/>
              <a:gd name="connsiteY49" fmla="*/ 424815 h 466153"/>
              <a:gd name="connsiteX50" fmla="*/ 175832 w 323850"/>
              <a:gd name="connsiteY50" fmla="*/ 430435 h 466153"/>
              <a:gd name="connsiteX51" fmla="*/ 173260 w 323850"/>
              <a:gd name="connsiteY51" fmla="*/ 444627 h 466153"/>
              <a:gd name="connsiteX52" fmla="*/ 175070 w 323850"/>
              <a:gd name="connsiteY52" fmla="*/ 438722 h 466153"/>
              <a:gd name="connsiteX53" fmla="*/ 181070 w 323850"/>
              <a:gd name="connsiteY53" fmla="*/ 433483 h 466153"/>
              <a:gd name="connsiteX54" fmla="*/ 182213 w 323850"/>
              <a:gd name="connsiteY54" fmla="*/ 444818 h 466153"/>
              <a:gd name="connsiteX55" fmla="*/ 187738 w 323850"/>
              <a:gd name="connsiteY55" fmla="*/ 455676 h 466153"/>
              <a:gd name="connsiteX56" fmla="*/ 184975 w 323850"/>
              <a:gd name="connsiteY56" fmla="*/ 437388 h 466153"/>
              <a:gd name="connsiteX57" fmla="*/ 183356 w 323850"/>
              <a:gd name="connsiteY57" fmla="*/ 431959 h 466153"/>
              <a:gd name="connsiteX58" fmla="*/ 183356 w 323850"/>
              <a:gd name="connsiteY58" fmla="*/ 431959 h 466153"/>
              <a:gd name="connsiteX59" fmla="*/ 189929 w 323850"/>
              <a:gd name="connsiteY59" fmla="*/ 433102 h 466153"/>
              <a:gd name="connsiteX60" fmla="*/ 198882 w 323850"/>
              <a:gd name="connsiteY60" fmla="*/ 435388 h 466153"/>
              <a:gd name="connsiteX61" fmla="*/ 189357 w 323850"/>
              <a:gd name="connsiteY61" fmla="*/ 429292 h 466153"/>
              <a:gd name="connsiteX62" fmla="*/ 181642 w 323850"/>
              <a:gd name="connsiteY62" fmla="*/ 430054 h 466153"/>
              <a:gd name="connsiteX63" fmla="*/ 159639 w 323850"/>
              <a:gd name="connsiteY63" fmla="*/ 422624 h 466153"/>
              <a:gd name="connsiteX64" fmla="*/ 152591 w 323850"/>
              <a:gd name="connsiteY64" fmla="*/ 394049 h 466153"/>
              <a:gd name="connsiteX65" fmla="*/ 170688 w 323850"/>
              <a:gd name="connsiteY65" fmla="*/ 397002 h 466153"/>
              <a:gd name="connsiteX66" fmla="*/ 176784 w 323850"/>
              <a:gd name="connsiteY66" fmla="*/ 411671 h 466153"/>
              <a:gd name="connsiteX67" fmla="*/ 176784 w 323850"/>
              <a:gd name="connsiteY67" fmla="*/ 405098 h 466153"/>
              <a:gd name="connsiteX68" fmla="*/ 175260 w 323850"/>
              <a:gd name="connsiteY68" fmla="*/ 398145 h 466153"/>
              <a:gd name="connsiteX69" fmla="*/ 183356 w 323850"/>
              <a:gd name="connsiteY69" fmla="*/ 399193 h 466153"/>
              <a:gd name="connsiteX70" fmla="*/ 191072 w 323850"/>
              <a:gd name="connsiteY70" fmla="*/ 404622 h 466153"/>
              <a:gd name="connsiteX71" fmla="*/ 198120 w 323850"/>
              <a:gd name="connsiteY71" fmla="*/ 408337 h 466153"/>
              <a:gd name="connsiteX72" fmla="*/ 193548 w 323850"/>
              <a:gd name="connsiteY72" fmla="*/ 403860 h 466153"/>
              <a:gd name="connsiteX73" fmla="*/ 186214 w 323850"/>
              <a:gd name="connsiteY73" fmla="*/ 396050 h 466153"/>
              <a:gd name="connsiteX74" fmla="*/ 183071 w 323850"/>
              <a:gd name="connsiteY74" fmla="*/ 394716 h 466153"/>
              <a:gd name="connsiteX75" fmla="*/ 149828 w 323850"/>
              <a:gd name="connsiteY75" fmla="*/ 387001 h 466153"/>
              <a:gd name="connsiteX76" fmla="*/ 149828 w 323850"/>
              <a:gd name="connsiteY76" fmla="*/ 384810 h 466153"/>
              <a:gd name="connsiteX77" fmla="*/ 208788 w 323850"/>
              <a:gd name="connsiteY77" fmla="*/ 376238 h 466153"/>
              <a:gd name="connsiteX78" fmla="*/ 217837 w 323850"/>
              <a:gd name="connsiteY78" fmla="*/ 344138 h 466153"/>
              <a:gd name="connsiteX79" fmla="*/ 194977 w 323850"/>
              <a:gd name="connsiteY79" fmla="*/ 321945 h 466153"/>
              <a:gd name="connsiteX80" fmla="*/ 154115 w 323850"/>
              <a:gd name="connsiteY80" fmla="*/ 324707 h 466153"/>
              <a:gd name="connsiteX81" fmla="*/ 151352 w 323850"/>
              <a:gd name="connsiteY81" fmla="*/ 296609 h 466153"/>
              <a:gd name="connsiteX82" fmla="*/ 141827 w 323850"/>
              <a:gd name="connsiteY82" fmla="*/ 242888 h 466153"/>
              <a:gd name="connsiteX83" fmla="*/ 140113 w 323850"/>
              <a:gd name="connsiteY83" fmla="*/ 218789 h 466153"/>
              <a:gd name="connsiteX84" fmla="*/ 146399 w 323850"/>
              <a:gd name="connsiteY84" fmla="*/ 194691 h 466153"/>
              <a:gd name="connsiteX85" fmla="*/ 170117 w 323850"/>
              <a:gd name="connsiteY85" fmla="*/ 152305 h 466153"/>
              <a:gd name="connsiteX86" fmla="*/ 202883 w 323850"/>
              <a:gd name="connsiteY86" fmla="*/ 117253 h 466153"/>
              <a:gd name="connsiteX87" fmla="*/ 242126 w 323850"/>
              <a:gd name="connsiteY87" fmla="*/ 90202 h 466153"/>
              <a:gd name="connsiteX88" fmla="*/ 204978 w 323850"/>
              <a:gd name="connsiteY88" fmla="*/ 119539 h 466153"/>
              <a:gd name="connsiteX89" fmla="*/ 175165 w 323850"/>
              <a:gd name="connsiteY89" fmla="*/ 155924 h 466153"/>
              <a:gd name="connsiteX90" fmla="*/ 155353 w 323850"/>
              <a:gd name="connsiteY90" fmla="*/ 197739 h 466153"/>
              <a:gd name="connsiteX91" fmla="*/ 148971 w 323850"/>
              <a:gd name="connsiteY91" fmla="*/ 232505 h 466153"/>
              <a:gd name="connsiteX92" fmla="*/ 247650 w 323850"/>
              <a:gd name="connsiteY92" fmla="*/ 151829 h 466153"/>
              <a:gd name="connsiteX93" fmla="*/ 299371 w 323850"/>
              <a:gd name="connsiteY93" fmla="*/ 68294 h 466153"/>
              <a:gd name="connsiteX94" fmla="*/ 323850 w 323850"/>
              <a:gd name="connsiteY94" fmla="*/ 0 h 466153"/>
              <a:gd name="connsiteX95" fmla="*/ 283464 w 323850"/>
              <a:gd name="connsiteY95" fmla="*/ 34481 h 466153"/>
              <a:gd name="connsiteX96" fmla="*/ 148495 w 323850"/>
              <a:gd name="connsiteY96" fmla="*/ 356140 h 466153"/>
              <a:gd name="connsiteX97" fmla="*/ 194215 w 323850"/>
              <a:gd name="connsiteY97" fmla="*/ 349472 h 466153"/>
              <a:gd name="connsiteX98" fmla="*/ 148495 w 323850"/>
              <a:gd name="connsiteY98" fmla="*/ 357473 h 466153"/>
              <a:gd name="connsiteX99" fmla="*/ 103442 w 323850"/>
              <a:gd name="connsiteY99" fmla="*/ 353187 h 466153"/>
              <a:gd name="connsiteX100" fmla="*/ 102489 w 323850"/>
              <a:gd name="connsiteY100" fmla="*/ 351568 h 466153"/>
              <a:gd name="connsiteX101" fmla="*/ 104108 w 323850"/>
              <a:gd name="connsiteY101" fmla="*/ 350615 h 466153"/>
              <a:gd name="connsiteX102" fmla="*/ 148495 w 323850"/>
              <a:gd name="connsiteY102" fmla="*/ 356140 h 466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</a:cxnLst>
            <a:rect l="l" t="t" r="r" b="b"/>
            <a:pathLst>
              <a:path w="323850" h="466153">
                <a:moveTo>
                  <a:pt x="283464" y="34481"/>
                </a:moveTo>
                <a:cubicBezTo>
                  <a:pt x="268069" y="43386"/>
                  <a:pt x="251789" y="50665"/>
                  <a:pt x="234887" y="56198"/>
                </a:cubicBezTo>
                <a:cubicBezTo>
                  <a:pt x="200120" y="70771"/>
                  <a:pt x="166783" y="84773"/>
                  <a:pt x="146495" y="116110"/>
                </a:cubicBezTo>
                <a:cubicBezTo>
                  <a:pt x="135030" y="134901"/>
                  <a:pt x="128752" y="156396"/>
                  <a:pt x="128302" y="178403"/>
                </a:cubicBezTo>
                <a:cubicBezTo>
                  <a:pt x="128062" y="182909"/>
                  <a:pt x="128062" y="187423"/>
                  <a:pt x="128302" y="191929"/>
                </a:cubicBezTo>
                <a:cubicBezTo>
                  <a:pt x="116840" y="167910"/>
                  <a:pt x="95549" y="150023"/>
                  <a:pt x="69914" y="142875"/>
                </a:cubicBezTo>
                <a:cubicBezTo>
                  <a:pt x="52673" y="138779"/>
                  <a:pt x="44767" y="143637"/>
                  <a:pt x="25908" y="135636"/>
                </a:cubicBezTo>
                <a:cubicBezTo>
                  <a:pt x="16343" y="131508"/>
                  <a:pt x="7575" y="125738"/>
                  <a:pt x="0" y="118586"/>
                </a:cubicBezTo>
                <a:cubicBezTo>
                  <a:pt x="762" y="122492"/>
                  <a:pt x="1905" y="128111"/>
                  <a:pt x="3619" y="134779"/>
                </a:cubicBezTo>
                <a:cubicBezTo>
                  <a:pt x="6082" y="145490"/>
                  <a:pt x="9264" y="156023"/>
                  <a:pt x="13145" y="166307"/>
                </a:cubicBezTo>
                <a:cubicBezTo>
                  <a:pt x="20193" y="182785"/>
                  <a:pt x="33528" y="192310"/>
                  <a:pt x="50387" y="204407"/>
                </a:cubicBezTo>
                <a:cubicBezTo>
                  <a:pt x="71737" y="219166"/>
                  <a:pt x="95443" y="230182"/>
                  <a:pt x="120491" y="236982"/>
                </a:cubicBezTo>
                <a:lnTo>
                  <a:pt x="126968" y="238792"/>
                </a:lnTo>
                <a:lnTo>
                  <a:pt x="125254" y="234506"/>
                </a:lnTo>
                <a:cubicBezTo>
                  <a:pt x="122161" y="227752"/>
                  <a:pt x="118327" y="221363"/>
                  <a:pt x="113824" y="215456"/>
                </a:cubicBezTo>
                <a:cubicBezTo>
                  <a:pt x="107883" y="207251"/>
                  <a:pt x="99950" y="200694"/>
                  <a:pt x="90773" y="196406"/>
                </a:cubicBezTo>
                <a:cubicBezTo>
                  <a:pt x="80614" y="192659"/>
                  <a:pt x="70745" y="188171"/>
                  <a:pt x="61246" y="182975"/>
                </a:cubicBezTo>
                <a:cubicBezTo>
                  <a:pt x="51997" y="177296"/>
                  <a:pt x="43703" y="170192"/>
                  <a:pt x="36671" y="161925"/>
                </a:cubicBezTo>
                <a:cubicBezTo>
                  <a:pt x="44437" y="169291"/>
                  <a:pt x="53308" y="175397"/>
                  <a:pt x="62960" y="180023"/>
                </a:cubicBezTo>
                <a:cubicBezTo>
                  <a:pt x="72818" y="184254"/>
                  <a:pt x="82974" y="187756"/>
                  <a:pt x="93345" y="190500"/>
                </a:cubicBezTo>
                <a:cubicBezTo>
                  <a:pt x="104164" y="194334"/>
                  <a:pt x="113809" y="200896"/>
                  <a:pt x="121349" y="209550"/>
                </a:cubicBezTo>
                <a:cubicBezTo>
                  <a:pt x="133731" y="223361"/>
                  <a:pt x="135922" y="241745"/>
                  <a:pt x="137065" y="259556"/>
                </a:cubicBezTo>
                <a:cubicBezTo>
                  <a:pt x="137731" y="271358"/>
                  <a:pt x="137731" y="283188"/>
                  <a:pt x="137065" y="294989"/>
                </a:cubicBezTo>
                <a:cubicBezTo>
                  <a:pt x="137065" y="303371"/>
                  <a:pt x="136017" y="314039"/>
                  <a:pt x="134684" y="325850"/>
                </a:cubicBezTo>
                <a:cubicBezTo>
                  <a:pt x="111347" y="325850"/>
                  <a:pt x="102108" y="319088"/>
                  <a:pt x="89345" y="326708"/>
                </a:cubicBezTo>
                <a:cubicBezTo>
                  <a:pt x="82073" y="330827"/>
                  <a:pt x="76756" y="337688"/>
                  <a:pt x="74581" y="345758"/>
                </a:cubicBezTo>
                <a:cubicBezTo>
                  <a:pt x="72927" y="353878"/>
                  <a:pt x="74609" y="362322"/>
                  <a:pt x="79248" y="369189"/>
                </a:cubicBezTo>
                <a:cubicBezTo>
                  <a:pt x="84392" y="376523"/>
                  <a:pt x="93536" y="381667"/>
                  <a:pt x="138779" y="384048"/>
                </a:cubicBezTo>
                <a:lnTo>
                  <a:pt x="140494" y="384048"/>
                </a:lnTo>
                <a:cubicBezTo>
                  <a:pt x="142685" y="392621"/>
                  <a:pt x="144685" y="399764"/>
                  <a:pt x="144685" y="399764"/>
                </a:cubicBezTo>
                <a:cubicBezTo>
                  <a:pt x="144685" y="399764"/>
                  <a:pt x="146304" y="404146"/>
                  <a:pt x="147828" y="409289"/>
                </a:cubicBezTo>
                <a:cubicBezTo>
                  <a:pt x="142399" y="413195"/>
                  <a:pt x="128778" y="409289"/>
                  <a:pt x="128778" y="409289"/>
                </a:cubicBezTo>
                <a:cubicBezTo>
                  <a:pt x="124016" y="398431"/>
                  <a:pt x="109157" y="397193"/>
                  <a:pt x="113062" y="398907"/>
                </a:cubicBezTo>
                <a:cubicBezTo>
                  <a:pt x="117706" y="401672"/>
                  <a:pt x="121728" y="405369"/>
                  <a:pt x="124873" y="409766"/>
                </a:cubicBezTo>
                <a:cubicBezTo>
                  <a:pt x="115098" y="407251"/>
                  <a:pt x="104988" y="412449"/>
                  <a:pt x="101346" y="421862"/>
                </a:cubicBezTo>
                <a:cubicBezTo>
                  <a:pt x="108211" y="417243"/>
                  <a:pt x="115912" y="414008"/>
                  <a:pt x="124015" y="412337"/>
                </a:cubicBezTo>
                <a:cubicBezTo>
                  <a:pt x="124016" y="412337"/>
                  <a:pt x="131255" y="412337"/>
                  <a:pt x="127445" y="418910"/>
                </a:cubicBezTo>
                <a:cubicBezTo>
                  <a:pt x="124492" y="424339"/>
                  <a:pt x="119920" y="424244"/>
                  <a:pt x="123158" y="424625"/>
                </a:cubicBezTo>
                <a:cubicBezTo>
                  <a:pt x="126397" y="425006"/>
                  <a:pt x="136398" y="413385"/>
                  <a:pt x="136398" y="413385"/>
                </a:cubicBezTo>
                <a:cubicBezTo>
                  <a:pt x="140681" y="413150"/>
                  <a:pt x="144974" y="413150"/>
                  <a:pt x="149257" y="413385"/>
                </a:cubicBezTo>
                <a:cubicBezTo>
                  <a:pt x="151638" y="424148"/>
                  <a:pt x="152495" y="436340"/>
                  <a:pt x="143161" y="434435"/>
                </a:cubicBezTo>
                <a:cubicBezTo>
                  <a:pt x="126873" y="431102"/>
                  <a:pt x="120396" y="441674"/>
                  <a:pt x="122492" y="439865"/>
                </a:cubicBezTo>
                <a:cubicBezTo>
                  <a:pt x="124587" y="438055"/>
                  <a:pt x="130112" y="439198"/>
                  <a:pt x="130112" y="439198"/>
                </a:cubicBezTo>
                <a:cubicBezTo>
                  <a:pt x="130112" y="439198"/>
                  <a:pt x="140208" y="440722"/>
                  <a:pt x="134779" y="441198"/>
                </a:cubicBezTo>
                <a:cubicBezTo>
                  <a:pt x="130809" y="442022"/>
                  <a:pt x="127205" y="444090"/>
                  <a:pt x="124492" y="447104"/>
                </a:cubicBezTo>
                <a:cubicBezTo>
                  <a:pt x="117539" y="452533"/>
                  <a:pt x="119729" y="466154"/>
                  <a:pt x="119729" y="466154"/>
                </a:cubicBezTo>
                <a:cubicBezTo>
                  <a:pt x="124587" y="447104"/>
                  <a:pt x="140018" y="447675"/>
                  <a:pt x="140018" y="447675"/>
                </a:cubicBezTo>
                <a:cubicBezTo>
                  <a:pt x="141065" y="454533"/>
                  <a:pt x="136017" y="460153"/>
                  <a:pt x="139160" y="459486"/>
                </a:cubicBezTo>
                <a:cubicBezTo>
                  <a:pt x="142304" y="458819"/>
                  <a:pt x="142399" y="447389"/>
                  <a:pt x="142399" y="447389"/>
                </a:cubicBezTo>
                <a:cubicBezTo>
                  <a:pt x="152411" y="444326"/>
                  <a:pt x="159398" y="435276"/>
                  <a:pt x="159830" y="424815"/>
                </a:cubicBezTo>
                <a:cubicBezTo>
                  <a:pt x="165359" y="426077"/>
                  <a:pt x="170727" y="427962"/>
                  <a:pt x="175832" y="430435"/>
                </a:cubicBezTo>
                <a:cubicBezTo>
                  <a:pt x="173355" y="430435"/>
                  <a:pt x="173260" y="444627"/>
                  <a:pt x="173260" y="444627"/>
                </a:cubicBezTo>
                <a:cubicBezTo>
                  <a:pt x="174257" y="442802"/>
                  <a:pt x="174873" y="440792"/>
                  <a:pt x="175070" y="438722"/>
                </a:cubicBezTo>
                <a:cubicBezTo>
                  <a:pt x="175069" y="435674"/>
                  <a:pt x="179546" y="433959"/>
                  <a:pt x="181070" y="433483"/>
                </a:cubicBezTo>
                <a:cubicBezTo>
                  <a:pt x="182594" y="433007"/>
                  <a:pt x="182785" y="438055"/>
                  <a:pt x="182213" y="444818"/>
                </a:cubicBezTo>
                <a:cubicBezTo>
                  <a:pt x="181642" y="451580"/>
                  <a:pt x="190214" y="459581"/>
                  <a:pt x="187738" y="455676"/>
                </a:cubicBezTo>
                <a:cubicBezTo>
                  <a:pt x="184765" y="450071"/>
                  <a:pt x="183791" y="443621"/>
                  <a:pt x="184975" y="437388"/>
                </a:cubicBezTo>
                <a:cubicBezTo>
                  <a:pt x="184976" y="432816"/>
                  <a:pt x="184309" y="431959"/>
                  <a:pt x="183356" y="431959"/>
                </a:cubicBezTo>
                <a:lnTo>
                  <a:pt x="183356" y="431959"/>
                </a:lnTo>
                <a:cubicBezTo>
                  <a:pt x="186785" y="429863"/>
                  <a:pt x="187643" y="431292"/>
                  <a:pt x="189929" y="433102"/>
                </a:cubicBezTo>
                <a:cubicBezTo>
                  <a:pt x="192671" y="434610"/>
                  <a:pt x="195752" y="435396"/>
                  <a:pt x="198882" y="435388"/>
                </a:cubicBezTo>
                <a:cubicBezTo>
                  <a:pt x="200597" y="435388"/>
                  <a:pt x="191453" y="430340"/>
                  <a:pt x="189357" y="429292"/>
                </a:cubicBezTo>
                <a:cubicBezTo>
                  <a:pt x="186762" y="428881"/>
                  <a:pt x="184106" y="429143"/>
                  <a:pt x="181642" y="430054"/>
                </a:cubicBezTo>
                <a:cubicBezTo>
                  <a:pt x="174862" y="426166"/>
                  <a:pt x="167388" y="423642"/>
                  <a:pt x="159639" y="422624"/>
                </a:cubicBezTo>
                <a:cubicBezTo>
                  <a:pt x="156226" y="413393"/>
                  <a:pt x="153862" y="403808"/>
                  <a:pt x="152591" y="394049"/>
                </a:cubicBezTo>
                <a:cubicBezTo>
                  <a:pt x="158717" y="394330"/>
                  <a:pt x="164790" y="395321"/>
                  <a:pt x="170688" y="397002"/>
                </a:cubicBezTo>
                <a:cubicBezTo>
                  <a:pt x="171831" y="398621"/>
                  <a:pt x="176784" y="411671"/>
                  <a:pt x="176784" y="411671"/>
                </a:cubicBezTo>
                <a:cubicBezTo>
                  <a:pt x="177004" y="409485"/>
                  <a:pt x="177004" y="407283"/>
                  <a:pt x="176784" y="405098"/>
                </a:cubicBezTo>
                <a:cubicBezTo>
                  <a:pt x="176784" y="402431"/>
                  <a:pt x="170974" y="397669"/>
                  <a:pt x="175260" y="398145"/>
                </a:cubicBezTo>
                <a:lnTo>
                  <a:pt x="183356" y="399193"/>
                </a:lnTo>
                <a:cubicBezTo>
                  <a:pt x="186507" y="399994"/>
                  <a:pt x="189254" y="401926"/>
                  <a:pt x="191072" y="404622"/>
                </a:cubicBezTo>
                <a:cubicBezTo>
                  <a:pt x="192310" y="405765"/>
                  <a:pt x="195739" y="406813"/>
                  <a:pt x="198120" y="408337"/>
                </a:cubicBezTo>
                <a:cubicBezTo>
                  <a:pt x="200501" y="409861"/>
                  <a:pt x="195929" y="405098"/>
                  <a:pt x="193548" y="403860"/>
                </a:cubicBezTo>
                <a:cubicBezTo>
                  <a:pt x="190718" y="401647"/>
                  <a:pt x="188245" y="399013"/>
                  <a:pt x="186214" y="396050"/>
                </a:cubicBezTo>
                <a:cubicBezTo>
                  <a:pt x="185455" y="395108"/>
                  <a:pt x="184275" y="394607"/>
                  <a:pt x="183071" y="394716"/>
                </a:cubicBezTo>
                <a:cubicBezTo>
                  <a:pt x="171465" y="395560"/>
                  <a:pt x="159876" y="392870"/>
                  <a:pt x="149828" y="387001"/>
                </a:cubicBezTo>
                <a:cubicBezTo>
                  <a:pt x="149828" y="386239"/>
                  <a:pt x="149828" y="385477"/>
                  <a:pt x="149828" y="384810"/>
                </a:cubicBezTo>
                <a:cubicBezTo>
                  <a:pt x="197453" y="386334"/>
                  <a:pt x="205169" y="380048"/>
                  <a:pt x="208788" y="376238"/>
                </a:cubicBezTo>
                <a:cubicBezTo>
                  <a:pt x="217027" y="367750"/>
                  <a:pt x="220430" y="355679"/>
                  <a:pt x="217837" y="344138"/>
                </a:cubicBezTo>
                <a:cubicBezTo>
                  <a:pt x="214008" y="333636"/>
                  <a:pt x="205588" y="325461"/>
                  <a:pt x="194977" y="321945"/>
                </a:cubicBezTo>
                <a:cubicBezTo>
                  <a:pt x="180023" y="315944"/>
                  <a:pt x="172307" y="321945"/>
                  <a:pt x="154115" y="324707"/>
                </a:cubicBezTo>
                <a:cubicBezTo>
                  <a:pt x="153353" y="314135"/>
                  <a:pt x="152400" y="304705"/>
                  <a:pt x="151352" y="296609"/>
                </a:cubicBezTo>
                <a:cubicBezTo>
                  <a:pt x="149140" y="278544"/>
                  <a:pt x="145960" y="260611"/>
                  <a:pt x="141827" y="242888"/>
                </a:cubicBezTo>
                <a:cubicBezTo>
                  <a:pt x="139503" y="235076"/>
                  <a:pt x="138918" y="226851"/>
                  <a:pt x="140113" y="218789"/>
                </a:cubicBezTo>
                <a:cubicBezTo>
                  <a:pt x="141534" y="210596"/>
                  <a:pt x="143637" y="202535"/>
                  <a:pt x="146399" y="194691"/>
                </a:cubicBezTo>
                <a:cubicBezTo>
                  <a:pt x="152116" y="179444"/>
                  <a:pt x="160112" y="165153"/>
                  <a:pt x="170117" y="152305"/>
                </a:cubicBezTo>
                <a:cubicBezTo>
                  <a:pt x="179804" y="139525"/>
                  <a:pt x="190784" y="127779"/>
                  <a:pt x="202883" y="117253"/>
                </a:cubicBezTo>
                <a:cubicBezTo>
                  <a:pt x="214944" y="106839"/>
                  <a:pt x="228102" y="97769"/>
                  <a:pt x="242126" y="90202"/>
                </a:cubicBezTo>
                <a:cubicBezTo>
                  <a:pt x="228732" y="98628"/>
                  <a:pt x="216279" y="108463"/>
                  <a:pt x="204978" y="119539"/>
                </a:cubicBezTo>
                <a:cubicBezTo>
                  <a:pt x="193857" y="130648"/>
                  <a:pt x="183870" y="142836"/>
                  <a:pt x="175165" y="155924"/>
                </a:cubicBezTo>
                <a:cubicBezTo>
                  <a:pt x="166498" y="168788"/>
                  <a:pt x="159819" y="182885"/>
                  <a:pt x="155353" y="197739"/>
                </a:cubicBezTo>
                <a:cubicBezTo>
                  <a:pt x="151855" y="209034"/>
                  <a:pt x="149713" y="220705"/>
                  <a:pt x="148971" y="232505"/>
                </a:cubicBezTo>
                <a:cubicBezTo>
                  <a:pt x="186633" y="212041"/>
                  <a:pt x="220109" y="184673"/>
                  <a:pt x="247650" y="151829"/>
                </a:cubicBezTo>
                <a:cubicBezTo>
                  <a:pt x="268558" y="126429"/>
                  <a:pt x="285955" y="98332"/>
                  <a:pt x="299371" y="68294"/>
                </a:cubicBezTo>
                <a:cubicBezTo>
                  <a:pt x="309540" y="46301"/>
                  <a:pt x="317732" y="23446"/>
                  <a:pt x="323850" y="0"/>
                </a:cubicBezTo>
                <a:cubicBezTo>
                  <a:pt x="312126" y="13386"/>
                  <a:pt x="298522" y="25000"/>
                  <a:pt x="283464" y="34481"/>
                </a:cubicBezTo>
                <a:close/>
                <a:moveTo>
                  <a:pt x="148495" y="356140"/>
                </a:moveTo>
                <a:cubicBezTo>
                  <a:pt x="163968" y="356020"/>
                  <a:pt x="179352" y="353777"/>
                  <a:pt x="194215" y="349472"/>
                </a:cubicBezTo>
                <a:cubicBezTo>
                  <a:pt x="179403" y="354179"/>
                  <a:pt x="164025" y="356870"/>
                  <a:pt x="148495" y="357473"/>
                </a:cubicBezTo>
                <a:cubicBezTo>
                  <a:pt x="133354" y="358042"/>
                  <a:pt x="118204" y="356600"/>
                  <a:pt x="103442" y="353187"/>
                </a:cubicBezTo>
                <a:cubicBezTo>
                  <a:pt x="102764" y="352961"/>
                  <a:pt x="102357" y="352270"/>
                  <a:pt x="102489" y="351568"/>
                </a:cubicBezTo>
                <a:cubicBezTo>
                  <a:pt x="102676" y="350859"/>
                  <a:pt x="103398" y="350434"/>
                  <a:pt x="104108" y="350615"/>
                </a:cubicBezTo>
                <a:cubicBezTo>
                  <a:pt x="118586" y="354453"/>
                  <a:pt x="133518" y="356311"/>
                  <a:pt x="148495" y="356140"/>
                </a:cubicBez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70" name="Grafik 17">
            <a:extLst>
              <a:ext uri="{FF2B5EF4-FFF2-40B4-BE49-F238E27FC236}">
                <a16:creationId xmlns:a16="http://schemas.microsoft.com/office/drawing/2014/main" id="{A365B2FD-CE44-4789-821B-CE9ED9F5DDF8}"/>
              </a:ext>
            </a:extLst>
          </p:cNvPr>
          <p:cNvGrpSpPr/>
          <p:nvPr/>
        </p:nvGrpSpPr>
        <p:grpSpPr>
          <a:xfrm>
            <a:off x="5296504" y="2321024"/>
            <a:ext cx="443214" cy="469972"/>
            <a:chOff x="4381468" y="3228962"/>
            <a:chExt cx="377695" cy="400498"/>
          </a:xfrm>
          <a:solidFill>
            <a:srgbClr val="808080"/>
          </a:solidFill>
        </p:grpSpPr>
        <p:sp>
          <p:nvSpPr>
            <p:cNvPr id="171" name="Freihandform: Form 23">
              <a:extLst>
                <a:ext uri="{FF2B5EF4-FFF2-40B4-BE49-F238E27FC236}">
                  <a16:creationId xmlns:a16="http://schemas.microsoft.com/office/drawing/2014/main" id="{EB5F965B-165F-49F8-8D67-E7FC5AA83117}"/>
                </a:ext>
              </a:extLst>
            </p:cNvPr>
            <p:cNvSpPr/>
            <p:nvPr/>
          </p:nvSpPr>
          <p:spPr>
            <a:xfrm>
              <a:off x="4381468" y="3228962"/>
              <a:ext cx="377695" cy="400498"/>
            </a:xfrm>
            <a:custGeom>
              <a:avLst/>
              <a:gdLst>
                <a:gd name="connsiteX0" fmla="*/ 375126 w 377695"/>
                <a:gd name="connsiteY0" fmla="*/ 13 h 400498"/>
                <a:gd name="connsiteX1" fmla="*/ 201961 w 377695"/>
                <a:gd name="connsiteY1" fmla="*/ 232232 h 400498"/>
                <a:gd name="connsiteX2" fmla="*/ 50990 w 377695"/>
                <a:gd name="connsiteY2" fmla="*/ 338150 h 400498"/>
                <a:gd name="connsiteX3" fmla="*/ 89090 w 377695"/>
                <a:gd name="connsiteY3" fmla="*/ 216611 h 400498"/>
                <a:gd name="connsiteX4" fmla="*/ 305307 w 377695"/>
                <a:gd name="connsiteY4" fmla="*/ 45161 h 400498"/>
                <a:gd name="connsiteX5" fmla="*/ 304641 w 377695"/>
                <a:gd name="connsiteY5" fmla="*/ 43828 h 400498"/>
                <a:gd name="connsiteX6" fmla="*/ 1650 w 377695"/>
                <a:gd name="connsiteY6" fmla="*/ 377203 h 400498"/>
                <a:gd name="connsiteX7" fmla="*/ 51085 w 377695"/>
                <a:gd name="connsiteY7" fmla="*/ 395967 h 400498"/>
                <a:gd name="connsiteX8" fmla="*/ 258254 w 377695"/>
                <a:gd name="connsiteY8" fmla="*/ 279286 h 400498"/>
                <a:gd name="connsiteX9" fmla="*/ 375126 w 377695"/>
                <a:gd name="connsiteY9" fmla="*/ 13 h 400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7695" h="400498">
                  <a:moveTo>
                    <a:pt x="375126" y="13"/>
                  </a:moveTo>
                  <a:cubicBezTo>
                    <a:pt x="367982" y="-1511"/>
                    <a:pt x="293687" y="133363"/>
                    <a:pt x="201961" y="232232"/>
                  </a:cubicBezTo>
                  <a:cubicBezTo>
                    <a:pt x="135286" y="304337"/>
                    <a:pt x="106711" y="320720"/>
                    <a:pt x="50990" y="338150"/>
                  </a:cubicBezTo>
                  <a:cubicBezTo>
                    <a:pt x="50990" y="338150"/>
                    <a:pt x="31940" y="284525"/>
                    <a:pt x="89090" y="216611"/>
                  </a:cubicBezTo>
                  <a:cubicBezTo>
                    <a:pt x="135191" y="161462"/>
                    <a:pt x="279590" y="68688"/>
                    <a:pt x="305307" y="45161"/>
                  </a:cubicBezTo>
                  <a:cubicBezTo>
                    <a:pt x="306641" y="43923"/>
                    <a:pt x="305879" y="43256"/>
                    <a:pt x="304641" y="43828"/>
                  </a:cubicBezTo>
                  <a:cubicBezTo>
                    <a:pt x="52800" y="166129"/>
                    <a:pt x="-11685" y="258140"/>
                    <a:pt x="1650" y="377203"/>
                  </a:cubicBezTo>
                  <a:cubicBezTo>
                    <a:pt x="5746" y="409588"/>
                    <a:pt x="6794" y="400063"/>
                    <a:pt x="51085" y="395967"/>
                  </a:cubicBezTo>
                  <a:cubicBezTo>
                    <a:pt x="149764" y="387585"/>
                    <a:pt x="207295" y="338817"/>
                    <a:pt x="258254" y="279286"/>
                  </a:cubicBezTo>
                  <a:cubicBezTo>
                    <a:pt x="321976" y="204610"/>
                    <a:pt x="392080" y="40685"/>
                    <a:pt x="375126" y="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2" name="Freihandform: Form 24">
              <a:extLst>
                <a:ext uri="{FF2B5EF4-FFF2-40B4-BE49-F238E27FC236}">
                  <a16:creationId xmlns:a16="http://schemas.microsoft.com/office/drawing/2014/main" id="{EBF7AE1E-D728-4BCF-A6D8-130CED9F841A}"/>
                </a:ext>
              </a:extLst>
            </p:cNvPr>
            <p:cNvSpPr/>
            <p:nvPr/>
          </p:nvSpPr>
          <p:spPr>
            <a:xfrm>
              <a:off x="4470384" y="3442598"/>
              <a:ext cx="67437" cy="67437"/>
            </a:xfrm>
            <a:custGeom>
              <a:avLst/>
              <a:gdLst>
                <a:gd name="connsiteX0" fmla="*/ 34940 w 67437"/>
                <a:gd name="connsiteY0" fmla="*/ 23 h 67437"/>
                <a:gd name="connsiteX1" fmla="*/ 23 w 67437"/>
                <a:gd name="connsiteY1" fmla="*/ 32498 h 67437"/>
                <a:gd name="connsiteX2" fmla="*/ 32498 w 67437"/>
                <a:gd name="connsiteY2" fmla="*/ 67415 h 67437"/>
                <a:gd name="connsiteX3" fmla="*/ 67415 w 67437"/>
                <a:gd name="connsiteY3" fmla="*/ 34940 h 67437"/>
                <a:gd name="connsiteX4" fmla="*/ 67420 w 67437"/>
                <a:gd name="connsiteY4" fmla="*/ 34789 h 67437"/>
                <a:gd name="connsiteX5" fmla="*/ 34940 w 67437"/>
                <a:gd name="connsiteY5" fmla="*/ 23 h 67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7437" h="67437">
                  <a:moveTo>
                    <a:pt x="34940" y="23"/>
                  </a:moveTo>
                  <a:cubicBezTo>
                    <a:pt x="16330" y="-652"/>
                    <a:pt x="697" y="13888"/>
                    <a:pt x="23" y="32498"/>
                  </a:cubicBezTo>
                  <a:cubicBezTo>
                    <a:pt x="-652" y="51108"/>
                    <a:pt x="13888" y="66741"/>
                    <a:pt x="32498" y="67415"/>
                  </a:cubicBezTo>
                  <a:cubicBezTo>
                    <a:pt x="51108" y="68090"/>
                    <a:pt x="66741" y="53550"/>
                    <a:pt x="67415" y="34940"/>
                  </a:cubicBezTo>
                  <a:cubicBezTo>
                    <a:pt x="67417" y="34890"/>
                    <a:pt x="67419" y="34839"/>
                    <a:pt x="67420" y="34789"/>
                  </a:cubicBezTo>
                  <a:cubicBezTo>
                    <a:pt x="68009" y="16235"/>
                    <a:pt x="53491" y="695"/>
                    <a:pt x="34940" y="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3" name="Freihandform: Form 25">
              <a:extLst>
                <a:ext uri="{FF2B5EF4-FFF2-40B4-BE49-F238E27FC236}">
                  <a16:creationId xmlns:a16="http://schemas.microsoft.com/office/drawing/2014/main" id="{BE3F0501-62D5-4970-B9A9-E9D035227E77}"/>
                </a:ext>
              </a:extLst>
            </p:cNvPr>
            <p:cNvSpPr/>
            <p:nvPr/>
          </p:nvSpPr>
          <p:spPr>
            <a:xfrm>
              <a:off x="4528012" y="3397393"/>
              <a:ext cx="57150" cy="57150"/>
            </a:xfrm>
            <a:custGeom>
              <a:avLst/>
              <a:gdLst>
                <a:gd name="connsiteX0" fmla="*/ 57132 w 57150"/>
                <a:gd name="connsiteY0" fmla="*/ 29607 h 57150"/>
                <a:gd name="connsiteX1" fmla="*/ 29607 w 57150"/>
                <a:gd name="connsiteY1" fmla="*/ 19 h 57150"/>
                <a:gd name="connsiteX2" fmla="*/ 19 w 57150"/>
                <a:gd name="connsiteY2" fmla="*/ 27544 h 57150"/>
                <a:gd name="connsiteX3" fmla="*/ 27544 w 57150"/>
                <a:gd name="connsiteY3" fmla="*/ 57132 h 57150"/>
                <a:gd name="connsiteX4" fmla="*/ 27604 w 57150"/>
                <a:gd name="connsiteY4" fmla="*/ 57134 h 57150"/>
                <a:gd name="connsiteX5" fmla="*/ 57132 w 57150"/>
                <a:gd name="connsiteY5" fmla="*/ 29607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150" h="57150">
                  <a:moveTo>
                    <a:pt x="57132" y="29607"/>
                  </a:moveTo>
                  <a:cubicBezTo>
                    <a:pt x="57701" y="13835"/>
                    <a:pt x="45378" y="589"/>
                    <a:pt x="29607" y="19"/>
                  </a:cubicBezTo>
                  <a:cubicBezTo>
                    <a:pt x="13835" y="-551"/>
                    <a:pt x="589" y="11773"/>
                    <a:pt x="19" y="27544"/>
                  </a:cubicBezTo>
                  <a:cubicBezTo>
                    <a:pt x="-551" y="43315"/>
                    <a:pt x="11773" y="56562"/>
                    <a:pt x="27544" y="57132"/>
                  </a:cubicBezTo>
                  <a:cubicBezTo>
                    <a:pt x="27564" y="57132"/>
                    <a:pt x="27584" y="57133"/>
                    <a:pt x="27604" y="57134"/>
                  </a:cubicBezTo>
                  <a:cubicBezTo>
                    <a:pt x="43353" y="57669"/>
                    <a:pt x="56563" y="45354"/>
                    <a:pt x="57132" y="2960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4" name="Freihandform: Form 26">
              <a:extLst>
                <a:ext uri="{FF2B5EF4-FFF2-40B4-BE49-F238E27FC236}">
                  <a16:creationId xmlns:a16="http://schemas.microsoft.com/office/drawing/2014/main" id="{1602166E-4368-4B5B-8055-B9F68E72E98C}"/>
                </a:ext>
              </a:extLst>
            </p:cNvPr>
            <p:cNvSpPr/>
            <p:nvPr/>
          </p:nvSpPr>
          <p:spPr>
            <a:xfrm>
              <a:off x="4579606" y="3358721"/>
              <a:ext cx="44577" cy="44577"/>
            </a:xfrm>
            <a:custGeom>
              <a:avLst/>
              <a:gdLst>
                <a:gd name="connsiteX0" fmla="*/ 21445 w 44577"/>
                <a:gd name="connsiteY0" fmla="*/ 44561 h 44577"/>
                <a:gd name="connsiteX1" fmla="*/ 44561 w 44577"/>
                <a:gd name="connsiteY1" fmla="*/ 23132 h 44577"/>
                <a:gd name="connsiteX2" fmla="*/ 23132 w 44577"/>
                <a:gd name="connsiteY2" fmla="*/ 16 h 44577"/>
                <a:gd name="connsiteX3" fmla="*/ 16 w 44577"/>
                <a:gd name="connsiteY3" fmla="*/ 21445 h 44577"/>
                <a:gd name="connsiteX4" fmla="*/ 14 w 44577"/>
                <a:gd name="connsiteY4" fmla="*/ 21511 h 44577"/>
                <a:gd name="connsiteX5" fmla="*/ 21445 w 44577"/>
                <a:gd name="connsiteY5" fmla="*/ 44561 h 44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577" h="44577">
                  <a:moveTo>
                    <a:pt x="21445" y="44561"/>
                  </a:moveTo>
                  <a:cubicBezTo>
                    <a:pt x="33746" y="45027"/>
                    <a:pt x="44095" y="35433"/>
                    <a:pt x="44561" y="23132"/>
                  </a:cubicBezTo>
                  <a:cubicBezTo>
                    <a:pt x="45027" y="10832"/>
                    <a:pt x="35433" y="482"/>
                    <a:pt x="23132" y="16"/>
                  </a:cubicBezTo>
                  <a:cubicBezTo>
                    <a:pt x="10832" y="-450"/>
                    <a:pt x="482" y="9144"/>
                    <a:pt x="16" y="21445"/>
                  </a:cubicBezTo>
                  <a:cubicBezTo>
                    <a:pt x="15" y="21467"/>
                    <a:pt x="15" y="21489"/>
                    <a:pt x="14" y="21511"/>
                  </a:cubicBezTo>
                  <a:cubicBezTo>
                    <a:pt x="-415" y="33787"/>
                    <a:pt x="9170" y="44096"/>
                    <a:pt x="21445" y="445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5" name="Freihandform: Form 27">
              <a:extLst>
                <a:ext uri="{FF2B5EF4-FFF2-40B4-BE49-F238E27FC236}">
                  <a16:creationId xmlns:a16="http://schemas.microsoft.com/office/drawing/2014/main" id="{2F909369-2A5F-46AA-AB5F-17CFFADFB412}"/>
                </a:ext>
              </a:extLst>
            </p:cNvPr>
            <p:cNvSpPr/>
            <p:nvPr/>
          </p:nvSpPr>
          <p:spPr>
            <a:xfrm>
              <a:off x="4619618" y="3324045"/>
              <a:ext cx="39433" cy="39433"/>
            </a:xfrm>
            <a:custGeom>
              <a:avLst/>
              <a:gdLst>
                <a:gd name="connsiteX0" fmla="*/ 19056 w 39433"/>
                <a:gd name="connsiteY0" fmla="*/ 39423 h 39433"/>
                <a:gd name="connsiteX1" fmla="*/ 39423 w 39433"/>
                <a:gd name="connsiteY1" fmla="*/ 20378 h 39433"/>
                <a:gd name="connsiteX2" fmla="*/ 20378 w 39433"/>
                <a:gd name="connsiteY2" fmla="*/ 11 h 39433"/>
                <a:gd name="connsiteX3" fmla="*/ 11 w 39433"/>
                <a:gd name="connsiteY3" fmla="*/ 19056 h 39433"/>
                <a:gd name="connsiteX4" fmla="*/ 6 w 39433"/>
                <a:gd name="connsiteY4" fmla="*/ 19230 h 39433"/>
                <a:gd name="connsiteX5" fmla="*/ 19056 w 39433"/>
                <a:gd name="connsiteY5" fmla="*/ 39423 h 39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433" h="39433">
                  <a:moveTo>
                    <a:pt x="19056" y="39423"/>
                  </a:moveTo>
                  <a:cubicBezTo>
                    <a:pt x="29939" y="39788"/>
                    <a:pt x="39058" y="31261"/>
                    <a:pt x="39423" y="20378"/>
                  </a:cubicBezTo>
                  <a:cubicBezTo>
                    <a:pt x="39787" y="9495"/>
                    <a:pt x="31261" y="376"/>
                    <a:pt x="20378" y="11"/>
                  </a:cubicBezTo>
                  <a:cubicBezTo>
                    <a:pt x="9494" y="-354"/>
                    <a:pt x="376" y="8173"/>
                    <a:pt x="11" y="19056"/>
                  </a:cubicBezTo>
                  <a:cubicBezTo>
                    <a:pt x="9" y="19114"/>
                    <a:pt x="8" y="19172"/>
                    <a:pt x="6" y="19230"/>
                  </a:cubicBezTo>
                  <a:cubicBezTo>
                    <a:pt x="-261" y="30048"/>
                    <a:pt x="8241" y="39060"/>
                    <a:pt x="19056" y="394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76" name="Grafik 3">
            <a:extLst>
              <a:ext uri="{FF2B5EF4-FFF2-40B4-BE49-F238E27FC236}">
                <a16:creationId xmlns:a16="http://schemas.microsoft.com/office/drawing/2014/main" id="{043DB6F0-2B9E-44C1-8994-ACAC15F68B05}"/>
              </a:ext>
            </a:extLst>
          </p:cNvPr>
          <p:cNvGrpSpPr/>
          <p:nvPr/>
        </p:nvGrpSpPr>
        <p:grpSpPr>
          <a:xfrm>
            <a:off x="5967546" y="2291220"/>
            <a:ext cx="411884" cy="529580"/>
            <a:chOff x="4395785" y="3205162"/>
            <a:chExt cx="350997" cy="451294"/>
          </a:xfrm>
          <a:solidFill>
            <a:srgbClr val="808080"/>
          </a:solidFill>
        </p:grpSpPr>
        <p:sp>
          <p:nvSpPr>
            <p:cNvPr id="177" name="Freihandform: Form 17">
              <a:extLst>
                <a:ext uri="{FF2B5EF4-FFF2-40B4-BE49-F238E27FC236}">
                  <a16:creationId xmlns:a16="http://schemas.microsoft.com/office/drawing/2014/main" id="{62224AFA-19F7-4FEE-B9BD-201198BB18FC}"/>
                </a:ext>
              </a:extLst>
            </p:cNvPr>
            <p:cNvSpPr/>
            <p:nvPr/>
          </p:nvSpPr>
          <p:spPr>
            <a:xfrm>
              <a:off x="4478450" y="3205162"/>
              <a:ext cx="268332" cy="451294"/>
            </a:xfrm>
            <a:custGeom>
              <a:avLst/>
              <a:gdLst>
                <a:gd name="connsiteX0" fmla="*/ 56496 w 268332"/>
                <a:gd name="connsiteY0" fmla="*/ 307086 h 451294"/>
                <a:gd name="connsiteX1" fmla="*/ 78594 w 268332"/>
                <a:gd name="connsiteY1" fmla="*/ 425482 h 451294"/>
                <a:gd name="connsiteX2" fmla="*/ 73356 w 268332"/>
                <a:gd name="connsiteY2" fmla="*/ 450628 h 451294"/>
                <a:gd name="connsiteX3" fmla="*/ 79833 w 268332"/>
                <a:gd name="connsiteY3" fmla="*/ 451295 h 451294"/>
                <a:gd name="connsiteX4" fmla="*/ 85929 w 268332"/>
                <a:gd name="connsiteY4" fmla="*/ 427101 h 451294"/>
                <a:gd name="connsiteX5" fmla="*/ 112027 w 268332"/>
                <a:gd name="connsiteY5" fmla="*/ 288703 h 451294"/>
                <a:gd name="connsiteX6" fmla="*/ 92977 w 268332"/>
                <a:gd name="connsiteY6" fmla="*/ 121444 h 451294"/>
                <a:gd name="connsiteX7" fmla="*/ 65164 w 268332"/>
                <a:gd name="connsiteY7" fmla="*/ 0 h 451294"/>
                <a:gd name="connsiteX8" fmla="*/ 4204 w 268332"/>
                <a:gd name="connsiteY8" fmla="*/ 184690 h 451294"/>
                <a:gd name="connsiteX9" fmla="*/ 56496 w 268332"/>
                <a:gd name="connsiteY9" fmla="*/ 307086 h 451294"/>
                <a:gd name="connsiteX10" fmla="*/ 108598 w 268332"/>
                <a:gd name="connsiteY10" fmla="*/ 367951 h 451294"/>
                <a:gd name="connsiteX11" fmla="*/ 156223 w 268332"/>
                <a:gd name="connsiteY11" fmla="*/ 351568 h 451294"/>
                <a:gd name="connsiteX12" fmla="*/ 225756 w 268332"/>
                <a:gd name="connsiteY12" fmla="*/ 292132 h 451294"/>
                <a:gd name="connsiteX13" fmla="*/ 268332 w 268332"/>
                <a:gd name="connsiteY13" fmla="*/ 220028 h 451294"/>
                <a:gd name="connsiteX14" fmla="*/ 108598 w 268332"/>
                <a:gd name="connsiteY14" fmla="*/ 367951 h 451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8332" h="451294">
                  <a:moveTo>
                    <a:pt x="56496" y="307086"/>
                  </a:moveTo>
                  <a:cubicBezTo>
                    <a:pt x="76308" y="345758"/>
                    <a:pt x="90215" y="383286"/>
                    <a:pt x="78594" y="425482"/>
                  </a:cubicBezTo>
                  <a:cubicBezTo>
                    <a:pt x="76975" y="432816"/>
                    <a:pt x="75737" y="442722"/>
                    <a:pt x="73356" y="450628"/>
                  </a:cubicBezTo>
                  <a:lnTo>
                    <a:pt x="79833" y="451295"/>
                  </a:lnTo>
                  <a:cubicBezTo>
                    <a:pt x="82323" y="443352"/>
                    <a:pt x="84358" y="435275"/>
                    <a:pt x="85929" y="427101"/>
                  </a:cubicBezTo>
                  <a:cubicBezTo>
                    <a:pt x="94311" y="380905"/>
                    <a:pt x="99930" y="333756"/>
                    <a:pt x="112027" y="288703"/>
                  </a:cubicBezTo>
                  <a:cubicBezTo>
                    <a:pt x="128599" y="232671"/>
                    <a:pt x="121725" y="172313"/>
                    <a:pt x="92977" y="121444"/>
                  </a:cubicBezTo>
                  <a:cubicBezTo>
                    <a:pt x="71927" y="83344"/>
                    <a:pt x="54877" y="45720"/>
                    <a:pt x="65164" y="0"/>
                  </a:cubicBezTo>
                  <a:cubicBezTo>
                    <a:pt x="22111" y="54483"/>
                    <a:pt x="-12274" y="113633"/>
                    <a:pt x="4204" y="184690"/>
                  </a:cubicBezTo>
                  <a:cubicBezTo>
                    <a:pt x="14110" y="227362"/>
                    <a:pt x="36208" y="267653"/>
                    <a:pt x="56496" y="307086"/>
                  </a:cubicBezTo>
                  <a:close/>
                  <a:moveTo>
                    <a:pt x="108598" y="367951"/>
                  </a:moveTo>
                  <a:cubicBezTo>
                    <a:pt x="124410" y="362331"/>
                    <a:pt x="139745" y="355568"/>
                    <a:pt x="156223" y="351568"/>
                  </a:cubicBezTo>
                  <a:cubicBezTo>
                    <a:pt x="189751" y="343281"/>
                    <a:pt x="210325" y="321659"/>
                    <a:pt x="225756" y="292132"/>
                  </a:cubicBezTo>
                  <a:cubicBezTo>
                    <a:pt x="238614" y="266700"/>
                    <a:pt x="254521" y="242888"/>
                    <a:pt x="268332" y="220028"/>
                  </a:cubicBezTo>
                  <a:cubicBezTo>
                    <a:pt x="187465" y="212312"/>
                    <a:pt x="115647" y="276225"/>
                    <a:pt x="108598" y="36795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8" name="Freihandform: Form 18">
              <a:extLst>
                <a:ext uri="{FF2B5EF4-FFF2-40B4-BE49-F238E27FC236}">
                  <a16:creationId xmlns:a16="http://schemas.microsoft.com/office/drawing/2014/main" id="{5A267E50-7682-43E5-9C04-CCDAF0FD5607}"/>
                </a:ext>
              </a:extLst>
            </p:cNvPr>
            <p:cNvSpPr/>
            <p:nvPr/>
          </p:nvSpPr>
          <p:spPr>
            <a:xfrm>
              <a:off x="4395785" y="3414140"/>
              <a:ext cx="141638" cy="238410"/>
            </a:xfrm>
            <a:custGeom>
              <a:avLst/>
              <a:gdLst>
                <a:gd name="connsiteX0" fmla="*/ 29815 w 141638"/>
                <a:gd name="connsiteY0" fmla="*/ 162497 h 238410"/>
                <a:gd name="connsiteX1" fmla="*/ 41530 w 141638"/>
                <a:gd name="connsiteY1" fmla="*/ 225076 h 238410"/>
                <a:gd name="connsiteX2" fmla="*/ 38768 w 141638"/>
                <a:gd name="connsiteY2" fmla="*/ 238411 h 238410"/>
                <a:gd name="connsiteX3" fmla="*/ 42197 w 141638"/>
                <a:gd name="connsiteY3" fmla="*/ 238411 h 238410"/>
                <a:gd name="connsiteX4" fmla="*/ 45436 w 141638"/>
                <a:gd name="connsiteY4" fmla="*/ 225647 h 238410"/>
                <a:gd name="connsiteX5" fmla="*/ 59247 w 141638"/>
                <a:gd name="connsiteY5" fmla="*/ 152495 h 238410"/>
                <a:gd name="connsiteX6" fmla="*/ 49722 w 141638"/>
                <a:gd name="connsiteY6" fmla="*/ 64103 h 238410"/>
                <a:gd name="connsiteX7" fmla="*/ 35053 w 141638"/>
                <a:gd name="connsiteY7" fmla="*/ 0 h 238410"/>
                <a:gd name="connsiteX8" fmla="*/ 2192 w 141638"/>
                <a:gd name="connsiteY8" fmla="*/ 97441 h 238410"/>
                <a:gd name="connsiteX9" fmla="*/ 29815 w 141638"/>
                <a:gd name="connsiteY9" fmla="*/ 162497 h 238410"/>
                <a:gd name="connsiteX10" fmla="*/ 57151 w 141638"/>
                <a:gd name="connsiteY10" fmla="*/ 194310 h 238410"/>
                <a:gd name="connsiteX11" fmla="*/ 82202 w 141638"/>
                <a:gd name="connsiteY11" fmla="*/ 185642 h 238410"/>
                <a:gd name="connsiteX12" fmla="*/ 118873 w 141638"/>
                <a:gd name="connsiteY12" fmla="*/ 154210 h 238410"/>
                <a:gd name="connsiteX13" fmla="*/ 141638 w 141638"/>
                <a:gd name="connsiteY13" fmla="*/ 116110 h 238410"/>
                <a:gd name="connsiteX14" fmla="*/ 57151 w 141638"/>
                <a:gd name="connsiteY14" fmla="*/ 194310 h 238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1638" h="238410">
                  <a:moveTo>
                    <a:pt x="29815" y="162497"/>
                  </a:moveTo>
                  <a:cubicBezTo>
                    <a:pt x="40292" y="182975"/>
                    <a:pt x="47626" y="202597"/>
                    <a:pt x="41530" y="225076"/>
                  </a:cubicBezTo>
                  <a:cubicBezTo>
                    <a:pt x="40673" y="228981"/>
                    <a:pt x="40006" y="234601"/>
                    <a:pt x="38768" y="238411"/>
                  </a:cubicBezTo>
                  <a:lnTo>
                    <a:pt x="42197" y="238411"/>
                  </a:lnTo>
                  <a:cubicBezTo>
                    <a:pt x="43511" y="234219"/>
                    <a:pt x="44592" y="229958"/>
                    <a:pt x="45436" y="225647"/>
                  </a:cubicBezTo>
                  <a:cubicBezTo>
                    <a:pt x="49817" y="201263"/>
                    <a:pt x="52770" y="176308"/>
                    <a:pt x="59247" y="152495"/>
                  </a:cubicBezTo>
                  <a:cubicBezTo>
                    <a:pt x="68130" y="122953"/>
                    <a:pt x="64695" y="91075"/>
                    <a:pt x="49722" y="64103"/>
                  </a:cubicBezTo>
                  <a:cubicBezTo>
                    <a:pt x="38673" y="44101"/>
                    <a:pt x="29624" y="24098"/>
                    <a:pt x="35053" y="0"/>
                  </a:cubicBezTo>
                  <a:cubicBezTo>
                    <a:pt x="11812" y="29146"/>
                    <a:pt x="-6476" y="59912"/>
                    <a:pt x="2192" y="97441"/>
                  </a:cubicBezTo>
                  <a:cubicBezTo>
                    <a:pt x="8732" y="120164"/>
                    <a:pt x="18007" y="142009"/>
                    <a:pt x="29815" y="162497"/>
                  </a:cubicBezTo>
                  <a:close/>
                  <a:moveTo>
                    <a:pt x="57151" y="194310"/>
                  </a:moveTo>
                  <a:cubicBezTo>
                    <a:pt x="65533" y="191357"/>
                    <a:pt x="73630" y="187738"/>
                    <a:pt x="82202" y="185642"/>
                  </a:cubicBezTo>
                  <a:cubicBezTo>
                    <a:pt x="98581" y="181308"/>
                    <a:pt x="112085" y="169733"/>
                    <a:pt x="118873" y="154210"/>
                  </a:cubicBezTo>
                  <a:cubicBezTo>
                    <a:pt x="125922" y="140875"/>
                    <a:pt x="134304" y="128207"/>
                    <a:pt x="141638" y="116110"/>
                  </a:cubicBezTo>
                  <a:cubicBezTo>
                    <a:pt x="99061" y="112014"/>
                    <a:pt x="61057" y="146018"/>
                    <a:pt x="57151" y="1943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79" name="Grafik 30">
            <a:extLst>
              <a:ext uri="{FF2B5EF4-FFF2-40B4-BE49-F238E27FC236}">
                <a16:creationId xmlns:a16="http://schemas.microsoft.com/office/drawing/2014/main" id="{9261BB26-8FEC-48AE-A400-63195C1DA4A8}"/>
              </a:ext>
            </a:extLst>
          </p:cNvPr>
          <p:cNvGrpSpPr/>
          <p:nvPr/>
        </p:nvGrpSpPr>
        <p:grpSpPr>
          <a:xfrm>
            <a:off x="6607259" y="2303397"/>
            <a:ext cx="476195" cy="505226"/>
            <a:chOff x="4367217" y="3214686"/>
            <a:chExt cx="405801" cy="430540"/>
          </a:xfrm>
          <a:solidFill>
            <a:srgbClr val="808080"/>
          </a:solidFill>
        </p:grpSpPr>
        <p:sp>
          <p:nvSpPr>
            <p:cNvPr id="180" name="Freihandform: Form 324">
              <a:extLst>
                <a:ext uri="{FF2B5EF4-FFF2-40B4-BE49-F238E27FC236}">
                  <a16:creationId xmlns:a16="http://schemas.microsoft.com/office/drawing/2014/main" id="{20009730-DA84-481C-9146-D6B8609599DA}"/>
                </a:ext>
              </a:extLst>
            </p:cNvPr>
            <p:cNvSpPr/>
            <p:nvPr/>
          </p:nvSpPr>
          <p:spPr>
            <a:xfrm>
              <a:off x="4459656" y="3214686"/>
              <a:ext cx="232071" cy="351173"/>
            </a:xfrm>
            <a:custGeom>
              <a:avLst/>
              <a:gdLst>
                <a:gd name="connsiteX0" fmla="*/ 54431 w 232071"/>
                <a:gd name="connsiteY0" fmla="*/ 164497 h 351173"/>
                <a:gd name="connsiteX1" fmla="*/ 167493 w 232071"/>
                <a:gd name="connsiteY1" fmla="*/ 167545 h 351173"/>
                <a:gd name="connsiteX2" fmla="*/ 228358 w 232071"/>
                <a:gd name="connsiteY2" fmla="*/ 289655 h 351173"/>
                <a:gd name="connsiteX3" fmla="*/ 77958 w 232071"/>
                <a:gd name="connsiteY3" fmla="*/ 342329 h 351173"/>
                <a:gd name="connsiteX4" fmla="*/ 44 w 232071"/>
                <a:gd name="connsiteY4" fmla="*/ 220123 h 351173"/>
                <a:gd name="connsiteX5" fmla="*/ 119963 w 232071"/>
                <a:gd name="connsiteY5" fmla="*/ 12002 h 351173"/>
                <a:gd name="connsiteX6" fmla="*/ 149205 w 232071"/>
                <a:gd name="connsiteY6" fmla="*/ 2477 h 351173"/>
                <a:gd name="connsiteX7" fmla="*/ 169589 w 232071"/>
                <a:gd name="connsiteY7" fmla="*/ 0 h 351173"/>
                <a:gd name="connsiteX8" fmla="*/ 178637 w 232071"/>
                <a:gd name="connsiteY8" fmla="*/ 23241 h 351173"/>
                <a:gd name="connsiteX9" fmla="*/ 183781 w 232071"/>
                <a:gd name="connsiteY9" fmla="*/ 41053 h 351173"/>
                <a:gd name="connsiteX10" fmla="*/ 140728 w 232071"/>
                <a:gd name="connsiteY10" fmla="*/ 55531 h 351173"/>
                <a:gd name="connsiteX11" fmla="*/ 76529 w 232071"/>
                <a:gd name="connsiteY11" fmla="*/ 101727 h 351173"/>
                <a:gd name="connsiteX12" fmla="*/ 54431 w 232071"/>
                <a:gd name="connsiteY12" fmla="*/ 164497 h 351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2071" h="351173">
                  <a:moveTo>
                    <a:pt x="54431" y="164497"/>
                  </a:moveTo>
                  <a:cubicBezTo>
                    <a:pt x="61575" y="161449"/>
                    <a:pt x="115582" y="138875"/>
                    <a:pt x="167493" y="167545"/>
                  </a:cubicBezTo>
                  <a:cubicBezTo>
                    <a:pt x="209213" y="190595"/>
                    <a:pt x="243693" y="243745"/>
                    <a:pt x="228358" y="289655"/>
                  </a:cubicBezTo>
                  <a:cubicBezTo>
                    <a:pt x="209879" y="344996"/>
                    <a:pt x="127964" y="364236"/>
                    <a:pt x="77958" y="342329"/>
                  </a:cubicBezTo>
                  <a:cubicBezTo>
                    <a:pt x="25190" y="319278"/>
                    <a:pt x="996" y="277749"/>
                    <a:pt x="44" y="220123"/>
                  </a:cubicBezTo>
                  <a:cubicBezTo>
                    <a:pt x="-1576" y="123254"/>
                    <a:pt x="41954" y="46006"/>
                    <a:pt x="119963" y="12002"/>
                  </a:cubicBezTo>
                  <a:cubicBezTo>
                    <a:pt x="129440" y="8049"/>
                    <a:pt x="139219" y="4864"/>
                    <a:pt x="149205" y="2477"/>
                  </a:cubicBezTo>
                  <a:cubicBezTo>
                    <a:pt x="155912" y="1046"/>
                    <a:pt x="162734" y="217"/>
                    <a:pt x="169589" y="0"/>
                  </a:cubicBezTo>
                  <a:cubicBezTo>
                    <a:pt x="173123" y="7535"/>
                    <a:pt x="176146" y="15300"/>
                    <a:pt x="178637" y="23241"/>
                  </a:cubicBezTo>
                  <a:cubicBezTo>
                    <a:pt x="180661" y="29085"/>
                    <a:pt x="182378" y="35030"/>
                    <a:pt x="183781" y="41053"/>
                  </a:cubicBezTo>
                  <a:cubicBezTo>
                    <a:pt x="168968" y="44379"/>
                    <a:pt x="154540" y="49230"/>
                    <a:pt x="140728" y="55531"/>
                  </a:cubicBezTo>
                  <a:cubicBezTo>
                    <a:pt x="119678" y="65056"/>
                    <a:pt x="94913" y="76391"/>
                    <a:pt x="76529" y="101727"/>
                  </a:cubicBezTo>
                  <a:cubicBezTo>
                    <a:pt x="63445" y="120175"/>
                    <a:pt x="55789" y="141920"/>
                    <a:pt x="54431" y="16449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1" name="Freihandform: Form 325">
              <a:extLst>
                <a:ext uri="{FF2B5EF4-FFF2-40B4-BE49-F238E27FC236}">
                  <a16:creationId xmlns:a16="http://schemas.microsoft.com/office/drawing/2014/main" id="{B46E8F2B-88FB-40BB-A438-D0EA3EDA9586}"/>
                </a:ext>
              </a:extLst>
            </p:cNvPr>
            <p:cNvSpPr/>
            <p:nvPr/>
          </p:nvSpPr>
          <p:spPr>
            <a:xfrm>
              <a:off x="4367217" y="3324423"/>
              <a:ext cx="405801" cy="320804"/>
            </a:xfrm>
            <a:custGeom>
              <a:avLst/>
              <a:gdLst>
                <a:gd name="connsiteX0" fmla="*/ 172111 w 405801"/>
                <a:gd name="connsiteY0" fmla="*/ 4564 h 320804"/>
                <a:gd name="connsiteX1" fmla="*/ 295269 w 405801"/>
                <a:gd name="connsiteY1" fmla="*/ 16470 h 320804"/>
                <a:gd name="connsiteX2" fmla="*/ 395948 w 405801"/>
                <a:gd name="connsiteY2" fmla="*/ 118864 h 320804"/>
                <a:gd name="connsiteX3" fmla="*/ 393662 w 405801"/>
                <a:gd name="connsiteY3" fmla="*/ 229830 h 320804"/>
                <a:gd name="connsiteX4" fmla="*/ 295269 w 405801"/>
                <a:gd name="connsiteY4" fmla="*/ 308030 h 320804"/>
                <a:gd name="connsiteX5" fmla="*/ 33141 w 405801"/>
                <a:gd name="connsiteY5" fmla="*/ 233926 h 320804"/>
                <a:gd name="connsiteX6" fmla="*/ 566 w 405801"/>
                <a:gd name="connsiteY6" fmla="*/ 133532 h 320804"/>
                <a:gd name="connsiteX7" fmla="*/ 96482 w 405801"/>
                <a:gd name="connsiteY7" fmla="*/ 12374 h 320804"/>
                <a:gd name="connsiteX8" fmla="*/ 90386 w 405801"/>
                <a:gd name="connsiteY8" fmla="*/ 36663 h 320804"/>
                <a:gd name="connsiteX9" fmla="*/ 38951 w 405801"/>
                <a:gd name="connsiteY9" fmla="*/ 151725 h 320804"/>
                <a:gd name="connsiteX10" fmla="*/ 159062 w 405801"/>
                <a:gd name="connsiteY10" fmla="*/ 271264 h 320804"/>
                <a:gd name="connsiteX11" fmla="*/ 343751 w 405801"/>
                <a:gd name="connsiteY11" fmla="*/ 225829 h 320804"/>
                <a:gd name="connsiteX12" fmla="*/ 351848 w 405801"/>
                <a:gd name="connsiteY12" fmla="*/ 102671 h 320804"/>
                <a:gd name="connsiteX13" fmla="*/ 259931 w 405801"/>
                <a:gd name="connsiteY13" fmla="*/ 27043 h 320804"/>
                <a:gd name="connsiteX14" fmla="*/ 167063 w 405801"/>
                <a:gd name="connsiteY14" fmla="*/ 19899 h 320804"/>
                <a:gd name="connsiteX15" fmla="*/ 172111 w 405801"/>
                <a:gd name="connsiteY15" fmla="*/ 4564 h 320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5801" h="320804">
                  <a:moveTo>
                    <a:pt x="172111" y="4564"/>
                  </a:moveTo>
                  <a:cubicBezTo>
                    <a:pt x="213406" y="-4324"/>
                    <a:pt x="256442" y="-164"/>
                    <a:pt x="295269" y="16470"/>
                  </a:cubicBezTo>
                  <a:cubicBezTo>
                    <a:pt x="309938" y="22947"/>
                    <a:pt x="372136" y="50379"/>
                    <a:pt x="395948" y="118864"/>
                  </a:cubicBezTo>
                  <a:cubicBezTo>
                    <a:pt x="400139" y="130960"/>
                    <a:pt x="417094" y="179919"/>
                    <a:pt x="393662" y="229830"/>
                  </a:cubicBezTo>
                  <a:cubicBezTo>
                    <a:pt x="369183" y="281836"/>
                    <a:pt x="317462" y="300220"/>
                    <a:pt x="295269" y="308030"/>
                  </a:cubicBezTo>
                  <a:cubicBezTo>
                    <a:pt x="206115" y="339558"/>
                    <a:pt x="89624" y="311935"/>
                    <a:pt x="33141" y="233926"/>
                  </a:cubicBezTo>
                  <a:cubicBezTo>
                    <a:pt x="22378" y="219162"/>
                    <a:pt x="-4197" y="182491"/>
                    <a:pt x="566" y="133532"/>
                  </a:cubicBezTo>
                  <a:cubicBezTo>
                    <a:pt x="8281" y="54570"/>
                    <a:pt x="90291" y="15232"/>
                    <a:pt x="96482" y="12374"/>
                  </a:cubicBezTo>
                  <a:cubicBezTo>
                    <a:pt x="94387" y="20470"/>
                    <a:pt x="92387" y="28567"/>
                    <a:pt x="90386" y="36663"/>
                  </a:cubicBezTo>
                  <a:cubicBezTo>
                    <a:pt x="83528" y="42664"/>
                    <a:pt x="33236" y="88479"/>
                    <a:pt x="38951" y="151725"/>
                  </a:cubicBezTo>
                  <a:cubicBezTo>
                    <a:pt x="46762" y="233164"/>
                    <a:pt x="141059" y="265263"/>
                    <a:pt x="159062" y="271264"/>
                  </a:cubicBezTo>
                  <a:cubicBezTo>
                    <a:pt x="224975" y="291647"/>
                    <a:pt x="310414" y="276407"/>
                    <a:pt x="343751" y="225829"/>
                  </a:cubicBezTo>
                  <a:cubicBezTo>
                    <a:pt x="366955" y="188739"/>
                    <a:pt x="369996" y="142480"/>
                    <a:pt x="351848" y="102671"/>
                  </a:cubicBezTo>
                  <a:cubicBezTo>
                    <a:pt x="328035" y="51141"/>
                    <a:pt x="277076" y="33043"/>
                    <a:pt x="259931" y="27043"/>
                  </a:cubicBezTo>
                  <a:cubicBezTo>
                    <a:pt x="230110" y="16690"/>
                    <a:pt x="198117" y="14229"/>
                    <a:pt x="167063" y="19899"/>
                  </a:cubicBezTo>
                  <a:cubicBezTo>
                    <a:pt x="168777" y="14089"/>
                    <a:pt x="170492" y="9326"/>
                    <a:pt x="172111" y="456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82" name="Grafik 329">
            <a:extLst>
              <a:ext uri="{FF2B5EF4-FFF2-40B4-BE49-F238E27FC236}">
                <a16:creationId xmlns:a16="http://schemas.microsoft.com/office/drawing/2014/main" id="{500B24E2-6C1F-4DA7-AEAC-710CF7680B2C}"/>
              </a:ext>
            </a:extLst>
          </p:cNvPr>
          <p:cNvGrpSpPr/>
          <p:nvPr/>
        </p:nvGrpSpPr>
        <p:grpSpPr>
          <a:xfrm>
            <a:off x="7311284" y="2334252"/>
            <a:ext cx="466393" cy="443515"/>
            <a:chOff x="6402042" y="2824431"/>
            <a:chExt cx="397448" cy="377952"/>
          </a:xfrm>
          <a:solidFill>
            <a:srgbClr val="808080"/>
          </a:solidFill>
        </p:grpSpPr>
        <p:sp>
          <p:nvSpPr>
            <p:cNvPr id="183" name="Freihandform: Form 100">
              <a:extLst>
                <a:ext uri="{FF2B5EF4-FFF2-40B4-BE49-F238E27FC236}">
                  <a16:creationId xmlns:a16="http://schemas.microsoft.com/office/drawing/2014/main" id="{C75F7E1A-62D2-4879-A522-67C0A0125340}"/>
                </a:ext>
              </a:extLst>
            </p:cNvPr>
            <p:cNvSpPr/>
            <p:nvPr/>
          </p:nvSpPr>
          <p:spPr>
            <a:xfrm>
              <a:off x="6402042" y="2824431"/>
              <a:ext cx="282614" cy="351662"/>
            </a:xfrm>
            <a:custGeom>
              <a:avLst/>
              <a:gdLst>
                <a:gd name="connsiteX0" fmla="*/ 267367 w 282614"/>
                <a:gd name="connsiteY0" fmla="*/ 216408 h 351662"/>
                <a:gd name="connsiteX1" fmla="*/ 281464 w 282614"/>
                <a:gd name="connsiteY1" fmla="*/ 217646 h 351662"/>
                <a:gd name="connsiteX2" fmla="*/ 280035 w 282614"/>
                <a:gd name="connsiteY2" fmla="*/ 106870 h 351662"/>
                <a:gd name="connsiteX3" fmla="*/ 276130 w 282614"/>
                <a:gd name="connsiteY3" fmla="*/ 52864 h 351662"/>
                <a:gd name="connsiteX4" fmla="*/ 254032 w 282614"/>
                <a:gd name="connsiteY4" fmla="*/ 52864 h 351662"/>
                <a:gd name="connsiteX5" fmla="*/ 254032 w 282614"/>
                <a:gd name="connsiteY5" fmla="*/ 36100 h 351662"/>
                <a:gd name="connsiteX6" fmla="*/ 276225 w 282614"/>
                <a:gd name="connsiteY6" fmla="*/ 36100 h 351662"/>
                <a:gd name="connsiteX7" fmla="*/ 278130 w 282614"/>
                <a:gd name="connsiteY7" fmla="*/ 11049 h 351662"/>
                <a:gd name="connsiteX8" fmla="*/ 274892 w 282614"/>
                <a:gd name="connsiteY8" fmla="*/ 3524 h 351662"/>
                <a:gd name="connsiteX9" fmla="*/ 267367 w 282614"/>
                <a:gd name="connsiteY9" fmla="*/ 0 h 351662"/>
                <a:gd name="connsiteX10" fmla="*/ 15240 w 282614"/>
                <a:gd name="connsiteY10" fmla="*/ 0 h 351662"/>
                <a:gd name="connsiteX11" fmla="*/ 7430 w 282614"/>
                <a:gd name="connsiteY11" fmla="*/ 3524 h 351662"/>
                <a:gd name="connsiteX12" fmla="*/ 4191 w 282614"/>
                <a:gd name="connsiteY12" fmla="*/ 11049 h 351662"/>
                <a:gd name="connsiteX13" fmla="*/ 6191 w 282614"/>
                <a:gd name="connsiteY13" fmla="*/ 36100 h 351662"/>
                <a:gd name="connsiteX14" fmla="*/ 28575 w 282614"/>
                <a:gd name="connsiteY14" fmla="*/ 36100 h 351662"/>
                <a:gd name="connsiteX15" fmla="*/ 28575 w 282614"/>
                <a:gd name="connsiteY15" fmla="*/ 52864 h 351662"/>
                <a:gd name="connsiteX16" fmla="*/ 6477 w 282614"/>
                <a:gd name="connsiteY16" fmla="*/ 52864 h 351662"/>
                <a:gd name="connsiteX17" fmla="*/ 2572 w 282614"/>
                <a:gd name="connsiteY17" fmla="*/ 106871 h 351662"/>
                <a:gd name="connsiteX18" fmla="*/ 2572 w 282614"/>
                <a:gd name="connsiteY18" fmla="*/ 244793 h 351662"/>
                <a:gd name="connsiteX19" fmla="*/ 4191 w 282614"/>
                <a:gd name="connsiteY19" fmla="*/ 340614 h 351662"/>
                <a:gd name="connsiteX20" fmla="*/ 7430 w 282614"/>
                <a:gd name="connsiteY20" fmla="*/ 348139 h 351662"/>
                <a:gd name="connsiteX21" fmla="*/ 15240 w 282614"/>
                <a:gd name="connsiteY21" fmla="*/ 351663 h 351662"/>
                <a:gd name="connsiteX22" fmla="*/ 122587 w 282614"/>
                <a:gd name="connsiteY22" fmla="*/ 351663 h 351662"/>
                <a:gd name="connsiteX23" fmla="*/ 267367 w 282614"/>
                <a:gd name="connsiteY23" fmla="*/ 216408 h 351662"/>
                <a:gd name="connsiteX24" fmla="*/ 163830 w 282614"/>
                <a:gd name="connsiteY24" fmla="*/ 36100 h 351662"/>
                <a:gd name="connsiteX25" fmla="*/ 208979 w 282614"/>
                <a:gd name="connsiteY25" fmla="*/ 36100 h 351662"/>
                <a:gd name="connsiteX26" fmla="*/ 208979 w 282614"/>
                <a:gd name="connsiteY26" fmla="*/ 52864 h 351662"/>
                <a:gd name="connsiteX27" fmla="*/ 163830 w 282614"/>
                <a:gd name="connsiteY27" fmla="*/ 52864 h 351662"/>
                <a:gd name="connsiteX28" fmla="*/ 73628 w 282614"/>
                <a:gd name="connsiteY28" fmla="*/ 36100 h 351662"/>
                <a:gd name="connsiteX29" fmla="*/ 118777 w 282614"/>
                <a:gd name="connsiteY29" fmla="*/ 36100 h 351662"/>
                <a:gd name="connsiteX30" fmla="*/ 118777 w 282614"/>
                <a:gd name="connsiteY30" fmla="*/ 52864 h 351662"/>
                <a:gd name="connsiteX31" fmla="*/ 73628 w 282614"/>
                <a:gd name="connsiteY31" fmla="*/ 52864 h 351662"/>
                <a:gd name="connsiteX32" fmla="*/ 136017 w 282614"/>
                <a:gd name="connsiteY32" fmla="*/ 245650 h 351662"/>
                <a:gd name="connsiteX33" fmla="*/ 136017 w 282614"/>
                <a:gd name="connsiteY33" fmla="*/ 243364 h 351662"/>
                <a:gd name="connsiteX34" fmla="*/ 138589 w 282614"/>
                <a:gd name="connsiteY34" fmla="*/ 200692 h 351662"/>
                <a:gd name="connsiteX35" fmla="*/ 126587 w 282614"/>
                <a:gd name="connsiteY35" fmla="*/ 150971 h 351662"/>
                <a:gd name="connsiteX36" fmla="*/ 113538 w 282614"/>
                <a:gd name="connsiteY36" fmla="*/ 115348 h 351662"/>
                <a:gd name="connsiteX37" fmla="*/ 102108 w 282614"/>
                <a:gd name="connsiteY37" fmla="*/ 173450 h 351662"/>
                <a:gd name="connsiteX38" fmla="*/ 122587 w 282614"/>
                <a:gd name="connsiteY38" fmla="*/ 208312 h 351662"/>
                <a:gd name="connsiteX39" fmla="*/ 131636 w 282614"/>
                <a:gd name="connsiteY39" fmla="*/ 242602 h 351662"/>
                <a:gd name="connsiteX40" fmla="*/ 131636 w 282614"/>
                <a:gd name="connsiteY40" fmla="*/ 245364 h 351662"/>
                <a:gd name="connsiteX41" fmla="*/ 61059 w 282614"/>
                <a:gd name="connsiteY41" fmla="*/ 163928 h 351662"/>
                <a:gd name="connsiteX42" fmla="*/ 142495 w 282614"/>
                <a:gd name="connsiteY42" fmla="*/ 93351 h 351662"/>
                <a:gd name="connsiteX43" fmla="*/ 213265 w 282614"/>
                <a:gd name="connsiteY43" fmla="*/ 169164 h 351662"/>
                <a:gd name="connsiteX44" fmla="*/ 213265 w 282614"/>
                <a:gd name="connsiteY44" fmla="*/ 169164 h 351662"/>
                <a:gd name="connsiteX45" fmla="*/ 137065 w 282614"/>
                <a:gd name="connsiteY45" fmla="*/ 245364 h 351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282614" h="351662">
                  <a:moveTo>
                    <a:pt x="267367" y="216408"/>
                  </a:moveTo>
                  <a:cubicBezTo>
                    <a:pt x="272091" y="216446"/>
                    <a:pt x="276805" y="216860"/>
                    <a:pt x="281464" y="217646"/>
                  </a:cubicBezTo>
                  <a:cubicBezTo>
                    <a:pt x="283380" y="180729"/>
                    <a:pt x="282903" y="143726"/>
                    <a:pt x="280035" y="106870"/>
                  </a:cubicBezTo>
                  <a:cubicBezTo>
                    <a:pt x="278035" y="82010"/>
                    <a:pt x="276416" y="68771"/>
                    <a:pt x="276130" y="52864"/>
                  </a:cubicBezTo>
                  <a:lnTo>
                    <a:pt x="254032" y="52864"/>
                  </a:lnTo>
                  <a:lnTo>
                    <a:pt x="254032" y="36100"/>
                  </a:lnTo>
                  <a:lnTo>
                    <a:pt x="276225" y="36100"/>
                  </a:lnTo>
                  <a:cubicBezTo>
                    <a:pt x="276225" y="28956"/>
                    <a:pt x="277178" y="20955"/>
                    <a:pt x="278130" y="11049"/>
                  </a:cubicBezTo>
                  <a:cubicBezTo>
                    <a:pt x="278239" y="8181"/>
                    <a:pt x="277050" y="5416"/>
                    <a:pt x="274892" y="3524"/>
                  </a:cubicBezTo>
                  <a:cubicBezTo>
                    <a:pt x="272909" y="1455"/>
                    <a:pt x="270226" y="198"/>
                    <a:pt x="267367" y="0"/>
                  </a:cubicBezTo>
                  <a:lnTo>
                    <a:pt x="15240" y="0"/>
                  </a:lnTo>
                  <a:cubicBezTo>
                    <a:pt x="12280" y="127"/>
                    <a:pt x="9483" y="1389"/>
                    <a:pt x="7430" y="3524"/>
                  </a:cubicBezTo>
                  <a:cubicBezTo>
                    <a:pt x="5335" y="5462"/>
                    <a:pt x="4159" y="8196"/>
                    <a:pt x="4191" y="11049"/>
                  </a:cubicBezTo>
                  <a:cubicBezTo>
                    <a:pt x="5239" y="20955"/>
                    <a:pt x="5810" y="28575"/>
                    <a:pt x="6191" y="36100"/>
                  </a:cubicBezTo>
                  <a:lnTo>
                    <a:pt x="28575" y="36100"/>
                  </a:lnTo>
                  <a:lnTo>
                    <a:pt x="28575" y="52864"/>
                  </a:lnTo>
                  <a:lnTo>
                    <a:pt x="6477" y="52864"/>
                  </a:lnTo>
                  <a:cubicBezTo>
                    <a:pt x="6477" y="68390"/>
                    <a:pt x="4572" y="82010"/>
                    <a:pt x="2572" y="106871"/>
                  </a:cubicBezTo>
                  <a:cubicBezTo>
                    <a:pt x="-857" y="152781"/>
                    <a:pt x="-857" y="198882"/>
                    <a:pt x="2572" y="244793"/>
                  </a:cubicBezTo>
                  <a:cubicBezTo>
                    <a:pt x="6001" y="287655"/>
                    <a:pt x="8573" y="296799"/>
                    <a:pt x="4191" y="340614"/>
                  </a:cubicBezTo>
                  <a:cubicBezTo>
                    <a:pt x="4159" y="343467"/>
                    <a:pt x="5335" y="346201"/>
                    <a:pt x="7430" y="348139"/>
                  </a:cubicBezTo>
                  <a:cubicBezTo>
                    <a:pt x="9483" y="350274"/>
                    <a:pt x="12280" y="351536"/>
                    <a:pt x="15240" y="351663"/>
                  </a:cubicBezTo>
                  <a:lnTo>
                    <a:pt x="122587" y="351663"/>
                  </a:lnTo>
                  <a:cubicBezTo>
                    <a:pt x="150114" y="274511"/>
                    <a:pt x="212217" y="216408"/>
                    <a:pt x="267367" y="216408"/>
                  </a:cubicBezTo>
                  <a:close/>
                  <a:moveTo>
                    <a:pt x="163830" y="36100"/>
                  </a:moveTo>
                  <a:lnTo>
                    <a:pt x="208979" y="36100"/>
                  </a:lnTo>
                  <a:lnTo>
                    <a:pt x="208979" y="52864"/>
                  </a:lnTo>
                  <a:lnTo>
                    <a:pt x="163830" y="52864"/>
                  </a:lnTo>
                  <a:close/>
                  <a:moveTo>
                    <a:pt x="73628" y="36100"/>
                  </a:moveTo>
                  <a:lnTo>
                    <a:pt x="118777" y="36100"/>
                  </a:lnTo>
                  <a:lnTo>
                    <a:pt x="118777" y="52864"/>
                  </a:lnTo>
                  <a:lnTo>
                    <a:pt x="73628" y="52864"/>
                  </a:lnTo>
                  <a:close/>
                  <a:moveTo>
                    <a:pt x="136017" y="245650"/>
                  </a:moveTo>
                  <a:cubicBezTo>
                    <a:pt x="136064" y="244888"/>
                    <a:pt x="136064" y="244125"/>
                    <a:pt x="136017" y="243364"/>
                  </a:cubicBezTo>
                  <a:cubicBezTo>
                    <a:pt x="136779" y="229172"/>
                    <a:pt x="136684" y="214789"/>
                    <a:pt x="138589" y="200692"/>
                  </a:cubicBezTo>
                  <a:cubicBezTo>
                    <a:pt x="141477" y="183177"/>
                    <a:pt x="137148" y="165240"/>
                    <a:pt x="126587" y="150971"/>
                  </a:cubicBezTo>
                  <a:cubicBezTo>
                    <a:pt x="117798" y="141229"/>
                    <a:pt x="113121" y="128462"/>
                    <a:pt x="113538" y="115348"/>
                  </a:cubicBezTo>
                  <a:cubicBezTo>
                    <a:pt x="102584" y="133445"/>
                    <a:pt x="94488" y="152591"/>
                    <a:pt x="102108" y="173450"/>
                  </a:cubicBezTo>
                  <a:cubicBezTo>
                    <a:pt x="107521" y="185845"/>
                    <a:pt x="114396" y="197549"/>
                    <a:pt x="122587" y="208312"/>
                  </a:cubicBezTo>
                  <a:cubicBezTo>
                    <a:pt x="130124" y="218044"/>
                    <a:pt x="133389" y="230418"/>
                    <a:pt x="131636" y="242602"/>
                  </a:cubicBezTo>
                  <a:cubicBezTo>
                    <a:pt x="131716" y="243521"/>
                    <a:pt x="131716" y="244445"/>
                    <a:pt x="131636" y="245364"/>
                  </a:cubicBezTo>
                  <a:cubicBezTo>
                    <a:pt x="89658" y="242365"/>
                    <a:pt x="58060" y="205905"/>
                    <a:pt x="61059" y="163928"/>
                  </a:cubicBezTo>
                  <a:cubicBezTo>
                    <a:pt x="64057" y="121951"/>
                    <a:pt x="100517" y="90353"/>
                    <a:pt x="142495" y="93351"/>
                  </a:cubicBezTo>
                  <a:cubicBezTo>
                    <a:pt x="182296" y="96195"/>
                    <a:pt x="213163" y="129261"/>
                    <a:pt x="213265" y="169164"/>
                  </a:cubicBezTo>
                  <a:lnTo>
                    <a:pt x="213265" y="169164"/>
                  </a:lnTo>
                  <a:cubicBezTo>
                    <a:pt x="213265" y="211248"/>
                    <a:pt x="179149" y="245364"/>
                    <a:pt x="137065" y="24536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4" name="Freihandform: Form 101">
              <a:extLst>
                <a:ext uri="{FF2B5EF4-FFF2-40B4-BE49-F238E27FC236}">
                  <a16:creationId xmlns:a16="http://schemas.microsoft.com/office/drawing/2014/main" id="{07381CE5-34E0-4385-BD31-6E588D3B2313}"/>
                </a:ext>
              </a:extLst>
            </p:cNvPr>
            <p:cNvSpPr/>
            <p:nvPr/>
          </p:nvSpPr>
          <p:spPr>
            <a:xfrm>
              <a:off x="6539556" y="3057413"/>
              <a:ext cx="259934" cy="144971"/>
            </a:xfrm>
            <a:custGeom>
              <a:avLst/>
              <a:gdLst>
                <a:gd name="connsiteX0" fmla="*/ 259012 w 259934"/>
                <a:gd name="connsiteY0" fmla="*/ 124778 h 144971"/>
                <a:gd name="connsiteX1" fmla="*/ 206244 w 259934"/>
                <a:gd name="connsiteY1" fmla="*/ 39053 h 144971"/>
                <a:gd name="connsiteX2" fmla="*/ 130044 w 259934"/>
                <a:gd name="connsiteY2" fmla="*/ 0 h 144971"/>
                <a:gd name="connsiteX3" fmla="*/ 885 w 259934"/>
                <a:gd name="connsiteY3" fmla="*/ 124587 h 144971"/>
                <a:gd name="connsiteX4" fmla="*/ 2694 w 259934"/>
                <a:gd name="connsiteY4" fmla="*/ 138494 h 144971"/>
                <a:gd name="connsiteX5" fmla="*/ 15267 w 259934"/>
                <a:gd name="connsiteY5" fmla="*/ 144971 h 144971"/>
                <a:gd name="connsiteX6" fmla="*/ 244439 w 259934"/>
                <a:gd name="connsiteY6" fmla="*/ 144971 h 144971"/>
                <a:gd name="connsiteX7" fmla="*/ 259934 w 259934"/>
                <a:gd name="connsiteY7" fmla="*/ 129797 h 144971"/>
                <a:gd name="connsiteX8" fmla="*/ 259012 w 259934"/>
                <a:gd name="connsiteY8" fmla="*/ 124397 h 144971"/>
                <a:gd name="connsiteX9" fmla="*/ 22030 w 259934"/>
                <a:gd name="connsiteY9" fmla="*/ 124778 h 144971"/>
                <a:gd name="connsiteX10" fmla="*/ 129853 w 259934"/>
                <a:gd name="connsiteY10" fmla="*/ 20003 h 144971"/>
                <a:gd name="connsiteX11" fmla="*/ 191861 w 259934"/>
                <a:gd name="connsiteY11" fmla="*/ 52959 h 144971"/>
                <a:gd name="connsiteX12" fmla="*/ 237676 w 259934"/>
                <a:gd name="connsiteY12" fmla="*/ 124873 h 144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9934" h="144971">
                  <a:moveTo>
                    <a:pt x="259012" y="124778"/>
                  </a:moveTo>
                  <a:cubicBezTo>
                    <a:pt x="247770" y="92751"/>
                    <a:pt x="229774" y="63515"/>
                    <a:pt x="206244" y="39053"/>
                  </a:cubicBezTo>
                  <a:cubicBezTo>
                    <a:pt x="181574" y="13907"/>
                    <a:pt x="154428" y="0"/>
                    <a:pt x="130044" y="0"/>
                  </a:cubicBezTo>
                  <a:cubicBezTo>
                    <a:pt x="88800" y="0"/>
                    <a:pt x="29555" y="43625"/>
                    <a:pt x="885" y="124587"/>
                  </a:cubicBezTo>
                  <a:cubicBezTo>
                    <a:pt x="-759" y="129246"/>
                    <a:pt x="-87" y="134410"/>
                    <a:pt x="2694" y="138494"/>
                  </a:cubicBezTo>
                  <a:cubicBezTo>
                    <a:pt x="5580" y="142572"/>
                    <a:pt x="10272" y="144988"/>
                    <a:pt x="15267" y="144971"/>
                  </a:cubicBezTo>
                  <a:lnTo>
                    <a:pt x="244439" y="144971"/>
                  </a:lnTo>
                  <a:cubicBezTo>
                    <a:pt x="252908" y="145059"/>
                    <a:pt x="259845" y="138266"/>
                    <a:pt x="259934" y="129797"/>
                  </a:cubicBezTo>
                  <a:cubicBezTo>
                    <a:pt x="259953" y="127956"/>
                    <a:pt x="259641" y="126127"/>
                    <a:pt x="259012" y="124397"/>
                  </a:cubicBezTo>
                  <a:close/>
                  <a:moveTo>
                    <a:pt x="22030" y="124778"/>
                  </a:moveTo>
                  <a:cubicBezTo>
                    <a:pt x="47176" y="59817"/>
                    <a:pt x="96897" y="20003"/>
                    <a:pt x="129853" y="20003"/>
                  </a:cubicBezTo>
                  <a:cubicBezTo>
                    <a:pt x="148903" y="20003"/>
                    <a:pt x="171001" y="31718"/>
                    <a:pt x="191861" y="52959"/>
                  </a:cubicBezTo>
                  <a:cubicBezTo>
                    <a:pt x="211761" y="73647"/>
                    <a:pt x="227336" y="98095"/>
                    <a:pt x="237676" y="1248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5" name="Freihandform: Form 102">
              <a:extLst>
                <a:ext uri="{FF2B5EF4-FFF2-40B4-BE49-F238E27FC236}">
                  <a16:creationId xmlns:a16="http://schemas.microsoft.com/office/drawing/2014/main" id="{16F20C58-D791-41B1-80C3-C6DA9862187F}"/>
                </a:ext>
              </a:extLst>
            </p:cNvPr>
            <p:cNvSpPr/>
            <p:nvPr/>
          </p:nvSpPr>
          <p:spPr>
            <a:xfrm>
              <a:off x="6684363" y="3112182"/>
              <a:ext cx="21145" cy="21145"/>
            </a:xfrm>
            <a:custGeom>
              <a:avLst/>
              <a:gdLst>
                <a:gd name="connsiteX0" fmla="*/ 10573 w 21145"/>
                <a:gd name="connsiteY0" fmla="*/ 0 h 21145"/>
                <a:gd name="connsiteX1" fmla="*/ 0 w 21145"/>
                <a:gd name="connsiteY1" fmla="*/ 10573 h 21145"/>
                <a:gd name="connsiteX2" fmla="*/ 10573 w 21145"/>
                <a:gd name="connsiteY2" fmla="*/ 21146 h 21145"/>
                <a:gd name="connsiteX3" fmla="*/ 21146 w 21145"/>
                <a:gd name="connsiteY3" fmla="*/ 10573 h 21145"/>
                <a:gd name="connsiteX4" fmla="*/ 10573 w 21145"/>
                <a:gd name="connsiteY4" fmla="*/ 0 h 21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145" h="21145">
                  <a:moveTo>
                    <a:pt x="10573" y="0"/>
                  </a:moveTo>
                  <a:cubicBezTo>
                    <a:pt x="4734" y="0"/>
                    <a:pt x="0" y="4734"/>
                    <a:pt x="0" y="10573"/>
                  </a:cubicBezTo>
                  <a:cubicBezTo>
                    <a:pt x="0" y="16412"/>
                    <a:pt x="4734" y="21146"/>
                    <a:pt x="10573" y="21146"/>
                  </a:cubicBezTo>
                  <a:cubicBezTo>
                    <a:pt x="16412" y="21146"/>
                    <a:pt x="21146" y="16412"/>
                    <a:pt x="21146" y="10573"/>
                  </a:cubicBezTo>
                  <a:cubicBezTo>
                    <a:pt x="21146" y="4734"/>
                    <a:pt x="16412" y="0"/>
                    <a:pt x="10573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6" name="Freihandform: Form 103">
              <a:extLst>
                <a:ext uri="{FF2B5EF4-FFF2-40B4-BE49-F238E27FC236}">
                  <a16:creationId xmlns:a16="http://schemas.microsoft.com/office/drawing/2014/main" id="{210A697C-39B7-414A-B5A9-7FF45A674411}"/>
                </a:ext>
              </a:extLst>
            </p:cNvPr>
            <p:cNvSpPr/>
            <p:nvPr/>
          </p:nvSpPr>
          <p:spPr>
            <a:xfrm>
              <a:off x="6704747" y="3143803"/>
              <a:ext cx="21145" cy="21145"/>
            </a:xfrm>
            <a:custGeom>
              <a:avLst/>
              <a:gdLst>
                <a:gd name="connsiteX0" fmla="*/ 10763 w 21145"/>
                <a:gd name="connsiteY0" fmla="*/ 2 h 21145"/>
                <a:gd name="connsiteX1" fmla="*/ 2 w 21145"/>
                <a:gd name="connsiteY1" fmla="*/ 10382 h 21145"/>
                <a:gd name="connsiteX2" fmla="*/ 10382 w 21145"/>
                <a:gd name="connsiteY2" fmla="*/ 21144 h 21145"/>
                <a:gd name="connsiteX3" fmla="*/ 21144 w 21145"/>
                <a:gd name="connsiteY3" fmla="*/ 10763 h 21145"/>
                <a:gd name="connsiteX4" fmla="*/ 21146 w 21145"/>
                <a:gd name="connsiteY4" fmla="*/ 10574 h 21145"/>
                <a:gd name="connsiteX5" fmla="*/ 10763 w 21145"/>
                <a:gd name="connsiteY5" fmla="*/ 2 h 21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145" h="21145">
                  <a:moveTo>
                    <a:pt x="10763" y="2"/>
                  </a:moveTo>
                  <a:cubicBezTo>
                    <a:pt x="4925" y="-103"/>
                    <a:pt x="107" y="4544"/>
                    <a:pt x="2" y="10382"/>
                  </a:cubicBezTo>
                  <a:cubicBezTo>
                    <a:pt x="-103" y="16221"/>
                    <a:pt x="4544" y="21039"/>
                    <a:pt x="10382" y="21144"/>
                  </a:cubicBezTo>
                  <a:cubicBezTo>
                    <a:pt x="16221" y="21249"/>
                    <a:pt x="21039" y="16602"/>
                    <a:pt x="21144" y="10763"/>
                  </a:cubicBezTo>
                  <a:cubicBezTo>
                    <a:pt x="21145" y="10700"/>
                    <a:pt x="21146" y="10637"/>
                    <a:pt x="21146" y="10574"/>
                  </a:cubicBezTo>
                  <a:cubicBezTo>
                    <a:pt x="21146" y="4809"/>
                    <a:pt x="16528" y="106"/>
                    <a:pt x="10763" y="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7" name="Freihandform: Form 104">
              <a:extLst>
                <a:ext uri="{FF2B5EF4-FFF2-40B4-BE49-F238E27FC236}">
                  <a16:creationId xmlns:a16="http://schemas.microsoft.com/office/drawing/2014/main" id="{48E25D63-4508-4FA2-9F95-43EC2A122667}"/>
                </a:ext>
              </a:extLst>
            </p:cNvPr>
            <p:cNvSpPr/>
            <p:nvPr/>
          </p:nvSpPr>
          <p:spPr>
            <a:xfrm>
              <a:off x="6663885" y="3143805"/>
              <a:ext cx="21145" cy="21145"/>
            </a:xfrm>
            <a:custGeom>
              <a:avLst/>
              <a:gdLst>
                <a:gd name="connsiteX0" fmla="*/ 10573 w 21145"/>
                <a:gd name="connsiteY0" fmla="*/ 0 h 21145"/>
                <a:gd name="connsiteX1" fmla="*/ 0 w 21145"/>
                <a:gd name="connsiteY1" fmla="*/ 10573 h 21145"/>
                <a:gd name="connsiteX2" fmla="*/ 10573 w 21145"/>
                <a:gd name="connsiteY2" fmla="*/ 21146 h 21145"/>
                <a:gd name="connsiteX3" fmla="*/ 21146 w 21145"/>
                <a:gd name="connsiteY3" fmla="*/ 10573 h 21145"/>
                <a:gd name="connsiteX4" fmla="*/ 10573 w 21145"/>
                <a:gd name="connsiteY4" fmla="*/ 0 h 21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145" h="21145">
                  <a:moveTo>
                    <a:pt x="10573" y="0"/>
                  </a:moveTo>
                  <a:cubicBezTo>
                    <a:pt x="4734" y="0"/>
                    <a:pt x="0" y="4734"/>
                    <a:pt x="0" y="10573"/>
                  </a:cubicBezTo>
                  <a:cubicBezTo>
                    <a:pt x="0" y="16412"/>
                    <a:pt x="4734" y="21146"/>
                    <a:pt x="10573" y="21146"/>
                  </a:cubicBezTo>
                  <a:cubicBezTo>
                    <a:pt x="16412" y="21146"/>
                    <a:pt x="21146" y="16412"/>
                    <a:pt x="21146" y="10573"/>
                  </a:cubicBezTo>
                  <a:cubicBezTo>
                    <a:pt x="21146" y="4734"/>
                    <a:pt x="16412" y="0"/>
                    <a:pt x="10573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8" name="Freihandform: Form 105">
              <a:extLst>
                <a:ext uri="{FF2B5EF4-FFF2-40B4-BE49-F238E27FC236}">
                  <a16:creationId xmlns:a16="http://schemas.microsoft.com/office/drawing/2014/main" id="{A9C20FC5-BA97-4991-B64E-B28198B9E47C}"/>
                </a:ext>
              </a:extLst>
            </p:cNvPr>
            <p:cNvSpPr/>
            <p:nvPr/>
          </p:nvSpPr>
          <p:spPr>
            <a:xfrm>
              <a:off x="6542574" y="2998834"/>
              <a:ext cx="43110" cy="50672"/>
            </a:xfrm>
            <a:custGeom>
              <a:avLst/>
              <a:gdLst>
                <a:gd name="connsiteX0" fmla="*/ 248 w 43110"/>
                <a:gd name="connsiteY0" fmla="*/ 50673 h 50672"/>
                <a:gd name="connsiteX1" fmla="*/ 13869 w 43110"/>
                <a:gd name="connsiteY1" fmla="*/ 43910 h 50672"/>
                <a:gd name="connsiteX2" fmla="*/ 32919 w 43110"/>
                <a:gd name="connsiteY2" fmla="*/ 23336 h 50672"/>
                <a:gd name="connsiteX3" fmla="*/ 43111 w 43110"/>
                <a:gd name="connsiteY3" fmla="*/ 0 h 50672"/>
                <a:gd name="connsiteX4" fmla="*/ 93 w 43110"/>
                <a:gd name="connsiteY4" fmla="*/ 48811 h 50672"/>
                <a:gd name="connsiteX5" fmla="*/ 248 w 43110"/>
                <a:gd name="connsiteY5" fmla="*/ 50673 h 50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110" h="50672">
                  <a:moveTo>
                    <a:pt x="248" y="50673"/>
                  </a:moveTo>
                  <a:cubicBezTo>
                    <a:pt x="4820" y="48387"/>
                    <a:pt x="9202" y="45815"/>
                    <a:pt x="13869" y="43910"/>
                  </a:cubicBezTo>
                  <a:cubicBezTo>
                    <a:pt x="23045" y="40347"/>
                    <a:pt x="30071" y="32759"/>
                    <a:pt x="32919" y="23336"/>
                  </a:cubicBezTo>
                  <a:cubicBezTo>
                    <a:pt x="35872" y="15240"/>
                    <a:pt x="39777" y="7430"/>
                    <a:pt x="43111" y="0"/>
                  </a:cubicBezTo>
                  <a:cubicBezTo>
                    <a:pt x="17753" y="1600"/>
                    <a:pt x="-1507" y="23453"/>
                    <a:pt x="93" y="48811"/>
                  </a:cubicBezTo>
                  <a:cubicBezTo>
                    <a:pt x="132" y="49433"/>
                    <a:pt x="184" y="50053"/>
                    <a:pt x="248" y="506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89" name="Grafik 3">
            <a:extLst>
              <a:ext uri="{FF2B5EF4-FFF2-40B4-BE49-F238E27FC236}">
                <a16:creationId xmlns:a16="http://schemas.microsoft.com/office/drawing/2014/main" id="{225173B6-6C2E-41C0-A0C4-E8CAA5826034}"/>
              </a:ext>
            </a:extLst>
          </p:cNvPr>
          <p:cNvGrpSpPr/>
          <p:nvPr/>
        </p:nvGrpSpPr>
        <p:grpSpPr>
          <a:xfrm>
            <a:off x="8005506" y="2272977"/>
            <a:ext cx="433286" cy="566066"/>
            <a:chOff x="4386261" y="3186188"/>
            <a:chExt cx="369235" cy="482387"/>
          </a:xfrm>
          <a:solidFill>
            <a:srgbClr val="808080"/>
          </a:solidFill>
        </p:grpSpPr>
        <p:sp>
          <p:nvSpPr>
            <p:cNvPr id="190" name="Freihandform: Form 10">
              <a:extLst>
                <a:ext uri="{FF2B5EF4-FFF2-40B4-BE49-F238E27FC236}">
                  <a16:creationId xmlns:a16="http://schemas.microsoft.com/office/drawing/2014/main" id="{454422FB-262A-4666-B07F-0AD846A56671}"/>
                </a:ext>
              </a:extLst>
            </p:cNvPr>
            <p:cNvSpPr/>
            <p:nvPr/>
          </p:nvSpPr>
          <p:spPr>
            <a:xfrm>
              <a:off x="4531613" y="3246481"/>
              <a:ext cx="86296" cy="45521"/>
            </a:xfrm>
            <a:custGeom>
              <a:avLst/>
              <a:gdLst>
                <a:gd name="connsiteX0" fmla="*/ 286 w 86296"/>
                <a:gd name="connsiteY0" fmla="*/ 29546 h 45521"/>
                <a:gd name="connsiteX1" fmla="*/ 53054 w 86296"/>
                <a:gd name="connsiteY1" fmla="*/ 20498 h 45521"/>
                <a:gd name="connsiteX2" fmla="*/ 0 w 86296"/>
                <a:gd name="connsiteY2" fmla="*/ 32023 h 45521"/>
                <a:gd name="connsiteX3" fmla="*/ 52102 w 86296"/>
                <a:gd name="connsiteY3" fmla="*/ 39833 h 45521"/>
                <a:gd name="connsiteX4" fmla="*/ 86296 w 86296"/>
                <a:gd name="connsiteY4" fmla="*/ 22879 h 45521"/>
                <a:gd name="connsiteX5" fmla="*/ 73057 w 86296"/>
                <a:gd name="connsiteY5" fmla="*/ 10877 h 45521"/>
                <a:gd name="connsiteX6" fmla="*/ 286 w 86296"/>
                <a:gd name="connsiteY6" fmla="*/ 29546 h 45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6296" h="45521">
                  <a:moveTo>
                    <a:pt x="286" y="29546"/>
                  </a:moveTo>
                  <a:cubicBezTo>
                    <a:pt x="32385" y="8115"/>
                    <a:pt x="53054" y="20498"/>
                    <a:pt x="53054" y="20498"/>
                  </a:cubicBezTo>
                  <a:cubicBezTo>
                    <a:pt x="34539" y="17013"/>
                    <a:pt x="15401" y="21171"/>
                    <a:pt x="0" y="32023"/>
                  </a:cubicBezTo>
                  <a:cubicBezTo>
                    <a:pt x="19050" y="47739"/>
                    <a:pt x="36862" y="48882"/>
                    <a:pt x="52102" y="39833"/>
                  </a:cubicBezTo>
                  <a:cubicBezTo>
                    <a:pt x="59531" y="35357"/>
                    <a:pt x="86296" y="22879"/>
                    <a:pt x="86296" y="22879"/>
                  </a:cubicBezTo>
                  <a:cubicBezTo>
                    <a:pt x="82599" y="18153"/>
                    <a:pt x="78121" y="14095"/>
                    <a:pt x="73057" y="10877"/>
                  </a:cubicBezTo>
                  <a:cubicBezTo>
                    <a:pt x="10096" y="-21793"/>
                    <a:pt x="286" y="29546"/>
                    <a:pt x="286" y="2954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1" name="Freihandform: Form 11">
              <a:extLst>
                <a:ext uri="{FF2B5EF4-FFF2-40B4-BE49-F238E27FC236}">
                  <a16:creationId xmlns:a16="http://schemas.microsoft.com/office/drawing/2014/main" id="{308A8642-4FFF-4872-9953-704B2CAC6970}"/>
                </a:ext>
              </a:extLst>
            </p:cNvPr>
            <p:cNvSpPr/>
            <p:nvPr/>
          </p:nvSpPr>
          <p:spPr>
            <a:xfrm>
              <a:off x="4386262" y="3209734"/>
              <a:ext cx="123194" cy="75153"/>
            </a:xfrm>
            <a:custGeom>
              <a:avLst/>
              <a:gdLst>
                <a:gd name="connsiteX0" fmla="*/ 42386 w 123194"/>
                <a:gd name="connsiteY0" fmla="*/ 54864 h 75153"/>
                <a:gd name="connsiteX1" fmla="*/ 43053 w 123194"/>
                <a:gd name="connsiteY1" fmla="*/ 55531 h 75153"/>
                <a:gd name="connsiteX2" fmla="*/ 60484 w 123194"/>
                <a:gd name="connsiteY2" fmla="*/ 69056 h 75153"/>
                <a:gd name="connsiteX3" fmla="*/ 87154 w 123194"/>
                <a:gd name="connsiteY3" fmla="*/ 75152 h 75153"/>
                <a:gd name="connsiteX4" fmla="*/ 122396 w 123194"/>
                <a:gd name="connsiteY4" fmla="*/ 67628 h 75153"/>
                <a:gd name="connsiteX5" fmla="*/ 120968 w 123194"/>
                <a:gd name="connsiteY5" fmla="*/ 65723 h 75153"/>
                <a:gd name="connsiteX6" fmla="*/ 120015 w 123194"/>
                <a:gd name="connsiteY6" fmla="*/ 65246 h 75153"/>
                <a:gd name="connsiteX7" fmla="*/ 120015 w 123194"/>
                <a:gd name="connsiteY7" fmla="*/ 65246 h 75153"/>
                <a:gd name="connsiteX8" fmla="*/ 108966 w 123194"/>
                <a:gd name="connsiteY8" fmla="*/ 53626 h 75153"/>
                <a:gd name="connsiteX9" fmla="*/ 84011 w 123194"/>
                <a:gd name="connsiteY9" fmla="*/ 36004 h 75153"/>
                <a:gd name="connsiteX10" fmla="*/ 50006 w 123194"/>
                <a:gd name="connsiteY10" fmla="*/ 26479 h 75153"/>
                <a:gd name="connsiteX11" fmla="*/ 57150 w 123194"/>
                <a:gd name="connsiteY11" fmla="*/ 25527 h 75153"/>
                <a:gd name="connsiteX12" fmla="*/ 89726 w 123194"/>
                <a:gd name="connsiteY12" fmla="*/ 35052 h 75153"/>
                <a:gd name="connsiteX13" fmla="*/ 113633 w 123194"/>
                <a:gd name="connsiteY13" fmla="*/ 53530 h 75153"/>
                <a:gd name="connsiteX14" fmla="*/ 122111 w 123194"/>
                <a:gd name="connsiteY14" fmla="*/ 63055 h 75153"/>
                <a:gd name="connsiteX15" fmla="*/ 123063 w 123194"/>
                <a:gd name="connsiteY15" fmla="*/ 64199 h 75153"/>
                <a:gd name="connsiteX16" fmla="*/ 123063 w 123194"/>
                <a:gd name="connsiteY16" fmla="*/ 61817 h 75153"/>
                <a:gd name="connsiteX17" fmla="*/ 123063 w 123194"/>
                <a:gd name="connsiteY17" fmla="*/ 53912 h 75153"/>
                <a:gd name="connsiteX18" fmla="*/ 117539 w 123194"/>
                <a:gd name="connsiteY18" fmla="*/ 32576 h 75153"/>
                <a:gd name="connsiteX19" fmla="*/ 55245 w 123194"/>
                <a:gd name="connsiteY19" fmla="*/ 0 h 75153"/>
                <a:gd name="connsiteX20" fmla="*/ 25241 w 123194"/>
                <a:gd name="connsiteY20" fmla="*/ 2857 h 75153"/>
                <a:gd name="connsiteX21" fmla="*/ 0 w 123194"/>
                <a:gd name="connsiteY21" fmla="*/ 14478 h 75153"/>
                <a:gd name="connsiteX22" fmla="*/ 42386 w 123194"/>
                <a:gd name="connsiteY22" fmla="*/ 54864 h 75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194" h="75153">
                  <a:moveTo>
                    <a:pt x="42386" y="54864"/>
                  </a:moveTo>
                  <a:lnTo>
                    <a:pt x="43053" y="55531"/>
                  </a:lnTo>
                  <a:cubicBezTo>
                    <a:pt x="48012" y="61040"/>
                    <a:pt x="53915" y="65621"/>
                    <a:pt x="60484" y="69056"/>
                  </a:cubicBezTo>
                  <a:cubicBezTo>
                    <a:pt x="68779" y="73134"/>
                    <a:pt x="77911" y="75222"/>
                    <a:pt x="87154" y="75152"/>
                  </a:cubicBezTo>
                  <a:cubicBezTo>
                    <a:pt x="99269" y="74875"/>
                    <a:pt x="111224" y="72322"/>
                    <a:pt x="122396" y="67628"/>
                  </a:cubicBezTo>
                  <a:lnTo>
                    <a:pt x="120968" y="65723"/>
                  </a:lnTo>
                  <a:lnTo>
                    <a:pt x="120015" y="65246"/>
                  </a:lnTo>
                  <a:lnTo>
                    <a:pt x="120015" y="65246"/>
                  </a:lnTo>
                  <a:cubicBezTo>
                    <a:pt x="116649" y="61083"/>
                    <a:pt x="112954" y="57197"/>
                    <a:pt x="108966" y="53626"/>
                  </a:cubicBezTo>
                  <a:cubicBezTo>
                    <a:pt x="101502" y="46627"/>
                    <a:pt x="93104" y="40696"/>
                    <a:pt x="84011" y="36004"/>
                  </a:cubicBezTo>
                  <a:cubicBezTo>
                    <a:pt x="73339" y="30815"/>
                    <a:pt x="61821" y="27588"/>
                    <a:pt x="50006" y="26479"/>
                  </a:cubicBezTo>
                  <a:cubicBezTo>
                    <a:pt x="52345" y="25901"/>
                    <a:pt x="54741" y="25582"/>
                    <a:pt x="57150" y="25527"/>
                  </a:cubicBezTo>
                  <a:cubicBezTo>
                    <a:pt x="68644" y="25869"/>
                    <a:pt x="79858" y="29148"/>
                    <a:pt x="89726" y="35052"/>
                  </a:cubicBezTo>
                  <a:cubicBezTo>
                    <a:pt x="98573" y="39982"/>
                    <a:pt x="106632" y="46211"/>
                    <a:pt x="113633" y="53530"/>
                  </a:cubicBezTo>
                  <a:cubicBezTo>
                    <a:pt x="116626" y="56553"/>
                    <a:pt x="119455" y="59733"/>
                    <a:pt x="122111" y="63055"/>
                  </a:cubicBezTo>
                  <a:lnTo>
                    <a:pt x="123063" y="64199"/>
                  </a:lnTo>
                  <a:cubicBezTo>
                    <a:pt x="123063" y="64199"/>
                    <a:pt x="123063" y="63341"/>
                    <a:pt x="123063" y="61817"/>
                  </a:cubicBezTo>
                  <a:cubicBezTo>
                    <a:pt x="123239" y="59185"/>
                    <a:pt x="123239" y="56544"/>
                    <a:pt x="123063" y="53912"/>
                  </a:cubicBezTo>
                  <a:cubicBezTo>
                    <a:pt x="122477" y="46532"/>
                    <a:pt x="120607" y="39312"/>
                    <a:pt x="117539" y="32576"/>
                  </a:cubicBezTo>
                  <a:cubicBezTo>
                    <a:pt x="110109" y="16097"/>
                    <a:pt x="93155" y="0"/>
                    <a:pt x="55245" y="0"/>
                  </a:cubicBezTo>
                  <a:cubicBezTo>
                    <a:pt x="45179" y="70"/>
                    <a:pt x="35139" y="1026"/>
                    <a:pt x="25241" y="2857"/>
                  </a:cubicBezTo>
                  <a:cubicBezTo>
                    <a:pt x="16214" y="5229"/>
                    <a:pt x="7672" y="9162"/>
                    <a:pt x="0" y="14478"/>
                  </a:cubicBezTo>
                  <a:cubicBezTo>
                    <a:pt x="0" y="14478"/>
                    <a:pt x="33528" y="44863"/>
                    <a:pt x="42386" y="5486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2" name="Freihandform: Form 12">
              <a:extLst>
                <a:ext uri="{FF2B5EF4-FFF2-40B4-BE49-F238E27FC236}">
                  <a16:creationId xmlns:a16="http://schemas.microsoft.com/office/drawing/2014/main" id="{64781E0D-E129-4121-A6A0-CA015A981F01}"/>
                </a:ext>
              </a:extLst>
            </p:cNvPr>
            <p:cNvSpPr/>
            <p:nvPr/>
          </p:nvSpPr>
          <p:spPr>
            <a:xfrm>
              <a:off x="4533435" y="3345369"/>
              <a:ext cx="59567" cy="99917"/>
            </a:xfrm>
            <a:custGeom>
              <a:avLst/>
              <a:gdLst>
                <a:gd name="connsiteX0" fmla="*/ 31801 w 59567"/>
                <a:gd name="connsiteY0" fmla="*/ 96774 h 99917"/>
                <a:gd name="connsiteX1" fmla="*/ 35040 w 59567"/>
                <a:gd name="connsiteY1" fmla="*/ 99917 h 99917"/>
                <a:gd name="connsiteX2" fmla="*/ 35040 w 59567"/>
                <a:gd name="connsiteY2" fmla="*/ 99917 h 99917"/>
                <a:gd name="connsiteX3" fmla="*/ 43517 w 59567"/>
                <a:gd name="connsiteY3" fmla="*/ 90392 h 99917"/>
                <a:gd name="connsiteX4" fmla="*/ 25515 w 59567"/>
                <a:gd name="connsiteY4" fmla="*/ 74200 h 99917"/>
                <a:gd name="connsiteX5" fmla="*/ 23991 w 59567"/>
                <a:gd name="connsiteY5" fmla="*/ 72390 h 99917"/>
                <a:gd name="connsiteX6" fmla="*/ 57805 w 59567"/>
                <a:gd name="connsiteY6" fmla="*/ 54293 h 99917"/>
                <a:gd name="connsiteX7" fmla="*/ 59436 w 59567"/>
                <a:gd name="connsiteY7" fmla="*/ 51042 h 99917"/>
                <a:gd name="connsiteX8" fmla="*/ 56185 w 59567"/>
                <a:gd name="connsiteY8" fmla="*/ 49411 h 99917"/>
                <a:gd name="connsiteX9" fmla="*/ 55423 w 59567"/>
                <a:gd name="connsiteY9" fmla="*/ 49816 h 99917"/>
                <a:gd name="connsiteX10" fmla="*/ 20943 w 59567"/>
                <a:gd name="connsiteY10" fmla="*/ 68390 h 99917"/>
                <a:gd name="connsiteX11" fmla="*/ 7608 w 59567"/>
                <a:gd name="connsiteY11" fmla="*/ 42958 h 99917"/>
                <a:gd name="connsiteX12" fmla="*/ 36754 w 59567"/>
                <a:gd name="connsiteY12" fmla="*/ 27337 h 99917"/>
                <a:gd name="connsiteX13" fmla="*/ 37802 w 59567"/>
                <a:gd name="connsiteY13" fmla="*/ 23908 h 99917"/>
                <a:gd name="connsiteX14" fmla="*/ 34373 w 59567"/>
                <a:gd name="connsiteY14" fmla="*/ 22955 h 99917"/>
                <a:gd name="connsiteX15" fmla="*/ 5798 w 59567"/>
                <a:gd name="connsiteY15" fmla="*/ 38100 h 99917"/>
                <a:gd name="connsiteX16" fmla="*/ 2941 w 59567"/>
                <a:gd name="connsiteY16" fmla="*/ 0 h 99917"/>
                <a:gd name="connsiteX17" fmla="*/ 83 w 59567"/>
                <a:gd name="connsiteY17" fmla="*/ 27242 h 99917"/>
                <a:gd name="connsiteX18" fmla="*/ 31801 w 59567"/>
                <a:gd name="connsiteY18" fmla="*/ 96774 h 99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9567" h="99917">
                  <a:moveTo>
                    <a:pt x="31801" y="96774"/>
                  </a:moveTo>
                  <a:cubicBezTo>
                    <a:pt x="32849" y="97917"/>
                    <a:pt x="33992" y="98965"/>
                    <a:pt x="35040" y="99917"/>
                  </a:cubicBezTo>
                  <a:lnTo>
                    <a:pt x="35040" y="99917"/>
                  </a:lnTo>
                  <a:lnTo>
                    <a:pt x="43517" y="90392"/>
                  </a:lnTo>
                  <a:cubicBezTo>
                    <a:pt x="37088" y="85491"/>
                    <a:pt x="31068" y="80076"/>
                    <a:pt x="25515" y="74200"/>
                  </a:cubicBezTo>
                  <a:cubicBezTo>
                    <a:pt x="25039" y="73628"/>
                    <a:pt x="24562" y="72962"/>
                    <a:pt x="23991" y="72390"/>
                  </a:cubicBezTo>
                  <a:lnTo>
                    <a:pt x="57805" y="54293"/>
                  </a:lnTo>
                  <a:cubicBezTo>
                    <a:pt x="59153" y="53845"/>
                    <a:pt x="59883" y="52390"/>
                    <a:pt x="59436" y="51042"/>
                  </a:cubicBezTo>
                  <a:cubicBezTo>
                    <a:pt x="58988" y="49694"/>
                    <a:pt x="57533" y="48963"/>
                    <a:pt x="56185" y="49411"/>
                  </a:cubicBezTo>
                  <a:cubicBezTo>
                    <a:pt x="55910" y="49502"/>
                    <a:pt x="55653" y="49639"/>
                    <a:pt x="55423" y="49816"/>
                  </a:cubicBezTo>
                  <a:lnTo>
                    <a:pt x="20943" y="68390"/>
                  </a:lnTo>
                  <a:cubicBezTo>
                    <a:pt x="15223" y="60644"/>
                    <a:pt x="10726" y="52067"/>
                    <a:pt x="7608" y="42958"/>
                  </a:cubicBezTo>
                  <a:lnTo>
                    <a:pt x="36754" y="27337"/>
                  </a:lnTo>
                  <a:cubicBezTo>
                    <a:pt x="37974" y="26666"/>
                    <a:pt x="38439" y="25146"/>
                    <a:pt x="37802" y="23908"/>
                  </a:cubicBezTo>
                  <a:cubicBezTo>
                    <a:pt x="37099" y="22723"/>
                    <a:pt x="35587" y="22303"/>
                    <a:pt x="34373" y="22955"/>
                  </a:cubicBezTo>
                  <a:lnTo>
                    <a:pt x="5798" y="38100"/>
                  </a:lnTo>
                  <a:cubicBezTo>
                    <a:pt x="2282" y="25723"/>
                    <a:pt x="1310" y="12763"/>
                    <a:pt x="2941" y="0"/>
                  </a:cubicBezTo>
                  <a:cubicBezTo>
                    <a:pt x="659" y="8892"/>
                    <a:pt x="-303" y="18070"/>
                    <a:pt x="83" y="27242"/>
                  </a:cubicBezTo>
                  <a:cubicBezTo>
                    <a:pt x="1354" y="53627"/>
                    <a:pt x="12708" y="78518"/>
                    <a:pt x="31801" y="9677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3" name="Freihandform: Form 13">
              <a:extLst>
                <a:ext uri="{FF2B5EF4-FFF2-40B4-BE49-F238E27FC236}">
                  <a16:creationId xmlns:a16="http://schemas.microsoft.com/office/drawing/2014/main" id="{646E0964-7233-4025-93EE-3AD08EF42611}"/>
                </a:ext>
              </a:extLst>
            </p:cNvPr>
            <p:cNvSpPr/>
            <p:nvPr/>
          </p:nvSpPr>
          <p:spPr>
            <a:xfrm>
              <a:off x="4386261" y="3186188"/>
              <a:ext cx="369235" cy="482387"/>
            </a:xfrm>
            <a:custGeom>
              <a:avLst/>
              <a:gdLst>
                <a:gd name="connsiteX0" fmla="*/ 365094 w 369235"/>
                <a:gd name="connsiteY0" fmla="*/ 263671 h 482387"/>
                <a:gd name="connsiteX1" fmla="*/ 336519 w 369235"/>
                <a:gd name="connsiteY1" fmla="*/ 200425 h 482387"/>
                <a:gd name="connsiteX2" fmla="*/ 224600 w 369235"/>
                <a:gd name="connsiteY2" fmla="*/ 126416 h 482387"/>
                <a:gd name="connsiteX3" fmla="*/ 149162 w 369235"/>
                <a:gd name="connsiteY3" fmla="*/ 124701 h 482387"/>
                <a:gd name="connsiteX4" fmla="*/ 143161 w 369235"/>
                <a:gd name="connsiteY4" fmla="*/ 115176 h 482387"/>
                <a:gd name="connsiteX5" fmla="*/ 137637 w 369235"/>
                <a:gd name="connsiteY5" fmla="*/ 102508 h 482387"/>
                <a:gd name="connsiteX6" fmla="*/ 133350 w 369235"/>
                <a:gd name="connsiteY6" fmla="*/ 61265 h 482387"/>
                <a:gd name="connsiteX7" fmla="*/ 168117 w 369235"/>
                <a:gd name="connsiteY7" fmla="*/ 20593 h 482387"/>
                <a:gd name="connsiteX8" fmla="*/ 134684 w 369235"/>
                <a:gd name="connsiteY8" fmla="*/ 63456 h 482387"/>
                <a:gd name="connsiteX9" fmla="*/ 179737 w 369235"/>
                <a:gd name="connsiteY9" fmla="*/ 36024 h 482387"/>
                <a:gd name="connsiteX10" fmla="*/ 195168 w 369235"/>
                <a:gd name="connsiteY10" fmla="*/ 1162 h 482387"/>
                <a:gd name="connsiteX11" fmla="*/ 176975 w 369235"/>
                <a:gd name="connsiteY11" fmla="*/ 495 h 482387"/>
                <a:gd name="connsiteX12" fmla="*/ 132779 w 369235"/>
                <a:gd name="connsiteY12" fmla="*/ 60884 h 482387"/>
                <a:gd name="connsiteX13" fmla="*/ 130398 w 369235"/>
                <a:gd name="connsiteY13" fmla="*/ 86316 h 482387"/>
                <a:gd name="connsiteX14" fmla="*/ 132779 w 369235"/>
                <a:gd name="connsiteY14" fmla="*/ 104032 h 482387"/>
                <a:gd name="connsiteX15" fmla="*/ 136684 w 369235"/>
                <a:gd name="connsiteY15" fmla="*/ 117177 h 482387"/>
                <a:gd name="connsiteX16" fmla="*/ 140685 w 369235"/>
                <a:gd name="connsiteY16" fmla="*/ 126702 h 482387"/>
                <a:gd name="connsiteX17" fmla="*/ 89726 w 369235"/>
                <a:gd name="connsiteY17" fmla="*/ 145752 h 482387"/>
                <a:gd name="connsiteX18" fmla="*/ 35338 w 369235"/>
                <a:gd name="connsiteY18" fmla="*/ 192805 h 482387"/>
                <a:gd name="connsiteX19" fmla="*/ 25051 w 369235"/>
                <a:gd name="connsiteY19" fmla="*/ 208045 h 482387"/>
                <a:gd name="connsiteX20" fmla="*/ 16383 w 369235"/>
                <a:gd name="connsiteY20" fmla="*/ 224142 h 482387"/>
                <a:gd name="connsiteX21" fmla="*/ 9525 w 369235"/>
                <a:gd name="connsiteY21" fmla="*/ 241287 h 482387"/>
                <a:gd name="connsiteX22" fmla="*/ 4382 w 369235"/>
                <a:gd name="connsiteY22" fmla="*/ 259099 h 482387"/>
                <a:gd name="connsiteX23" fmla="*/ 31719 w 369235"/>
                <a:gd name="connsiteY23" fmla="*/ 401022 h 482387"/>
                <a:gd name="connsiteX24" fmla="*/ 151829 w 369235"/>
                <a:gd name="connsiteY24" fmla="*/ 479127 h 482387"/>
                <a:gd name="connsiteX25" fmla="*/ 290037 w 369235"/>
                <a:gd name="connsiteY25" fmla="*/ 450552 h 482387"/>
                <a:gd name="connsiteX26" fmla="*/ 366237 w 369235"/>
                <a:gd name="connsiteY26" fmla="*/ 333966 h 482387"/>
                <a:gd name="connsiteX27" fmla="*/ 365094 w 369235"/>
                <a:gd name="connsiteY27" fmla="*/ 263671 h 482387"/>
                <a:gd name="connsiteX28" fmla="*/ 350901 w 369235"/>
                <a:gd name="connsiteY28" fmla="*/ 330346 h 482387"/>
                <a:gd name="connsiteX29" fmla="*/ 278607 w 369235"/>
                <a:gd name="connsiteY29" fmla="*/ 432835 h 482387"/>
                <a:gd name="connsiteX30" fmla="*/ 176784 w 369235"/>
                <a:gd name="connsiteY30" fmla="*/ 457124 h 482387"/>
                <a:gd name="connsiteX31" fmla="*/ 178404 w 369235"/>
                <a:gd name="connsiteY31" fmla="*/ 443694 h 482387"/>
                <a:gd name="connsiteX32" fmla="*/ 227743 w 369235"/>
                <a:gd name="connsiteY32" fmla="*/ 364731 h 482387"/>
                <a:gd name="connsiteX33" fmla="*/ 216313 w 369235"/>
                <a:gd name="connsiteY33" fmla="*/ 267005 h 482387"/>
                <a:gd name="connsiteX34" fmla="*/ 216313 w 369235"/>
                <a:gd name="connsiteY34" fmla="*/ 267005 h 482387"/>
                <a:gd name="connsiteX35" fmla="*/ 206788 w 369235"/>
                <a:gd name="connsiteY35" fmla="*/ 278721 h 482387"/>
                <a:gd name="connsiteX36" fmla="*/ 206788 w 369235"/>
                <a:gd name="connsiteY36" fmla="*/ 278721 h 482387"/>
                <a:gd name="connsiteX37" fmla="*/ 217361 w 369235"/>
                <a:gd name="connsiteY37" fmla="*/ 288912 h 482387"/>
                <a:gd name="connsiteX38" fmla="*/ 220885 w 369235"/>
                <a:gd name="connsiteY38" fmla="*/ 293199 h 482387"/>
                <a:gd name="connsiteX39" fmla="*/ 201835 w 369235"/>
                <a:gd name="connsiteY39" fmla="*/ 286817 h 482387"/>
                <a:gd name="connsiteX40" fmla="*/ 198597 w 369235"/>
                <a:gd name="connsiteY40" fmla="*/ 288436 h 482387"/>
                <a:gd name="connsiteX41" fmla="*/ 200170 w 369235"/>
                <a:gd name="connsiteY41" fmla="*/ 291565 h 482387"/>
                <a:gd name="connsiteX42" fmla="*/ 200216 w 369235"/>
                <a:gd name="connsiteY42" fmla="*/ 291579 h 482387"/>
                <a:gd name="connsiteX43" fmla="*/ 225076 w 369235"/>
                <a:gd name="connsiteY43" fmla="*/ 300057 h 482387"/>
                <a:gd name="connsiteX44" fmla="*/ 226886 w 369235"/>
                <a:gd name="connsiteY44" fmla="*/ 332061 h 482387"/>
                <a:gd name="connsiteX45" fmla="*/ 181166 w 369235"/>
                <a:gd name="connsiteY45" fmla="*/ 316630 h 482387"/>
                <a:gd name="connsiteX46" fmla="*/ 178023 w 369235"/>
                <a:gd name="connsiteY46" fmla="*/ 318249 h 482387"/>
                <a:gd name="connsiteX47" fmla="*/ 179547 w 369235"/>
                <a:gd name="connsiteY47" fmla="*/ 321393 h 482387"/>
                <a:gd name="connsiteX48" fmla="*/ 224695 w 369235"/>
                <a:gd name="connsiteY48" fmla="*/ 336633 h 482387"/>
                <a:gd name="connsiteX49" fmla="*/ 223552 w 369235"/>
                <a:gd name="connsiteY49" fmla="*/ 338538 h 482387"/>
                <a:gd name="connsiteX50" fmla="*/ 206121 w 369235"/>
                <a:gd name="connsiteY50" fmla="*/ 360445 h 482387"/>
                <a:gd name="connsiteX51" fmla="*/ 168021 w 369235"/>
                <a:gd name="connsiteY51" fmla="*/ 347682 h 482387"/>
                <a:gd name="connsiteX52" fmla="*/ 164937 w 369235"/>
                <a:gd name="connsiteY52" fmla="*/ 349034 h 482387"/>
                <a:gd name="connsiteX53" fmla="*/ 164878 w 369235"/>
                <a:gd name="connsiteY53" fmla="*/ 349206 h 482387"/>
                <a:gd name="connsiteX54" fmla="*/ 166402 w 369235"/>
                <a:gd name="connsiteY54" fmla="*/ 352444 h 482387"/>
                <a:gd name="connsiteX55" fmla="*/ 202216 w 369235"/>
                <a:gd name="connsiteY55" fmla="*/ 364446 h 482387"/>
                <a:gd name="connsiteX56" fmla="*/ 182404 w 369235"/>
                <a:gd name="connsiteY56" fmla="*/ 388068 h 482387"/>
                <a:gd name="connsiteX57" fmla="*/ 168688 w 369235"/>
                <a:gd name="connsiteY57" fmla="*/ 383496 h 482387"/>
                <a:gd name="connsiteX58" fmla="*/ 165545 w 369235"/>
                <a:gd name="connsiteY58" fmla="*/ 385020 h 482387"/>
                <a:gd name="connsiteX59" fmla="*/ 167164 w 369235"/>
                <a:gd name="connsiteY59" fmla="*/ 388258 h 482387"/>
                <a:gd name="connsiteX60" fmla="*/ 179261 w 369235"/>
                <a:gd name="connsiteY60" fmla="*/ 392354 h 482387"/>
                <a:gd name="connsiteX61" fmla="*/ 179737 w 369235"/>
                <a:gd name="connsiteY61" fmla="*/ 391782 h 482387"/>
                <a:gd name="connsiteX62" fmla="*/ 155829 w 369235"/>
                <a:gd name="connsiteY62" fmla="*/ 439407 h 482387"/>
                <a:gd name="connsiteX63" fmla="*/ 45149 w 369235"/>
                <a:gd name="connsiteY63" fmla="*/ 357873 h 482387"/>
                <a:gd name="connsiteX64" fmla="*/ 35624 w 369235"/>
                <a:gd name="connsiteY64" fmla="*/ 265576 h 482387"/>
                <a:gd name="connsiteX65" fmla="*/ 99060 w 369235"/>
                <a:gd name="connsiteY65" fmla="*/ 159944 h 482387"/>
                <a:gd name="connsiteX66" fmla="*/ 145542 w 369235"/>
                <a:gd name="connsiteY66" fmla="*/ 134988 h 482387"/>
                <a:gd name="connsiteX67" fmla="*/ 161925 w 369235"/>
                <a:gd name="connsiteY67" fmla="*/ 155658 h 482387"/>
                <a:gd name="connsiteX68" fmla="*/ 174117 w 369235"/>
                <a:gd name="connsiteY68" fmla="*/ 166421 h 482387"/>
                <a:gd name="connsiteX69" fmla="*/ 174117 w 369235"/>
                <a:gd name="connsiteY69" fmla="*/ 166421 h 482387"/>
                <a:gd name="connsiteX70" fmla="*/ 157163 w 369235"/>
                <a:gd name="connsiteY70" fmla="*/ 175470 h 482387"/>
                <a:gd name="connsiteX71" fmla="*/ 156210 w 369235"/>
                <a:gd name="connsiteY71" fmla="*/ 178899 h 482387"/>
                <a:gd name="connsiteX72" fmla="*/ 159382 w 369235"/>
                <a:gd name="connsiteY72" fmla="*/ 180031 h 482387"/>
                <a:gd name="connsiteX73" fmla="*/ 159544 w 369235"/>
                <a:gd name="connsiteY73" fmla="*/ 179946 h 482387"/>
                <a:gd name="connsiteX74" fmla="*/ 178594 w 369235"/>
                <a:gd name="connsiteY74" fmla="*/ 169850 h 482387"/>
                <a:gd name="connsiteX75" fmla="*/ 200406 w 369235"/>
                <a:gd name="connsiteY75" fmla="*/ 188900 h 482387"/>
                <a:gd name="connsiteX76" fmla="*/ 201740 w 369235"/>
                <a:gd name="connsiteY76" fmla="*/ 190424 h 482387"/>
                <a:gd name="connsiteX77" fmla="*/ 166974 w 369235"/>
                <a:gd name="connsiteY77" fmla="*/ 209474 h 482387"/>
                <a:gd name="connsiteX78" fmla="*/ 166021 w 369235"/>
                <a:gd name="connsiteY78" fmla="*/ 212808 h 482387"/>
                <a:gd name="connsiteX79" fmla="*/ 169355 w 369235"/>
                <a:gd name="connsiteY79" fmla="*/ 213855 h 482387"/>
                <a:gd name="connsiteX80" fmla="*/ 204693 w 369235"/>
                <a:gd name="connsiteY80" fmla="*/ 194805 h 482387"/>
                <a:gd name="connsiteX81" fmla="*/ 213075 w 369235"/>
                <a:gd name="connsiteY81" fmla="*/ 222618 h 482387"/>
                <a:gd name="connsiteX82" fmla="*/ 188691 w 369235"/>
                <a:gd name="connsiteY82" fmla="*/ 235668 h 482387"/>
                <a:gd name="connsiteX83" fmla="*/ 188226 w 369235"/>
                <a:gd name="connsiteY83" fmla="*/ 239275 h 482387"/>
                <a:gd name="connsiteX84" fmla="*/ 191072 w 369235"/>
                <a:gd name="connsiteY84" fmla="*/ 240144 h 482387"/>
                <a:gd name="connsiteX85" fmla="*/ 211455 w 369235"/>
                <a:gd name="connsiteY85" fmla="*/ 229191 h 482387"/>
                <a:gd name="connsiteX86" fmla="*/ 206883 w 369235"/>
                <a:gd name="connsiteY86" fmla="*/ 238716 h 482387"/>
                <a:gd name="connsiteX87" fmla="*/ 136398 w 369235"/>
                <a:gd name="connsiteY87" fmla="*/ 384543 h 482387"/>
                <a:gd name="connsiteX88" fmla="*/ 153258 w 369235"/>
                <a:gd name="connsiteY88" fmla="*/ 429692 h 482387"/>
                <a:gd name="connsiteX89" fmla="*/ 164878 w 369235"/>
                <a:gd name="connsiteY89" fmla="*/ 404451 h 482387"/>
                <a:gd name="connsiteX90" fmla="*/ 157449 w 369235"/>
                <a:gd name="connsiteY90" fmla="*/ 378352 h 482387"/>
                <a:gd name="connsiteX91" fmla="*/ 156401 w 369235"/>
                <a:gd name="connsiteY91" fmla="*/ 367303 h 482387"/>
                <a:gd name="connsiteX92" fmla="*/ 182309 w 369235"/>
                <a:gd name="connsiteY92" fmla="*/ 375971 h 482387"/>
                <a:gd name="connsiteX93" fmla="*/ 185393 w 369235"/>
                <a:gd name="connsiteY93" fmla="*/ 374618 h 482387"/>
                <a:gd name="connsiteX94" fmla="*/ 185452 w 369235"/>
                <a:gd name="connsiteY94" fmla="*/ 374447 h 482387"/>
                <a:gd name="connsiteX95" fmla="*/ 183928 w 369235"/>
                <a:gd name="connsiteY95" fmla="*/ 371208 h 482387"/>
                <a:gd name="connsiteX96" fmla="*/ 156496 w 369235"/>
                <a:gd name="connsiteY96" fmla="*/ 361683 h 482387"/>
                <a:gd name="connsiteX97" fmla="*/ 163068 w 369235"/>
                <a:gd name="connsiteY97" fmla="*/ 333870 h 482387"/>
                <a:gd name="connsiteX98" fmla="*/ 206217 w 369235"/>
                <a:gd name="connsiteY98" fmla="*/ 348348 h 482387"/>
                <a:gd name="connsiteX99" fmla="*/ 209301 w 369235"/>
                <a:gd name="connsiteY99" fmla="*/ 346995 h 482387"/>
                <a:gd name="connsiteX100" fmla="*/ 209360 w 369235"/>
                <a:gd name="connsiteY100" fmla="*/ 346824 h 482387"/>
                <a:gd name="connsiteX101" fmla="*/ 207836 w 369235"/>
                <a:gd name="connsiteY101" fmla="*/ 343586 h 482387"/>
                <a:gd name="connsiteX102" fmla="*/ 164973 w 369235"/>
                <a:gd name="connsiteY102" fmla="*/ 329203 h 482387"/>
                <a:gd name="connsiteX103" fmla="*/ 179642 w 369235"/>
                <a:gd name="connsiteY103" fmla="*/ 303200 h 482387"/>
                <a:gd name="connsiteX104" fmla="*/ 219075 w 369235"/>
                <a:gd name="connsiteY104" fmla="*/ 317011 h 482387"/>
                <a:gd name="connsiteX105" fmla="*/ 222314 w 369235"/>
                <a:gd name="connsiteY105" fmla="*/ 315392 h 482387"/>
                <a:gd name="connsiteX106" fmla="*/ 220740 w 369235"/>
                <a:gd name="connsiteY106" fmla="*/ 312263 h 482387"/>
                <a:gd name="connsiteX107" fmla="*/ 220695 w 369235"/>
                <a:gd name="connsiteY107" fmla="*/ 312249 h 482387"/>
                <a:gd name="connsiteX108" fmla="*/ 182595 w 369235"/>
                <a:gd name="connsiteY108" fmla="*/ 299295 h 482387"/>
                <a:gd name="connsiteX109" fmla="*/ 210693 w 369235"/>
                <a:gd name="connsiteY109" fmla="*/ 263100 h 482387"/>
                <a:gd name="connsiteX110" fmla="*/ 184690 w 369235"/>
                <a:gd name="connsiteY110" fmla="*/ 156896 h 482387"/>
                <a:gd name="connsiteX111" fmla="*/ 156115 w 369235"/>
                <a:gd name="connsiteY111" fmla="*/ 133083 h 482387"/>
                <a:gd name="connsiteX112" fmla="*/ 155448 w 369235"/>
                <a:gd name="connsiteY112" fmla="*/ 132131 h 482387"/>
                <a:gd name="connsiteX113" fmla="*/ 158020 w 369235"/>
                <a:gd name="connsiteY113" fmla="*/ 131369 h 482387"/>
                <a:gd name="connsiteX114" fmla="*/ 174403 w 369235"/>
                <a:gd name="connsiteY114" fmla="*/ 128321 h 482387"/>
                <a:gd name="connsiteX115" fmla="*/ 190977 w 369235"/>
                <a:gd name="connsiteY115" fmla="*/ 126892 h 482387"/>
                <a:gd name="connsiteX116" fmla="*/ 207741 w 369235"/>
                <a:gd name="connsiteY116" fmla="*/ 127368 h 482387"/>
                <a:gd name="connsiteX117" fmla="*/ 224409 w 369235"/>
                <a:gd name="connsiteY117" fmla="*/ 129559 h 482387"/>
                <a:gd name="connsiteX118" fmla="*/ 331375 w 369235"/>
                <a:gd name="connsiteY118" fmla="*/ 204140 h 482387"/>
                <a:gd name="connsiteX119" fmla="*/ 350901 w 369235"/>
                <a:gd name="connsiteY119" fmla="*/ 330632 h 48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369235" h="482387">
                  <a:moveTo>
                    <a:pt x="365094" y="263671"/>
                  </a:moveTo>
                  <a:cubicBezTo>
                    <a:pt x="359817" y="240916"/>
                    <a:pt x="350107" y="219425"/>
                    <a:pt x="336519" y="200425"/>
                  </a:cubicBezTo>
                  <a:cubicBezTo>
                    <a:pt x="309609" y="162804"/>
                    <a:pt x="269753" y="136448"/>
                    <a:pt x="224600" y="126416"/>
                  </a:cubicBezTo>
                  <a:cubicBezTo>
                    <a:pt x="199811" y="120891"/>
                    <a:pt x="174176" y="120308"/>
                    <a:pt x="149162" y="124701"/>
                  </a:cubicBezTo>
                  <a:cubicBezTo>
                    <a:pt x="146971" y="121650"/>
                    <a:pt x="144967" y="118469"/>
                    <a:pt x="143161" y="115176"/>
                  </a:cubicBezTo>
                  <a:cubicBezTo>
                    <a:pt x="141069" y="111067"/>
                    <a:pt x="139224" y="106837"/>
                    <a:pt x="137637" y="102508"/>
                  </a:cubicBezTo>
                  <a:cubicBezTo>
                    <a:pt x="133172" y="89247"/>
                    <a:pt x="131708" y="75160"/>
                    <a:pt x="133350" y="61265"/>
                  </a:cubicBezTo>
                  <a:cubicBezTo>
                    <a:pt x="144304" y="24308"/>
                    <a:pt x="168117" y="20593"/>
                    <a:pt x="168117" y="20593"/>
                  </a:cubicBezTo>
                  <a:cubicBezTo>
                    <a:pt x="151625" y="29760"/>
                    <a:pt x="139560" y="45228"/>
                    <a:pt x="134684" y="63456"/>
                  </a:cubicBezTo>
                  <a:cubicBezTo>
                    <a:pt x="159735" y="63456"/>
                    <a:pt x="173832" y="52788"/>
                    <a:pt x="179737" y="36024"/>
                  </a:cubicBezTo>
                  <a:cubicBezTo>
                    <a:pt x="182595" y="27832"/>
                    <a:pt x="195168" y="1162"/>
                    <a:pt x="195168" y="1162"/>
                  </a:cubicBezTo>
                  <a:cubicBezTo>
                    <a:pt x="189188" y="-116"/>
                    <a:pt x="183032" y="-342"/>
                    <a:pt x="176975" y="495"/>
                  </a:cubicBezTo>
                  <a:cubicBezTo>
                    <a:pt x="111633" y="14783"/>
                    <a:pt x="130493" y="56312"/>
                    <a:pt x="132779" y="60884"/>
                  </a:cubicBezTo>
                  <a:cubicBezTo>
                    <a:pt x="130758" y="69201"/>
                    <a:pt x="129956" y="77768"/>
                    <a:pt x="130398" y="86316"/>
                  </a:cubicBezTo>
                  <a:cubicBezTo>
                    <a:pt x="130697" y="92277"/>
                    <a:pt x="131493" y="98203"/>
                    <a:pt x="132779" y="104032"/>
                  </a:cubicBezTo>
                  <a:cubicBezTo>
                    <a:pt x="133746" y="108506"/>
                    <a:pt x="135052" y="112900"/>
                    <a:pt x="136684" y="117177"/>
                  </a:cubicBezTo>
                  <a:cubicBezTo>
                    <a:pt x="137827" y="120320"/>
                    <a:pt x="139256" y="123368"/>
                    <a:pt x="140685" y="126702"/>
                  </a:cubicBezTo>
                  <a:cubicBezTo>
                    <a:pt x="122868" y="130560"/>
                    <a:pt x="105704" y="136977"/>
                    <a:pt x="89726" y="145752"/>
                  </a:cubicBezTo>
                  <a:cubicBezTo>
                    <a:pt x="68553" y="157528"/>
                    <a:pt x="50038" y="173547"/>
                    <a:pt x="35338" y="192805"/>
                  </a:cubicBezTo>
                  <a:cubicBezTo>
                    <a:pt x="31909" y="197853"/>
                    <a:pt x="28290" y="202806"/>
                    <a:pt x="25051" y="208045"/>
                  </a:cubicBezTo>
                  <a:cubicBezTo>
                    <a:pt x="21813" y="213284"/>
                    <a:pt x="19050" y="218999"/>
                    <a:pt x="16383" y="224142"/>
                  </a:cubicBezTo>
                  <a:cubicBezTo>
                    <a:pt x="13716" y="229286"/>
                    <a:pt x="11716" y="235572"/>
                    <a:pt x="9525" y="241287"/>
                  </a:cubicBezTo>
                  <a:lnTo>
                    <a:pt x="4382" y="259099"/>
                  </a:lnTo>
                  <a:cubicBezTo>
                    <a:pt x="-6612" y="308150"/>
                    <a:pt x="3292" y="359564"/>
                    <a:pt x="31719" y="401022"/>
                  </a:cubicBezTo>
                  <a:cubicBezTo>
                    <a:pt x="59908" y="441858"/>
                    <a:pt x="103069" y="469924"/>
                    <a:pt x="151829" y="479127"/>
                  </a:cubicBezTo>
                  <a:cubicBezTo>
                    <a:pt x="199864" y="488273"/>
                    <a:pt x="249567" y="477997"/>
                    <a:pt x="290037" y="450552"/>
                  </a:cubicBezTo>
                  <a:cubicBezTo>
                    <a:pt x="329828" y="423269"/>
                    <a:pt x="357218" y="381361"/>
                    <a:pt x="366237" y="333966"/>
                  </a:cubicBezTo>
                  <a:cubicBezTo>
                    <a:pt x="370589" y="310696"/>
                    <a:pt x="370200" y="286787"/>
                    <a:pt x="365094" y="263671"/>
                  </a:cubicBezTo>
                  <a:close/>
                  <a:moveTo>
                    <a:pt x="350901" y="330346"/>
                  </a:moveTo>
                  <a:cubicBezTo>
                    <a:pt x="341313" y="372729"/>
                    <a:pt x="315316" y="409583"/>
                    <a:pt x="278607" y="432835"/>
                  </a:cubicBezTo>
                  <a:cubicBezTo>
                    <a:pt x="248291" y="451981"/>
                    <a:pt x="212478" y="460524"/>
                    <a:pt x="176784" y="457124"/>
                  </a:cubicBezTo>
                  <a:cubicBezTo>
                    <a:pt x="176853" y="452603"/>
                    <a:pt x="177396" y="448101"/>
                    <a:pt x="178404" y="443694"/>
                  </a:cubicBezTo>
                  <a:cubicBezTo>
                    <a:pt x="184404" y="417024"/>
                    <a:pt x="205931" y="392163"/>
                    <a:pt x="227743" y="364731"/>
                  </a:cubicBezTo>
                  <a:cubicBezTo>
                    <a:pt x="259652" y="329584"/>
                    <a:pt x="254318" y="296151"/>
                    <a:pt x="216313" y="267005"/>
                  </a:cubicBezTo>
                  <a:lnTo>
                    <a:pt x="216313" y="267005"/>
                  </a:lnTo>
                  <a:lnTo>
                    <a:pt x="206788" y="278721"/>
                  </a:lnTo>
                  <a:lnTo>
                    <a:pt x="206788" y="278721"/>
                  </a:lnTo>
                  <a:cubicBezTo>
                    <a:pt x="210543" y="281870"/>
                    <a:pt x="214075" y="285276"/>
                    <a:pt x="217361" y="288912"/>
                  </a:cubicBezTo>
                  <a:cubicBezTo>
                    <a:pt x="218620" y="290270"/>
                    <a:pt x="219797" y="291701"/>
                    <a:pt x="220885" y="293199"/>
                  </a:cubicBezTo>
                  <a:lnTo>
                    <a:pt x="201835" y="286817"/>
                  </a:lnTo>
                  <a:cubicBezTo>
                    <a:pt x="200498" y="286429"/>
                    <a:pt x="199088" y="287134"/>
                    <a:pt x="198597" y="288436"/>
                  </a:cubicBezTo>
                  <a:cubicBezTo>
                    <a:pt x="198167" y="289735"/>
                    <a:pt x="198872" y="291135"/>
                    <a:pt x="200170" y="291565"/>
                  </a:cubicBezTo>
                  <a:cubicBezTo>
                    <a:pt x="200186" y="291570"/>
                    <a:pt x="200201" y="291575"/>
                    <a:pt x="200216" y="291579"/>
                  </a:cubicBezTo>
                  <a:lnTo>
                    <a:pt x="225076" y="300057"/>
                  </a:lnTo>
                  <a:cubicBezTo>
                    <a:pt x="231088" y="309721"/>
                    <a:pt x="231770" y="321780"/>
                    <a:pt x="226886" y="332061"/>
                  </a:cubicBezTo>
                  <a:lnTo>
                    <a:pt x="181166" y="316630"/>
                  </a:lnTo>
                  <a:cubicBezTo>
                    <a:pt x="179854" y="316250"/>
                    <a:pt x="178474" y="316961"/>
                    <a:pt x="178023" y="318249"/>
                  </a:cubicBezTo>
                  <a:cubicBezTo>
                    <a:pt x="177579" y="319538"/>
                    <a:pt x="178260" y="320943"/>
                    <a:pt x="179547" y="321393"/>
                  </a:cubicBezTo>
                  <a:lnTo>
                    <a:pt x="224695" y="336633"/>
                  </a:lnTo>
                  <a:lnTo>
                    <a:pt x="223552" y="338538"/>
                  </a:lnTo>
                  <a:cubicBezTo>
                    <a:pt x="218418" y="346353"/>
                    <a:pt x="212583" y="353686"/>
                    <a:pt x="206121" y="360445"/>
                  </a:cubicBezTo>
                  <a:lnTo>
                    <a:pt x="168021" y="347682"/>
                  </a:lnTo>
                  <a:cubicBezTo>
                    <a:pt x="166796" y="347204"/>
                    <a:pt x="165415" y="347809"/>
                    <a:pt x="164937" y="349034"/>
                  </a:cubicBezTo>
                  <a:cubicBezTo>
                    <a:pt x="164916" y="349091"/>
                    <a:pt x="164896" y="349148"/>
                    <a:pt x="164878" y="349206"/>
                  </a:cubicBezTo>
                  <a:cubicBezTo>
                    <a:pt x="164428" y="350519"/>
                    <a:pt x="165103" y="351953"/>
                    <a:pt x="166402" y="352444"/>
                  </a:cubicBezTo>
                  <a:lnTo>
                    <a:pt x="202216" y="364446"/>
                  </a:lnTo>
                  <a:cubicBezTo>
                    <a:pt x="195930" y="371589"/>
                    <a:pt x="189072" y="379400"/>
                    <a:pt x="182404" y="388068"/>
                  </a:cubicBezTo>
                  <a:lnTo>
                    <a:pt x="168688" y="383496"/>
                  </a:lnTo>
                  <a:cubicBezTo>
                    <a:pt x="167399" y="383052"/>
                    <a:pt x="165995" y="383733"/>
                    <a:pt x="165545" y="385020"/>
                  </a:cubicBezTo>
                  <a:cubicBezTo>
                    <a:pt x="165105" y="386360"/>
                    <a:pt x="165827" y="387806"/>
                    <a:pt x="167164" y="388258"/>
                  </a:cubicBezTo>
                  <a:lnTo>
                    <a:pt x="179261" y="392354"/>
                  </a:lnTo>
                  <a:lnTo>
                    <a:pt x="179737" y="391782"/>
                  </a:lnTo>
                  <a:cubicBezTo>
                    <a:pt x="168884" y="406038"/>
                    <a:pt x="160777" y="422187"/>
                    <a:pt x="155829" y="439407"/>
                  </a:cubicBezTo>
                  <a:cubicBezTo>
                    <a:pt x="109438" y="428294"/>
                    <a:pt x="69515" y="398885"/>
                    <a:pt x="45149" y="357873"/>
                  </a:cubicBezTo>
                  <a:cubicBezTo>
                    <a:pt x="33313" y="328627"/>
                    <a:pt x="30010" y="296624"/>
                    <a:pt x="35624" y="265576"/>
                  </a:cubicBezTo>
                  <a:cubicBezTo>
                    <a:pt x="43212" y="223820"/>
                    <a:pt x="65767" y="186263"/>
                    <a:pt x="99060" y="159944"/>
                  </a:cubicBezTo>
                  <a:cubicBezTo>
                    <a:pt x="113076" y="149124"/>
                    <a:pt x="128781" y="140692"/>
                    <a:pt x="145542" y="134988"/>
                  </a:cubicBezTo>
                  <a:cubicBezTo>
                    <a:pt x="150188" y="142487"/>
                    <a:pt x="155685" y="149423"/>
                    <a:pt x="161925" y="155658"/>
                  </a:cubicBezTo>
                  <a:cubicBezTo>
                    <a:pt x="165782" y="159474"/>
                    <a:pt x="169852" y="163067"/>
                    <a:pt x="174117" y="166421"/>
                  </a:cubicBezTo>
                  <a:lnTo>
                    <a:pt x="174117" y="166421"/>
                  </a:lnTo>
                  <a:lnTo>
                    <a:pt x="157163" y="175470"/>
                  </a:lnTo>
                  <a:cubicBezTo>
                    <a:pt x="155978" y="176173"/>
                    <a:pt x="155558" y="177685"/>
                    <a:pt x="156210" y="178899"/>
                  </a:cubicBezTo>
                  <a:cubicBezTo>
                    <a:pt x="156773" y="180087"/>
                    <a:pt x="158193" y="180594"/>
                    <a:pt x="159382" y="180031"/>
                  </a:cubicBezTo>
                  <a:cubicBezTo>
                    <a:pt x="159437" y="180005"/>
                    <a:pt x="159491" y="179977"/>
                    <a:pt x="159544" y="179946"/>
                  </a:cubicBezTo>
                  <a:lnTo>
                    <a:pt x="178594" y="169850"/>
                  </a:lnTo>
                  <a:cubicBezTo>
                    <a:pt x="186408" y="175549"/>
                    <a:pt x="193707" y="181924"/>
                    <a:pt x="200406" y="188900"/>
                  </a:cubicBezTo>
                  <a:lnTo>
                    <a:pt x="201740" y="190424"/>
                  </a:lnTo>
                  <a:lnTo>
                    <a:pt x="166974" y="209474"/>
                  </a:lnTo>
                  <a:cubicBezTo>
                    <a:pt x="165801" y="210140"/>
                    <a:pt x="165378" y="211622"/>
                    <a:pt x="166021" y="212808"/>
                  </a:cubicBezTo>
                  <a:cubicBezTo>
                    <a:pt x="166654" y="214015"/>
                    <a:pt x="168145" y="214483"/>
                    <a:pt x="169355" y="213855"/>
                  </a:cubicBezTo>
                  <a:lnTo>
                    <a:pt x="204693" y="194805"/>
                  </a:lnTo>
                  <a:cubicBezTo>
                    <a:pt x="211279" y="202482"/>
                    <a:pt x="214323" y="212581"/>
                    <a:pt x="213075" y="222618"/>
                  </a:cubicBezTo>
                  <a:lnTo>
                    <a:pt x="188691" y="235668"/>
                  </a:lnTo>
                  <a:cubicBezTo>
                    <a:pt x="187566" y="236535"/>
                    <a:pt x="187358" y="238150"/>
                    <a:pt x="188226" y="239275"/>
                  </a:cubicBezTo>
                  <a:cubicBezTo>
                    <a:pt x="188894" y="240140"/>
                    <a:pt x="190035" y="240488"/>
                    <a:pt x="191072" y="240144"/>
                  </a:cubicBezTo>
                  <a:lnTo>
                    <a:pt x="211455" y="229191"/>
                  </a:lnTo>
                  <a:cubicBezTo>
                    <a:pt x="210200" y="232488"/>
                    <a:pt x="208670" y="235674"/>
                    <a:pt x="206883" y="238716"/>
                  </a:cubicBezTo>
                  <a:cubicBezTo>
                    <a:pt x="191548" y="265386"/>
                    <a:pt x="126873" y="308915"/>
                    <a:pt x="136398" y="384543"/>
                  </a:cubicBezTo>
                  <a:cubicBezTo>
                    <a:pt x="138970" y="400561"/>
                    <a:pt x="144701" y="415908"/>
                    <a:pt x="153258" y="429692"/>
                  </a:cubicBezTo>
                  <a:cubicBezTo>
                    <a:pt x="156408" y="420963"/>
                    <a:pt x="160295" y="412519"/>
                    <a:pt x="164878" y="404451"/>
                  </a:cubicBezTo>
                  <a:cubicBezTo>
                    <a:pt x="161212" y="396135"/>
                    <a:pt x="158711" y="387352"/>
                    <a:pt x="157449" y="378352"/>
                  </a:cubicBezTo>
                  <a:cubicBezTo>
                    <a:pt x="156770" y="374708"/>
                    <a:pt x="156419" y="371010"/>
                    <a:pt x="156401" y="367303"/>
                  </a:cubicBezTo>
                  <a:lnTo>
                    <a:pt x="182309" y="375971"/>
                  </a:lnTo>
                  <a:cubicBezTo>
                    <a:pt x="183534" y="376449"/>
                    <a:pt x="184915" y="375843"/>
                    <a:pt x="185393" y="374618"/>
                  </a:cubicBezTo>
                  <a:cubicBezTo>
                    <a:pt x="185415" y="374562"/>
                    <a:pt x="185434" y="374505"/>
                    <a:pt x="185452" y="374447"/>
                  </a:cubicBezTo>
                  <a:cubicBezTo>
                    <a:pt x="185902" y="373133"/>
                    <a:pt x="185227" y="371699"/>
                    <a:pt x="183928" y="371208"/>
                  </a:cubicBezTo>
                  <a:lnTo>
                    <a:pt x="156496" y="361683"/>
                  </a:lnTo>
                  <a:cubicBezTo>
                    <a:pt x="157175" y="352119"/>
                    <a:pt x="159395" y="342727"/>
                    <a:pt x="163068" y="333870"/>
                  </a:cubicBezTo>
                  <a:lnTo>
                    <a:pt x="206217" y="348348"/>
                  </a:lnTo>
                  <a:cubicBezTo>
                    <a:pt x="207442" y="348826"/>
                    <a:pt x="208822" y="348221"/>
                    <a:pt x="209301" y="346995"/>
                  </a:cubicBezTo>
                  <a:cubicBezTo>
                    <a:pt x="209322" y="346939"/>
                    <a:pt x="209342" y="346882"/>
                    <a:pt x="209360" y="346824"/>
                  </a:cubicBezTo>
                  <a:cubicBezTo>
                    <a:pt x="209810" y="345510"/>
                    <a:pt x="209135" y="344077"/>
                    <a:pt x="207836" y="343586"/>
                  </a:cubicBezTo>
                  <a:lnTo>
                    <a:pt x="164973" y="329203"/>
                  </a:lnTo>
                  <a:cubicBezTo>
                    <a:pt x="169113" y="320133"/>
                    <a:pt x="174020" y="311434"/>
                    <a:pt x="179642" y="303200"/>
                  </a:cubicBezTo>
                  <a:lnTo>
                    <a:pt x="219075" y="317011"/>
                  </a:lnTo>
                  <a:cubicBezTo>
                    <a:pt x="220412" y="317399"/>
                    <a:pt x="221822" y="316694"/>
                    <a:pt x="222314" y="315392"/>
                  </a:cubicBezTo>
                  <a:cubicBezTo>
                    <a:pt x="222743" y="314093"/>
                    <a:pt x="222039" y="312692"/>
                    <a:pt x="220740" y="312263"/>
                  </a:cubicBezTo>
                  <a:cubicBezTo>
                    <a:pt x="220725" y="312258"/>
                    <a:pt x="220710" y="312253"/>
                    <a:pt x="220695" y="312249"/>
                  </a:cubicBezTo>
                  <a:lnTo>
                    <a:pt x="182595" y="299295"/>
                  </a:lnTo>
                  <a:cubicBezTo>
                    <a:pt x="192120" y="285674"/>
                    <a:pt x="202502" y="273387"/>
                    <a:pt x="210693" y="263100"/>
                  </a:cubicBezTo>
                  <a:cubicBezTo>
                    <a:pt x="246222" y="223857"/>
                    <a:pt x="235554" y="188043"/>
                    <a:pt x="184690" y="156896"/>
                  </a:cubicBezTo>
                  <a:cubicBezTo>
                    <a:pt x="174229" y="150155"/>
                    <a:pt x="164632" y="142158"/>
                    <a:pt x="156115" y="133083"/>
                  </a:cubicBezTo>
                  <a:lnTo>
                    <a:pt x="155448" y="132131"/>
                  </a:lnTo>
                  <a:lnTo>
                    <a:pt x="158020" y="131369"/>
                  </a:lnTo>
                  <a:cubicBezTo>
                    <a:pt x="163449" y="130416"/>
                    <a:pt x="168879" y="129083"/>
                    <a:pt x="174403" y="128321"/>
                  </a:cubicBezTo>
                  <a:cubicBezTo>
                    <a:pt x="179928" y="127559"/>
                    <a:pt x="185452" y="126987"/>
                    <a:pt x="190977" y="126892"/>
                  </a:cubicBezTo>
                  <a:cubicBezTo>
                    <a:pt x="196501" y="126797"/>
                    <a:pt x="202216" y="126892"/>
                    <a:pt x="207741" y="127368"/>
                  </a:cubicBezTo>
                  <a:lnTo>
                    <a:pt x="224409" y="129559"/>
                  </a:lnTo>
                  <a:cubicBezTo>
                    <a:pt x="269022" y="138139"/>
                    <a:pt x="307899" y="165246"/>
                    <a:pt x="331375" y="204140"/>
                  </a:cubicBezTo>
                  <a:cubicBezTo>
                    <a:pt x="353968" y="242203"/>
                    <a:pt x="360965" y="287528"/>
                    <a:pt x="350901" y="33063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94" name="Grafik 26">
            <a:extLst>
              <a:ext uri="{FF2B5EF4-FFF2-40B4-BE49-F238E27FC236}">
                <a16:creationId xmlns:a16="http://schemas.microsoft.com/office/drawing/2014/main" id="{2C00BC11-241B-4C79-B066-CE5106753E4D}"/>
              </a:ext>
            </a:extLst>
          </p:cNvPr>
          <p:cNvGrpSpPr/>
          <p:nvPr/>
        </p:nvGrpSpPr>
        <p:grpSpPr>
          <a:xfrm>
            <a:off x="8666621" y="2304065"/>
            <a:ext cx="506547" cy="503891"/>
            <a:chOff x="3743293" y="2300685"/>
            <a:chExt cx="431666" cy="429403"/>
          </a:xfrm>
          <a:solidFill>
            <a:srgbClr val="808080"/>
          </a:solidFill>
        </p:grpSpPr>
        <p:sp>
          <p:nvSpPr>
            <p:cNvPr id="195" name="Freihandform: Form 96">
              <a:extLst>
                <a:ext uri="{FF2B5EF4-FFF2-40B4-BE49-F238E27FC236}">
                  <a16:creationId xmlns:a16="http://schemas.microsoft.com/office/drawing/2014/main" id="{1BE2A90F-5453-44F5-B15F-744B99C7D2EC}"/>
                </a:ext>
              </a:extLst>
            </p:cNvPr>
            <p:cNvSpPr/>
            <p:nvPr/>
          </p:nvSpPr>
          <p:spPr>
            <a:xfrm>
              <a:off x="3971009" y="2578529"/>
              <a:ext cx="203950" cy="151560"/>
            </a:xfrm>
            <a:custGeom>
              <a:avLst/>
              <a:gdLst>
                <a:gd name="connsiteX0" fmla="*/ 200978 w 203950"/>
                <a:gd name="connsiteY0" fmla="*/ 970 h 151560"/>
                <a:gd name="connsiteX1" fmla="*/ 200978 w 203950"/>
                <a:gd name="connsiteY1" fmla="*/ 970 h 151560"/>
                <a:gd name="connsiteX2" fmla="*/ 184309 w 203950"/>
                <a:gd name="connsiteY2" fmla="*/ 4399 h 151560"/>
                <a:gd name="connsiteX3" fmla="*/ 179165 w 203950"/>
                <a:gd name="connsiteY3" fmla="*/ 8400 h 151560"/>
                <a:gd name="connsiteX4" fmla="*/ 138970 w 203950"/>
                <a:gd name="connsiteY4" fmla="*/ 54786 h 151560"/>
                <a:gd name="connsiteX5" fmla="*/ 137827 w 203950"/>
                <a:gd name="connsiteY5" fmla="*/ 55358 h 151560"/>
                <a:gd name="connsiteX6" fmla="*/ 138970 w 203950"/>
                <a:gd name="connsiteY6" fmla="*/ 55358 h 151560"/>
                <a:gd name="connsiteX7" fmla="*/ 151638 w 203950"/>
                <a:gd name="connsiteY7" fmla="*/ 64026 h 151560"/>
                <a:gd name="connsiteX8" fmla="*/ 137351 w 203950"/>
                <a:gd name="connsiteY8" fmla="*/ 84028 h 151560"/>
                <a:gd name="connsiteX9" fmla="*/ 99251 w 203950"/>
                <a:gd name="connsiteY9" fmla="*/ 103078 h 151560"/>
                <a:gd name="connsiteX10" fmla="*/ 104394 w 203950"/>
                <a:gd name="connsiteY10" fmla="*/ 100221 h 151560"/>
                <a:gd name="connsiteX11" fmla="*/ 132969 w 203950"/>
                <a:gd name="connsiteY11" fmla="*/ 82980 h 151560"/>
                <a:gd name="connsiteX12" fmla="*/ 146780 w 203950"/>
                <a:gd name="connsiteY12" fmla="*/ 63930 h 151560"/>
                <a:gd name="connsiteX13" fmla="*/ 137255 w 203950"/>
                <a:gd name="connsiteY13" fmla="*/ 59834 h 151560"/>
                <a:gd name="connsiteX14" fmla="*/ 110871 w 203950"/>
                <a:gd name="connsiteY14" fmla="*/ 67931 h 151560"/>
                <a:gd name="connsiteX15" fmla="*/ 93059 w 203950"/>
                <a:gd name="connsiteY15" fmla="*/ 74217 h 151560"/>
                <a:gd name="connsiteX16" fmla="*/ 43148 w 203950"/>
                <a:gd name="connsiteY16" fmla="*/ 95458 h 151560"/>
                <a:gd name="connsiteX17" fmla="*/ 35719 w 203950"/>
                <a:gd name="connsiteY17" fmla="*/ 101173 h 151560"/>
                <a:gd name="connsiteX18" fmla="*/ 1334 w 203950"/>
                <a:gd name="connsiteY18" fmla="*/ 133272 h 151560"/>
                <a:gd name="connsiteX19" fmla="*/ 0 w 203950"/>
                <a:gd name="connsiteY19" fmla="*/ 134606 h 151560"/>
                <a:gd name="connsiteX20" fmla="*/ 36290 w 203950"/>
                <a:gd name="connsiteY20" fmla="*/ 151560 h 151560"/>
                <a:gd name="connsiteX21" fmla="*/ 45815 w 203950"/>
                <a:gd name="connsiteY21" fmla="*/ 143559 h 151560"/>
                <a:gd name="connsiteX22" fmla="*/ 59627 w 203950"/>
                <a:gd name="connsiteY22" fmla="*/ 136130 h 151560"/>
                <a:gd name="connsiteX23" fmla="*/ 96298 w 203950"/>
                <a:gd name="connsiteY23" fmla="*/ 123557 h 151560"/>
                <a:gd name="connsiteX24" fmla="*/ 131255 w 203950"/>
                <a:gd name="connsiteY24" fmla="*/ 111460 h 151560"/>
                <a:gd name="connsiteX25" fmla="*/ 140780 w 203950"/>
                <a:gd name="connsiteY25" fmla="*/ 106888 h 151560"/>
                <a:gd name="connsiteX26" fmla="*/ 156210 w 203950"/>
                <a:gd name="connsiteY26" fmla="*/ 87838 h 151560"/>
                <a:gd name="connsiteX27" fmla="*/ 160211 w 203950"/>
                <a:gd name="connsiteY27" fmla="*/ 80980 h 151560"/>
                <a:gd name="connsiteX28" fmla="*/ 201454 w 203950"/>
                <a:gd name="connsiteY28" fmla="*/ 14305 h 151560"/>
                <a:gd name="connsiteX29" fmla="*/ 202121 w 203950"/>
                <a:gd name="connsiteY29" fmla="*/ 1161 h 151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03950" h="151560">
                  <a:moveTo>
                    <a:pt x="200978" y="970"/>
                  </a:moveTo>
                  <a:lnTo>
                    <a:pt x="200978" y="970"/>
                  </a:lnTo>
                  <a:cubicBezTo>
                    <a:pt x="195218" y="-1111"/>
                    <a:pt x="188779" y="213"/>
                    <a:pt x="184309" y="4399"/>
                  </a:cubicBezTo>
                  <a:cubicBezTo>
                    <a:pt x="182460" y="5551"/>
                    <a:pt x="180737" y="6891"/>
                    <a:pt x="179165" y="8400"/>
                  </a:cubicBezTo>
                  <a:cubicBezTo>
                    <a:pt x="172307" y="15829"/>
                    <a:pt x="138970" y="53643"/>
                    <a:pt x="138970" y="54786"/>
                  </a:cubicBezTo>
                  <a:lnTo>
                    <a:pt x="137827" y="55358"/>
                  </a:lnTo>
                  <a:lnTo>
                    <a:pt x="138970" y="55358"/>
                  </a:lnTo>
                  <a:cubicBezTo>
                    <a:pt x="145923" y="57072"/>
                    <a:pt x="150495" y="59930"/>
                    <a:pt x="151638" y="64026"/>
                  </a:cubicBezTo>
                  <a:cubicBezTo>
                    <a:pt x="153353" y="69740"/>
                    <a:pt x="148209" y="76599"/>
                    <a:pt x="137351" y="84028"/>
                  </a:cubicBezTo>
                  <a:cubicBezTo>
                    <a:pt x="125618" y="92152"/>
                    <a:pt x="112790" y="98567"/>
                    <a:pt x="99251" y="103078"/>
                  </a:cubicBezTo>
                  <a:cubicBezTo>
                    <a:pt x="100759" y="101794"/>
                    <a:pt x="102507" y="100823"/>
                    <a:pt x="104394" y="100221"/>
                  </a:cubicBezTo>
                  <a:cubicBezTo>
                    <a:pt x="115348" y="93934"/>
                    <a:pt x="124492" y="88124"/>
                    <a:pt x="132969" y="82980"/>
                  </a:cubicBezTo>
                  <a:cubicBezTo>
                    <a:pt x="144494" y="75551"/>
                    <a:pt x="148495" y="69264"/>
                    <a:pt x="146780" y="63930"/>
                  </a:cubicBezTo>
                  <a:cubicBezTo>
                    <a:pt x="144819" y="60655"/>
                    <a:pt x="140981" y="59005"/>
                    <a:pt x="137255" y="59834"/>
                  </a:cubicBezTo>
                  <a:cubicBezTo>
                    <a:pt x="128173" y="61488"/>
                    <a:pt x="119317" y="64205"/>
                    <a:pt x="110871" y="67931"/>
                  </a:cubicBezTo>
                  <a:cubicBezTo>
                    <a:pt x="105079" y="70417"/>
                    <a:pt x="99129" y="72517"/>
                    <a:pt x="93059" y="74217"/>
                  </a:cubicBezTo>
                  <a:cubicBezTo>
                    <a:pt x="75265" y="78190"/>
                    <a:pt x="58348" y="85389"/>
                    <a:pt x="43148" y="95458"/>
                  </a:cubicBezTo>
                  <a:cubicBezTo>
                    <a:pt x="40341" y="96890"/>
                    <a:pt x="37823" y="98827"/>
                    <a:pt x="35719" y="101173"/>
                  </a:cubicBezTo>
                  <a:cubicBezTo>
                    <a:pt x="23437" y="110959"/>
                    <a:pt x="11940" y="121691"/>
                    <a:pt x="1334" y="133272"/>
                  </a:cubicBezTo>
                  <a:lnTo>
                    <a:pt x="0" y="134606"/>
                  </a:lnTo>
                  <a:lnTo>
                    <a:pt x="36290" y="151560"/>
                  </a:lnTo>
                  <a:cubicBezTo>
                    <a:pt x="39206" y="148599"/>
                    <a:pt x="42395" y="145920"/>
                    <a:pt x="45815" y="143559"/>
                  </a:cubicBezTo>
                  <a:cubicBezTo>
                    <a:pt x="50048" y="140448"/>
                    <a:pt x="54698" y="137947"/>
                    <a:pt x="59627" y="136130"/>
                  </a:cubicBezTo>
                  <a:cubicBezTo>
                    <a:pt x="65913" y="133844"/>
                    <a:pt x="81439" y="128700"/>
                    <a:pt x="96298" y="123557"/>
                  </a:cubicBezTo>
                  <a:cubicBezTo>
                    <a:pt x="111157" y="118413"/>
                    <a:pt x="126111" y="114032"/>
                    <a:pt x="131255" y="111460"/>
                  </a:cubicBezTo>
                  <a:cubicBezTo>
                    <a:pt x="134585" y="110283"/>
                    <a:pt x="137778" y="108750"/>
                    <a:pt x="140780" y="106888"/>
                  </a:cubicBezTo>
                  <a:cubicBezTo>
                    <a:pt x="147076" y="101565"/>
                    <a:pt x="152311" y="95102"/>
                    <a:pt x="156210" y="87838"/>
                  </a:cubicBezTo>
                  <a:cubicBezTo>
                    <a:pt x="157353" y="85552"/>
                    <a:pt x="159067" y="83266"/>
                    <a:pt x="160211" y="80980"/>
                  </a:cubicBezTo>
                  <a:lnTo>
                    <a:pt x="201454" y="14305"/>
                  </a:lnTo>
                  <a:cubicBezTo>
                    <a:pt x="205550" y="6304"/>
                    <a:pt x="203740" y="2875"/>
                    <a:pt x="202121" y="11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6" name="Freihandform: Form 97">
              <a:extLst>
                <a:ext uri="{FF2B5EF4-FFF2-40B4-BE49-F238E27FC236}">
                  <a16:creationId xmlns:a16="http://schemas.microsoft.com/office/drawing/2014/main" id="{7BD758B0-93F8-482B-9BFB-805D1927B4EC}"/>
                </a:ext>
              </a:extLst>
            </p:cNvPr>
            <p:cNvSpPr/>
            <p:nvPr/>
          </p:nvSpPr>
          <p:spPr>
            <a:xfrm>
              <a:off x="3743293" y="2578525"/>
              <a:ext cx="203522" cy="151468"/>
            </a:xfrm>
            <a:custGeom>
              <a:avLst/>
              <a:gdLst>
                <a:gd name="connsiteX0" fmla="*/ 1973 w 203522"/>
                <a:gd name="connsiteY0" fmla="*/ 974 h 151468"/>
                <a:gd name="connsiteX1" fmla="*/ 1973 w 203522"/>
                <a:gd name="connsiteY1" fmla="*/ 974 h 151468"/>
                <a:gd name="connsiteX2" fmla="*/ 18547 w 203522"/>
                <a:gd name="connsiteY2" fmla="*/ 4403 h 151468"/>
                <a:gd name="connsiteX3" fmla="*/ 23690 w 203522"/>
                <a:gd name="connsiteY3" fmla="*/ 8403 h 151468"/>
                <a:gd name="connsiteX4" fmla="*/ 63886 w 203522"/>
                <a:gd name="connsiteY4" fmla="*/ 54790 h 151468"/>
                <a:gd name="connsiteX5" fmla="*/ 65029 w 203522"/>
                <a:gd name="connsiteY5" fmla="*/ 55361 h 151468"/>
                <a:gd name="connsiteX6" fmla="*/ 63886 w 203522"/>
                <a:gd name="connsiteY6" fmla="*/ 55361 h 151468"/>
                <a:gd name="connsiteX7" fmla="*/ 51218 w 203522"/>
                <a:gd name="connsiteY7" fmla="*/ 64029 h 151468"/>
                <a:gd name="connsiteX8" fmla="*/ 65600 w 203522"/>
                <a:gd name="connsiteY8" fmla="*/ 84032 h 151468"/>
                <a:gd name="connsiteX9" fmla="*/ 103700 w 203522"/>
                <a:gd name="connsiteY9" fmla="*/ 103082 h 151468"/>
                <a:gd name="connsiteX10" fmla="*/ 98557 w 203522"/>
                <a:gd name="connsiteY10" fmla="*/ 100224 h 151468"/>
                <a:gd name="connsiteX11" fmla="*/ 70744 w 203522"/>
                <a:gd name="connsiteY11" fmla="*/ 82889 h 151468"/>
                <a:gd name="connsiteX12" fmla="*/ 57028 w 203522"/>
                <a:gd name="connsiteY12" fmla="*/ 63839 h 151468"/>
                <a:gd name="connsiteX13" fmla="*/ 66553 w 203522"/>
                <a:gd name="connsiteY13" fmla="*/ 59743 h 151468"/>
                <a:gd name="connsiteX14" fmla="*/ 92937 w 203522"/>
                <a:gd name="connsiteY14" fmla="*/ 67839 h 151468"/>
                <a:gd name="connsiteX15" fmla="*/ 110654 w 203522"/>
                <a:gd name="connsiteY15" fmla="*/ 74126 h 151468"/>
                <a:gd name="connsiteX16" fmla="*/ 160565 w 203522"/>
                <a:gd name="connsiteY16" fmla="*/ 95366 h 151468"/>
                <a:gd name="connsiteX17" fmla="*/ 167994 w 203522"/>
                <a:gd name="connsiteY17" fmla="*/ 101081 h 151468"/>
                <a:gd name="connsiteX18" fmla="*/ 202379 w 203522"/>
                <a:gd name="connsiteY18" fmla="*/ 133181 h 151468"/>
                <a:gd name="connsiteX19" fmla="*/ 203522 w 203522"/>
                <a:gd name="connsiteY19" fmla="*/ 134609 h 151468"/>
                <a:gd name="connsiteX20" fmla="*/ 167423 w 203522"/>
                <a:gd name="connsiteY20" fmla="*/ 151469 h 151468"/>
                <a:gd name="connsiteX21" fmla="*/ 157136 w 203522"/>
                <a:gd name="connsiteY21" fmla="*/ 143468 h 151468"/>
                <a:gd name="connsiteX22" fmla="*/ 143896 w 203522"/>
                <a:gd name="connsiteY22" fmla="*/ 136038 h 151468"/>
                <a:gd name="connsiteX23" fmla="*/ 107225 w 203522"/>
                <a:gd name="connsiteY23" fmla="*/ 123465 h 151468"/>
                <a:gd name="connsiteX24" fmla="*/ 71696 w 203522"/>
                <a:gd name="connsiteY24" fmla="*/ 111368 h 151468"/>
                <a:gd name="connsiteX25" fmla="*/ 63124 w 203522"/>
                <a:gd name="connsiteY25" fmla="*/ 106796 h 151468"/>
                <a:gd name="connsiteX26" fmla="*/ 47598 w 203522"/>
                <a:gd name="connsiteY26" fmla="*/ 87746 h 151468"/>
                <a:gd name="connsiteX27" fmla="*/ 43598 w 203522"/>
                <a:gd name="connsiteY27" fmla="*/ 80888 h 151468"/>
                <a:gd name="connsiteX28" fmla="*/ 2354 w 203522"/>
                <a:gd name="connsiteY28" fmla="*/ 14213 h 151468"/>
                <a:gd name="connsiteX29" fmla="*/ 1973 w 203522"/>
                <a:gd name="connsiteY29" fmla="*/ 974 h 151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03522" h="151468">
                  <a:moveTo>
                    <a:pt x="1973" y="974"/>
                  </a:moveTo>
                  <a:lnTo>
                    <a:pt x="1973" y="974"/>
                  </a:lnTo>
                  <a:cubicBezTo>
                    <a:pt x="7702" y="-1114"/>
                    <a:pt x="14118" y="213"/>
                    <a:pt x="18547" y="4403"/>
                  </a:cubicBezTo>
                  <a:cubicBezTo>
                    <a:pt x="20412" y="5530"/>
                    <a:pt x="22139" y="6873"/>
                    <a:pt x="23690" y="8403"/>
                  </a:cubicBezTo>
                  <a:cubicBezTo>
                    <a:pt x="30644" y="15833"/>
                    <a:pt x="63886" y="53647"/>
                    <a:pt x="63886" y="54790"/>
                  </a:cubicBezTo>
                  <a:lnTo>
                    <a:pt x="65029" y="55361"/>
                  </a:lnTo>
                  <a:lnTo>
                    <a:pt x="63886" y="55361"/>
                  </a:lnTo>
                  <a:cubicBezTo>
                    <a:pt x="57028" y="57076"/>
                    <a:pt x="52361" y="59933"/>
                    <a:pt x="51218" y="64029"/>
                  </a:cubicBezTo>
                  <a:cubicBezTo>
                    <a:pt x="49503" y="69744"/>
                    <a:pt x="54647" y="76602"/>
                    <a:pt x="65600" y="84032"/>
                  </a:cubicBezTo>
                  <a:cubicBezTo>
                    <a:pt x="77328" y="92165"/>
                    <a:pt x="90158" y="98580"/>
                    <a:pt x="103700" y="103082"/>
                  </a:cubicBezTo>
                  <a:cubicBezTo>
                    <a:pt x="102192" y="101798"/>
                    <a:pt x="100444" y="100827"/>
                    <a:pt x="98557" y="100224"/>
                  </a:cubicBezTo>
                  <a:cubicBezTo>
                    <a:pt x="88460" y="93747"/>
                    <a:pt x="78173" y="88032"/>
                    <a:pt x="70744" y="82889"/>
                  </a:cubicBezTo>
                  <a:cubicBezTo>
                    <a:pt x="59314" y="75459"/>
                    <a:pt x="55313" y="69173"/>
                    <a:pt x="57028" y="63839"/>
                  </a:cubicBezTo>
                  <a:cubicBezTo>
                    <a:pt x="58989" y="60564"/>
                    <a:pt x="62827" y="58913"/>
                    <a:pt x="66553" y="59743"/>
                  </a:cubicBezTo>
                  <a:cubicBezTo>
                    <a:pt x="75629" y="61422"/>
                    <a:pt x="84482" y="64139"/>
                    <a:pt x="92937" y="67839"/>
                  </a:cubicBezTo>
                  <a:cubicBezTo>
                    <a:pt x="98692" y="70338"/>
                    <a:pt x="104611" y="72439"/>
                    <a:pt x="110654" y="74126"/>
                  </a:cubicBezTo>
                  <a:cubicBezTo>
                    <a:pt x="128448" y="78098"/>
                    <a:pt x="145365" y="85297"/>
                    <a:pt x="160565" y="95366"/>
                  </a:cubicBezTo>
                  <a:cubicBezTo>
                    <a:pt x="163372" y="96798"/>
                    <a:pt x="165890" y="98736"/>
                    <a:pt x="167994" y="101081"/>
                  </a:cubicBezTo>
                  <a:cubicBezTo>
                    <a:pt x="180319" y="110818"/>
                    <a:pt x="191819" y="121554"/>
                    <a:pt x="202379" y="133181"/>
                  </a:cubicBezTo>
                  <a:lnTo>
                    <a:pt x="203522" y="134609"/>
                  </a:lnTo>
                  <a:lnTo>
                    <a:pt x="167423" y="151469"/>
                  </a:lnTo>
                  <a:cubicBezTo>
                    <a:pt x="164363" y="148358"/>
                    <a:pt x="160904" y="145667"/>
                    <a:pt x="157136" y="143468"/>
                  </a:cubicBezTo>
                  <a:cubicBezTo>
                    <a:pt x="153191" y="140236"/>
                    <a:pt x="148710" y="137722"/>
                    <a:pt x="143896" y="136038"/>
                  </a:cubicBezTo>
                  <a:cubicBezTo>
                    <a:pt x="137609" y="133752"/>
                    <a:pt x="122179" y="128609"/>
                    <a:pt x="107225" y="123465"/>
                  </a:cubicBezTo>
                  <a:cubicBezTo>
                    <a:pt x="92270" y="118322"/>
                    <a:pt x="77411" y="113940"/>
                    <a:pt x="71696" y="111368"/>
                  </a:cubicBezTo>
                  <a:cubicBezTo>
                    <a:pt x="68725" y="110069"/>
                    <a:pt x="65858" y="108541"/>
                    <a:pt x="63124" y="106796"/>
                  </a:cubicBezTo>
                  <a:cubicBezTo>
                    <a:pt x="56797" y="101479"/>
                    <a:pt x="51530" y="95016"/>
                    <a:pt x="47598" y="87746"/>
                  </a:cubicBezTo>
                  <a:cubicBezTo>
                    <a:pt x="46455" y="85460"/>
                    <a:pt x="44741" y="83174"/>
                    <a:pt x="43598" y="80888"/>
                  </a:cubicBezTo>
                  <a:lnTo>
                    <a:pt x="2354" y="14213"/>
                  </a:lnTo>
                  <a:cubicBezTo>
                    <a:pt x="-1456" y="6117"/>
                    <a:pt x="68" y="2688"/>
                    <a:pt x="1973" y="97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7" name="Freihandform: Form 98">
              <a:extLst>
                <a:ext uri="{FF2B5EF4-FFF2-40B4-BE49-F238E27FC236}">
                  <a16:creationId xmlns:a16="http://schemas.microsoft.com/office/drawing/2014/main" id="{7B4CE783-54DC-43A5-8210-07393A967362}"/>
                </a:ext>
              </a:extLst>
            </p:cNvPr>
            <p:cNvSpPr/>
            <p:nvPr/>
          </p:nvSpPr>
          <p:spPr>
            <a:xfrm>
              <a:off x="3932672" y="2412526"/>
              <a:ext cx="56529" cy="265250"/>
            </a:xfrm>
            <a:custGeom>
              <a:avLst/>
              <a:gdLst>
                <a:gd name="connsiteX0" fmla="*/ 56529 w 56529"/>
                <a:gd name="connsiteY0" fmla="*/ 857 h 265250"/>
                <a:gd name="connsiteX1" fmla="*/ 56529 w 56529"/>
                <a:gd name="connsiteY1" fmla="*/ 0 h 265250"/>
                <a:gd name="connsiteX2" fmla="*/ 38622 w 56529"/>
                <a:gd name="connsiteY2" fmla="*/ 12287 h 265250"/>
                <a:gd name="connsiteX3" fmla="*/ 3951 w 56529"/>
                <a:gd name="connsiteY3" fmla="*/ 79915 h 265250"/>
                <a:gd name="connsiteX4" fmla="*/ 40337 w 56529"/>
                <a:gd name="connsiteY4" fmla="*/ 211265 h 265250"/>
                <a:gd name="connsiteX5" fmla="*/ 42051 w 56529"/>
                <a:gd name="connsiteY5" fmla="*/ 229553 h 265250"/>
                <a:gd name="connsiteX6" fmla="*/ 12524 w 56529"/>
                <a:gd name="connsiteY6" fmla="*/ 236030 h 265250"/>
                <a:gd name="connsiteX7" fmla="*/ 1761 w 56529"/>
                <a:gd name="connsiteY7" fmla="*/ 259747 h 265250"/>
                <a:gd name="connsiteX8" fmla="*/ 27954 w 56529"/>
                <a:gd name="connsiteY8" fmla="*/ 259747 h 265250"/>
                <a:gd name="connsiteX9" fmla="*/ 47004 w 56529"/>
                <a:gd name="connsiteY9" fmla="*/ 231648 h 265250"/>
                <a:gd name="connsiteX10" fmla="*/ 47004 w 56529"/>
                <a:gd name="connsiteY10" fmla="*/ 231648 h 265250"/>
                <a:gd name="connsiteX11" fmla="*/ 47004 w 56529"/>
                <a:gd name="connsiteY11" fmla="*/ 231648 h 265250"/>
                <a:gd name="connsiteX12" fmla="*/ 15572 w 56529"/>
                <a:gd name="connsiteY12" fmla="*/ 104775 h 265250"/>
                <a:gd name="connsiteX13" fmla="*/ 56529 w 56529"/>
                <a:gd name="connsiteY13" fmla="*/ 857 h 265250"/>
                <a:gd name="connsiteX14" fmla="*/ 22049 w 56529"/>
                <a:gd name="connsiteY14" fmla="*/ 259080 h 265250"/>
                <a:gd name="connsiteX15" fmla="*/ 4713 w 56529"/>
                <a:gd name="connsiteY15" fmla="*/ 256413 h 265250"/>
                <a:gd name="connsiteX16" fmla="*/ 4713 w 56529"/>
                <a:gd name="connsiteY16" fmla="*/ 252603 h 265250"/>
                <a:gd name="connsiteX17" fmla="*/ 8071 w 56529"/>
                <a:gd name="connsiteY17" fmla="*/ 252341 h 265250"/>
                <a:gd name="connsiteX18" fmla="*/ 8333 w 56529"/>
                <a:gd name="connsiteY18" fmla="*/ 252603 h 265250"/>
                <a:gd name="connsiteX19" fmla="*/ 22335 w 56529"/>
                <a:gd name="connsiteY19" fmla="*/ 257080 h 265250"/>
                <a:gd name="connsiteX20" fmla="*/ 25002 w 56529"/>
                <a:gd name="connsiteY20" fmla="*/ 256413 h 265250"/>
                <a:gd name="connsiteX21" fmla="*/ 22049 w 56529"/>
                <a:gd name="connsiteY21" fmla="*/ 259080 h 26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6529" h="265250">
                  <a:moveTo>
                    <a:pt x="56529" y="857"/>
                  </a:moveTo>
                  <a:cubicBezTo>
                    <a:pt x="56529" y="286"/>
                    <a:pt x="56529" y="0"/>
                    <a:pt x="56529" y="0"/>
                  </a:cubicBezTo>
                  <a:cubicBezTo>
                    <a:pt x="54339" y="0"/>
                    <a:pt x="43671" y="10954"/>
                    <a:pt x="38622" y="12287"/>
                  </a:cubicBezTo>
                  <a:cubicBezTo>
                    <a:pt x="15191" y="18479"/>
                    <a:pt x="3761" y="48292"/>
                    <a:pt x="3951" y="79915"/>
                  </a:cubicBezTo>
                  <a:cubicBezTo>
                    <a:pt x="3951" y="121730"/>
                    <a:pt x="30050" y="139446"/>
                    <a:pt x="40337" y="211265"/>
                  </a:cubicBezTo>
                  <a:cubicBezTo>
                    <a:pt x="41004" y="216408"/>
                    <a:pt x="40337" y="204026"/>
                    <a:pt x="42051" y="229553"/>
                  </a:cubicBezTo>
                  <a:cubicBezTo>
                    <a:pt x="31744" y="227906"/>
                    <a:pt x="21196" y="230220"/>
                    <a:pt x="12524" y="236030"/>
                  </a:cubicBezTo>
                  <a:cubicBezTo>
                    <a:pt x="-6431" y="248031"/>
                    <a:pt x="1761" y="259747"/>
                    <a:pt x="1761" y="259747"/>
                  </a:cubicBezTo>
                  <a:cubicBezTo>
                    <a:pt x="1761" y="259747"/>
                    <a:pt x="9476" y="272129"/>
                    <a:pt x="27954" y="259747"/>
                  </a:cubicBezTo>
                  <a:cubicBezTo>
                    <a:pt x="38115" y="253624"/>
                    <a:pt x="45078" y="243353"/>
                    <a:pt x="47004" y="231648"/>
                  </a:cubicBezTo>
                  <a:lnTo>
                    <a:pt x="47004" y="231648"/>
                  </a:lnTo>
                  <a:lnTo>
                    <a:pt x="47004" y="231648"/>
                  </a:lnTo>
                  <a:cubicBezTo>
                    <a:pt x="47766" y="168974"/>
                    <a:pt x="27002" y="141542"/>
                    <a:pt x="15572" y="104775"/>
                  </a:cubicBezTo>
                  <a:cubicBezTo>
                    <a:pt x="-10241" y="22574"/>
                    <a:pt x="55101" y="22193"/>
                    <a:pt x="56529" y="857"/>
                  </a:cubicBezTo>
                  <a:close/>
                  <a:moveTo>
                    <a:pt x="22049" y="259080"/>
                  </a:moveTo>
                  <a:cubicBezTo>
                    <a:pt x="16408" y="262608"/>
                    <a:pt x="9033" y="261473"/>
                    <a:pt x="4713" y="256413"/>
                  </a:cubicBezTo>
                  <a:cubicBezTo>
                    <a:pt x="4713" y="256413"/>
                    <a:pt x="2904" y="254127"/>
                    <a:pt x="4713" y="252603"/>
                  </a:cubicBezTo>
                  <a:cubicBezTo>
                    <a:pt x="5568" y="251604"/>
                    <a:pt x="7071" y="251486"/>
                    <a:pt x="8071" y="252341"/>
                  </a:cubicBezTo>
                  <a:cubicBezTo>
                    <a:pt x="8165" y="252421"/>
                    <a:pt x="8252" y="252509"/>
                    <a:pt x="8333" y="252603"/>
                  </a:cubicBezTo>
                  <a:cubicBezTo>
                    <a:pt x="11294" y="257297"/>
                    <a:pt x="17199" y="259185"/>
                    <a:pt x="22335" y="257080"/>
                  </a:cubicBezTo>
                  <a:cubicBezTo>
                    <a:pt x="22335" y="257080"/>
                    <a:pt x="24811" y="256127"/>
                    <a:pt x="25002" y="256413"/>
                  </a:cubicBezTo>
                  <a:cubicBezTo>
                    <a:pt x="25192" y="256699"/>
                    <a:pt x="22049" y="259080"/>
                    <a:pt x="22049" y="2590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8" name="Freihandform: Form 118">
              <a:extLst>
                <a:ext uri="{FF2B5EF4-FFF2-40B4-BE49-F238E27FC236}">
                  <a16:creationId xmlns:a16="http://schemas.microsoft.com/office/drawing/2014/main" id="{EF581BB0-8FBD-43F0-B82D-EC13B7020693}"/>
                </a:ext>
              </a:extLst>
            </p:cNvPr>
            <p:cNvSpPr/>
            <p:nvPr/>
          </p:nvSpPr>
          <p:spPr>
            <a:xfrm>
              <a:off x="3982630" y="2426131"/>
              <a:ext cx="81535" cy="65166"/>
            </a:xfrm>
            <a:custGeom>
              <a:avLst/>
              <a:gdLst>
                <a:gd name="connsiteX0" fmla="*/ 78486 w 81535"/>
                <a:gd name="connsiteY0" fmla="*/ 45449 h 65166"/>
                <a:gd name="connsiteX1" fmla="*/ 81534 w 81535"/>
                <a:gd name="connsiteY1" fmla="*/ 65166 h 65166"/>
                <a:gd name="connsiteX2" fmla="*/ 39719 w 81535"/>
                <a:gd name="connsiteY2" fmla="*/ 55641 h 65166"/>
                <a:gd name="connsiteX3" fmla="*/ 0 w 81535"/>
                <a:gd name="connsiteY3" fmla="*/ 11636 h 65166"/>
                <a:gd name="connsiteX4" fmla="*/ 54293 w 81535"/>
                <a:gd name="connsiteY4" fmla="*/ 39639 h 65166"/>
                <a:gd name="connsiteX5" fmla="*/ 2000 w 81535"/>
                <a:gd name="connsiteY5" fmla="*/ 9635 h 65166"/>
                <a:gd name="connsiteX6" fmla="*/ 78486 w 81535"/>
                <a:gd name="connsiteY6" fmla="*/ 45449 h 65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535" h="65166">
                  <a:moveTo>
                    <a:pt x="78486" y="45449"/>
                  </a:moveTo>
                  <a:cubicBezTo>
                    <a:pt x="80551" y="51816"/>
                    <a:pt x="81581" y="58473"/>
                    <a:pt x="81534" y="65166"/>
                  </a:cubicBezTo>
                  <a:cubicBezTo>
                    <a:pt x="81534" y="65166"/>
                    <a:pt x="49339" y="56879"/>
                    <a:pt x="39719" y="55641"/>
                  </a:cubicBezTo>
                  <a:cubicBezTo>
                    <a:pt x="19907" y="52593"/>
                    <a:pt x="5620" y="39258"/>
                    <a:pt x="0" y="11636"/>
                  </a:cubicBezTo>
                  <a:cubicBezTo>
                    <a:pt x="21143" y="13234"/>
                    <a:pt x="40733" y="23338"/>
                    <a:pt x="54293" y="39639"/>
                  </a:cubicBezTo>
                  <a:cubicBezTo>
                    <a:pt x="54292" y="39639"/>
                    <a:pt x="45244" y="14017"/>
                    <a:pt x="2000" y="9635"/>
                  </a:cubicBezTo>
                  <a:cubicBezTo>
                    <a:pt x="2000" y="9540"/>
                    <a:pt x="47244" y="-27893"/>
                    <a:pt x="78486" y="4544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9" name="Freihandform: Form 119">
              <a:extLst>
                <a:ext uri="{FF2B5EF4-FFF2-40B4-BE49-F238E27FC236}">
                  <a16:creationId xmlns:a16="http://schemas.microsoft.com/office/drawing/2014/main" id="{D4A67BB8-C43E-4E39-A0F2-4654F5E22163}"/>
                </a:ext>
              </a:extLst>
            </p:cNvPr>
            <p:cNvSpPr/>
            <p:nvPr/>
          </p:nvSpPr>
          <p:spPr>
            <a:xfrm>
              <a:off x="3868425" y="2300685"/>
              <a:ext cx="109364" cy="114983"/>
            </a:xfrm>
            <a:custGeom>
              <a:avLst/>
              <a:gdLst>
                <a:gd name="connsiteX0" fmla="*/ 104299 w 109364"/>
                <a:gd name="connsiteY0" fmla="*/ 101934 h 114983"/>
                <a:gd name="connsiteX1" fmla="*/ 109347 w 109364"/>
                <a:gd name="connsiteY1" fmla="*/ 77646 h 114983"/>
                <a:gd name="connsiteX2" fmla="*/ 62579 w 109364"/>
                <a:gd name="connsiteY2" fmla="*/ 14019 h 114983"/>
                <a:gd name="connsiteX3" fmla="*/ 30861 w 109364"/>
                <a:gd name="connsiteY3" fmla="*/ 1922 h 114983"/>
                <a:gd name="connsiteX4" fmla="*/ 0 w 109364"/>
                <a:gd name="connsiteY4" fmla="*/ 779 h 114983"/>
                <a:gd name="connsiteX5" fmla="*/ 22288 w 109364"/>
                <a:gd name="connsiteY5" fmla="*/ 62882 h 114983"/>
                <a:gd name="connsiteX6" fmla="*/ 22288 w 109364"/>
                <a:gd name="connsiteY6" fmla="*/ 63930 h 114983"/>
                <a:gd name="connsiteX7" fmla="*/ 33433 w 109364"/>
                <a:gd name="connsiteY7" fmla="*/ 85837 h 114983"/>
                <a:gd name="connsiteX8" fmla="*/ 57245 w 109364"/>
                <a:gd name="connsiteY8" fmla="*/ 104887 h 114983"/>
                <a:gd name="connsiteX9" fmla="*/ 96488 w 109364"/>
                <a:gd name="connsiteY9" fmla="*/ 114984 h 114983"/>
                <a:gd name="connsiteX10" fmla="*/ 96012 w 109364"/>
                <a:gd name="connsiteY10" fmla="*/ 112317 h 114983"/>
                <a:gd name="connsiteX11" fmla="*/ 95345 w 109364"/>
                <a:gd name="connsiteY11" fmla="*/ 111364 h 114983"/>
                <a:gd name="connsiteX12" fmla="*/ 95345 w 109364"/>
                <a:gd name="connsiteY12" fmla="*/ 111364 h 114983"/>
                <a:gd name="connsiteX13" fmla="*/ 90011 w 109364"/>
                <a:gd name="connsiteY13" fmla="*/ 94124 h 114983"/>
                <a:gd name="connsiteX14" fmla="*/ 73152 w 109364"/>
                <a:gd name="connsiteY14" fmla="*/ 64120 h 114983"/>
                <a:gd name="connsiteX15" fmla="*/ 44196 w 109364"/>
                <a:gd name="connsiteY15" fmla="*/ 38212 h 114983"/>
                <a:gd name="connsiteX16" fmla="*/ 51816 w 109364"/>
                <a:gd name="connsiteY16" fmla="*/ 41165 h 114983"/>
                <a:gd name="connsiteX17" fmla="*/ 80391 w 109364"/>
                <a:gd name="connsiteY17" fmla="*/ 66597 h 114983"/>
                <a:gd name="connsiteX18" fmla="*/ 95250 w 109364"/>
                <a:gd name="connsiteY18" fmla="*/ 97172 h 114983"/>
                <a:gd name="connsiteX19" fmla="*/ 99060 w 109364"/>
                <a:gd name="connsiteY19" fmla="*/ 111078 h 114983"/>
                <a:gd name="connsiteX20" fmla="*/ 99060 w 109364"/>
                <a:gd name="connsiteY20" fmla="*/ 112698 h 114983"/>
                <a:gd name="connsiteX21" fmla="*/ 100489 w 109364"/>
                <a:gd name="connsiteY21" fmla="*/ 110316 h 114983"/>
                <a:gd name="connsiteX22" fmla="*/ 104299 w 109364"/>
                <a:gd name="connsiteY22" fmla="*/ 101934 h 114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09364" h="114983">
                  <a:moveTo>
                    <a:pt x="104299" y="101934"/>
                  </a:moveTo>
                  <a:cubicBezTo>
                    <a:pt x="107372" y="94191"/>
                    <a:pt x="109080" y="85973"/>
                    <a:pt x="109347" y="77646"/>
                  </a:cubicBezTo>
                  <a:cubicBezTo>
                    <a:pt x="109823" y="57643"/>
                    <a:pt x="100774" y="32973"/>
                    <a:pt x="62579" y="14019"/>
                  </a:cubicBezTo>
                  <a:cubicBezTo>
                    <a:pt x="52372" y="9086"/>
                    <a:pt x="41760" y="5039"/>
                    <a:pt x="30861" y="1922"/>
                  </a:cubicBezTo>
                  <a:cubicBezTo>
                    <a:pt x="20709" y="-172"/>
                    <a:pt x="10279" y="-558"/>
                    <a:pt x="0" y="779"/>
                  </a:cubicBezTo>
                  <a:cubicBezTo>
                    <a:pt x="0" y="779"/>
                    <a:pt x="18288" y="48404"/>
                    <a:pt x="22288" y="62882"/>
                  </a:cubicBezTo>
                  <a:lnTo>
                    <a:pt x="22288" y="63930"/>
                  </a:lnTo>
                  <a:cubicBezTo>
                    <a:pt x="24650" y="71845"/>
                    <a:pt x="28425" y="79268"/>
                    <a:pt x="33433" y="85837"/>
                  </a:cubicBezTo>
                  <a:cubicBezTo>
                    <a:pt x="39706" y="94026"/>
                    <a:pt x="47879" y="100564"/>
                    <a:pt x="57245" y="104887"/>
                  </a:cubicBezTo>
                  <a:cubicBezTo>
                    <a:pt x="69560" y="110731"/>
                    <a:pt x="82882" y="114158"/>
                    <a:pt x="96488" y="114984"/>
                  </a:cubicBezTo>
                  <a:cubicBezTo>
                    <a:pt x="96377" y="114087"/>
                    <a:pt x="96218" y="113196"/>
                    <a:pt x="96012" y="112317"/>
                  </a:cubicBezTo>
                  <a:lnTo>
                    <a:pt x="95345" y="111364"/>
                  </a:lnTo>
                  <a:lnTo>
                    <a:pt x="95345" y="111364"/>
                  </a:lnTo>
                  <a:cubicBezTo>
                    <a:pt x="94060" y="105476"/>
                    <a:pt x="92276" y="99709"/>
                    <a:pt x="90011" y="94124"/>
                  </a:cubicBezTo>
                  <a:cubicBezTo>
                    <a:pt x="85857" y="83367"/>
                    <a:pt x="80180" y="73262"/>
                    <a:pt x="73152" y="64120"/>
                  </a:cubicBezTo>
                  <a:cubicBezTo>
                    <a:pt x="65109" y="53839"/>
                    <a:pt x="55305" y="45067"/>
                    <a:pt x="44196" y="38212"/>
                  </a:cubicBezTo>
                  <a:cubicBezTo>
                    <a:pt x="46833" y="38926"/>
                    <a:pt x="49387" y="39916"/>
                    <a:pt x="51816" y="41165"/>
                  </a:cubicBezTo>
                  <a:cubicBezTo>
                    <a:pt x="63348" y="47074"/>
                    <a:pt x="73183" y="55828"/>
                    <a:pt x="80391" y="66597"/>
                  </a:cubicBezTo>
                  <a:cubicBezTo>
                    <a:pt x="86840" y="75991"/>
                    <a:pt x="91849" y="86296"/>
                    <a:pt x="95250" y="97172"/>
                  </a:cubicBezTo>
                  <a:cubicBezTo>
                    <a:pt x="96679" y="101458"/>
                    <a:pt x="97917" y="106125"/>
                    <a:pt x="99060" y="111078"/>
                  </a:cubicBezTo>
                  <a:cubicBezTo>
                    <a:pt x="99114" y="111617"/>
                    <a:pt x="99114" y="112159"/>
                    <a:pt x="99060" y="112698"/>
                  </a:cubicBezTo>
                  <a:cubicBezTo>
                    <a:pt x="99060" y="112698"/>
                    <a:pt x="99631" y="111840"/>
                    <a:pt x="100489" y="110316"/>
                  </a:cubicBezTo>
                  <a:cubicBezTo>
                    <a:pt x="101346" y="108792"/>
                    <a:pt x="102870" y="105363"/>
                    <a:pt x="104299" y="1019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0" name="Freihandform: Form 120">
              <a:extLst>
                <a:ext uri="{FF2B5EF4-FFF2-40B4-BE49-F238E27FC236}">
                  <a16:creationId xmlns:a16="http://schemas.microsoft.com/office/drawing/2014/main" id="{FE8DD7CA-2AC7-4D07-9ACC-AEA49CE44CF5}"/>
                </a:ext>
              </a:extLst>
            </p:cNvPr>
            <p:cNvSpPr/>
            <p:nvPr/>
          </p:nvSpPr>
          <p:spPr>
            <a:xfrm>
              <a:off x="3986524" y="2367659"/>
              <a:ext cx="92403" cy="53541"/>
            </a:xfrm>
            <a:custGeom>
              <a:avLst/>
              <a:gdLst>
                <a:gd name="connsiteX0" fmla="*/ 74687 w 92403"/>
                <a:gd name="connsiteY0" fmla="*/ 3909 h 53541"/>
                <a:gd name="connsiteX1" fmla="*/ 92404 w 92403"/>
                <a:gd name="connsiteY1" fmla="*/ 13434 h 53541"/>
                <a:gd name="connsiteX2" fmla="*/ 59447 w 92403"/>
                <a:gd name="connsiteY2" fmla="*/ 40962 h 53541"/>
                <a:gd name="connsiteX3" fmla="*/ 392 w 92403"/>
                <a:gd name="connsiteY3" fmla="*/ 46105 h 53541"/>
                <a:gd name="connsiteX4" fmla="*/ 55447 w 92403"/>
                <a:gd name="connsiteY4" fmla="*/ 19626 h 53541"/>
                <a:gd name="connsiteX5" fmla="*/ 11 w 92403"/>
                <a:gd name="connsiteY5" fmla="*/ 43248 h 53541"/>
                <a:gd name="connsiteX6" fmla="*/ 74687 w 92403"/>
                <a:gd name="connsiteY6" fmla="*/ 3909 h 53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403" h="53541">
                  <a:moveTo>
                    <a:pt x="74687" y="3909"/>
                  </a:moveTo>
                  <a:cubicBezTo>
                    <a:pt x="81095" y="6046"/>
                    <a:pt x="87087" y="9268"/>
                    <a:pt x="92404" y="13434"/>
                  </a:cubicBezTo>
                  <a:cubicBezTo>
                    <a:pt x="92404" y="13434"/>
                    <a:pt x="66400" y="34104"/>
                    <a:pt x="59447" y="40962"/>
                  </a:cubicBezTo>
                  <a:cubicBezTo>
                    <a:pt x="45064" y="54868"/>
                    <a:pt x="25824" y="58202"/>
                    <a:pt x="392" y="46105"/>
                  </a:cubicBezTo>
                  <a:cubicBezTo>
                    <a:pt x="14387" y="30170"/>
                    <a:pt x="34261" y="20611"/>
                    <a:pt x="55447" y="19626"/>
                  </a:cubicBezTo>
                  <a:cubicBezTo>
                    <a:pt x="55447" y="19626"/>
                    <a:pt x="29539" y="11434"/>
                    <a:pt x="11" y="43248"/>
                  </a:cubicBezTo>
                  <a:cubicBezTo>
                    <a:pt x="11" y="43248"/>
                    <a:pt x="-2656" y="-15426"/>
                    <a:pt x="74687" y="390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1" name="Freihandform: Form 121">
              <a:extLst>
                <a:ext uri="{FF2B5EF4-FFF2-40B4-BE49-F238E27FC236}">
                  <a16:creationId xmlns:a16="http://schemas.microsoft.com/office/drawing/2014/main" id="{83870118-EEF9-42A0-982E-4DF2A58B4BA9}"/>
                </a:ext>
              </a:extLst>
            </p:cNvPr>
            <p:cNvSpPr/>
            <p:nvPr/>
          </p:nvSpPr>
          <p:spPr>
            <a:xfrm>
              <a:off x="3843445" y="2612360"/>
              <a:ext cx="229291" cy="99726"/>
            </a:xfrm>
            <a:custGeom>
              <a:avLst/>
              <a:gdLst>
                <a:gd name="connsiteX0" fmla="*/ 141566 w 229291"/>
                <a:gd name="connsiteY0" fmla="*/ 3905 h 99726"/>
                <a:gd name="connsiteX1" fmla="*/ 146329 w 229291"/>
                <a:gd name="connsiteY1" fmla="*/ 6191 h 99726"/>
                <a:gd name="connsiteX2" fmla="*/ 152425 w 229291"/>
                <a:gd name="connsiteY2" fmla="*/ 4096 h 99726"/>
                <a:gd name="connsiteX3" fmla="*/ 160330 w 229291"/>
                <a:gd name="connsiteY3" fmla="*/ 7906 h 99726"/>
                <a:gd name="connsiteX4" fmla="*/ 166617 w 229291"/>
                <a:gd name="connsiteY4" fmla="*/ 6572 h 99726"/>
                <a:gd name="connsiteX5" fmla="*/ 176904 w 229291"/>
                <a:gd name="connsiteY5" fmla="*/ 10668 h 99726"/>
                <a:gd name="connsiteX6" fmla="*/ 176904 w 229291"/>
                <a:gd name="connsiteY6" fmla="*/ 10668 h 99726"/>
                <a:gd name="connsiteX7" fmla="*/ 182714 w 229291"/>
                <a:gd name="connsiteY7" fmla="*/ 9430 h 99726"/>
                <a:gd name="connsiteX8" fmla="*/ 194049 w 229291"/>
                <a:gd name="connsiteY8" fmla="*/ 14573 h 99726"/>
                <a:gd name="connsiteX9" fmla="*/ 198526 w 229291"/>
                <a:gd name="connsiteY9" fmla="*/ 13430 h 99726"/>
                <a:gd name="connsiteX10" fmla="*/ 206050 w 229291"/>
                <a:gd name="connsiteY10" fmla="*/ 17240 h 99726"/>
                <a:gd name="connsiteX11" fmla="*/ 209289 w 229291"/>
                <a:gd name="connsiteY11" fmla="*/ 17240 h 99726"/>
                <a:gd name="connsiteX12" fmla="*/ 224053 w 229291"/>
                <a:gd name="connsiteY12" fmla="*/ 24860 h 99726"/>
                <a:gd name="connsiteX13" fmla="*/ 229292 w 229291"/>
                <a:gd name="connsiteY13" fmla="*/ 29147 h 99726"/>
                <a:gd name="connsiteX14" fmla="*/ 199288 w 229291"/>
                <a:gd name="connsiteY14" fmla="*/ 38672 h 99726"/>
                <a:gd name="connsiteX15" fmla="*/ 157092 w 229291"/>
                <a:gd name="connsiteY15" fmla="*/ 61627 h 99726"/>
                <a:gd name="connsiteX16" fmla="*/ 118992 w 229291"/>
                <a:gd name="connsiteY16" fmla="*/ 99727 h 99726"/>
                <a:gd name="connsiteX17" fmla="*/ 111372 w 229291"/>
                <a:gd name="connsiteY17" fmla="*/ 99727 h 99726"/>
                <a:gd name="connsiteX18" fmla="*/ 80892 w 229291"/>
                <a:gd name="connsiteY18" fmla="*/ 68008 h 99726"/>
                <a:gd name="connsiteX19" fmla="*/ 25933 w 229291"/>
                <a:gd name="connsiteY19" fmla="*/ 38195 h 99726"/>
                <a:gd name="connsiteX20" fmla="*/ 120 w 229291"/>
                <a:gd name="connsiteY20" fmla="*/ 29813 h 99726"/>
                <a:gd name="connsiteX21" fmla="*/ 2287 w 229291"/>
                <a:gd name="connsiteY21" fmla="*/ 25932 h 99726"/>
                <a:gd name="connsiteX22" fmla="*/ 3168 w 229291"/>
                <a:gd name="connsiteY22" fmla="*/ 25813 h 99726"/>
                <a:gd name="connsiteX23" fmla="*/ 12693 w 229291"/>
                <a:gd name="connsiteY23" fmla="*/ 20002 h 99726"/>
                <a:gd name="connsiteX24" fmla="*/ 18503 w 229291"/>
                <a:gd name="connsiteY24" fmla="*/ 21907 h 99726"/>
                <a:gd name="connsiteX25" fmla="*/ 34600 w 229291"/>
                <a:gd name="connsiteY25" fmla="*/ 12382 h 99726"/>
                <a:gd name="connsiteX26" fmla="*/ 41458 w 229291"/>
                <a:gd name="connsiteY26" fmla="*/ 13811 h 99726"/>
                <a:gd name="connsiteX27" fmla="*/ 50983 w 229291"/>
                <a:gd name="connsiteY27" fmla="*/ 8382 h 99726"/>
                <a:gd name="connsiteX28" fmla="*/ 57079 w 229291"/>
                <a:gd name="connsiteY28" fmla="*/ 10287 h 99726"/>
                <a:gd name="connsiteX29" fmla="*/ 68986 w 229291"/>
                <a:gd name="connsiteY29" fmla="*/ 4382 h 99726"/>
                <a:gd name="connsiteX30" fmla="*/ 76891 w 229291"/>
                <a:gd name="connsiteY30" fmla="*/ 6668 h 99726"/>
                <a:gd name="connsiteX31" fmla="*/ 105466 w 229291"/>
                <a:gd name="connsiteY31" fmla="*/ 5144 h 99726"/>
                <a:gd name="connsiteX32" fmla="*/ 105466 w 229291"/>
                <a:gd name="connsiteY32" fmla="*/ 5144 h 99726"/>
                <a:gd name="connsiteX33" fmla="*/ 120421 w 229291"/>
                <a:gd name="connsiteY33" fmla="*/ 0 h 99726"/>
                <a:gd name="connsiteX34" fmla="*/ 122897 w 229291"/>
                <a:gd name="connsiteY34" fmla="*/ 21812 h 99726"/>
                <a:gd name="connsiteX35" fmla="*/ 96322 w 229291"/>
                <a:gd name="connsiteY35" fmla="*/ 30480 h 99726"/>
                <a:gd name="connsiteX36" fmla="*/ 85083 w 229291"/>
                <a:gd name="connsiteY36" fmla="*/ 40862 h 99726"/>
                <a:gd name="connsiteX37" fmla="*/ 83178 w 229291"/>
                <a:gd name="connsiteY37" fmla="*/ 61151 h 99726"/>
                <a:gd name="connsiteX38" fmla="*/ 100037 w 229291"/>
                <a:gd name="connsiteY38" fmla="*/ 72104 h 99726"/>
                <a:gd name="connsiteX39" fmla="*/ 139185 w 229291"/>
                <a:gd name="connsiteY39" fmla="*/ 47339 h 99726"/>
                <a:gd name="connsiteX40" fmla="*/ 141566 w 229291"/>
                <a:gd name="connsiteY40" fmla="*/ 3905 h 99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29291" h="99726">
                  <a:moveTo>
                    <a:pt x="141566" y="3905"/>
                  </a:moveTo>
                  <a:cubicBezTo>
                    <a:pt x="141090" y="1333"/>
                    <a:pt x="144233" y="4477"/>
                    <a:pt x="146329" y="6191"/>
                  </a:cubicBezTo>
                  <a:cubicBezTo>
                    <a:pt x="148084" y="4858"/>
                    <a:pt x="150221" y="4123"/>
                    <a:pt x="152425" y="4096"/>
                  </a:cubicBezTo>
                  <a:cubicBezTo>
                    <a:pt x="155503" y="4094"/>
                    <a:pt x="158414" y="5497"/>
                    <a:pt x="160330" y="7906"/>
                  </a:cubicBezTo>
                  <a:cubicBezTo>
                    <a:pt x="162305" y="7011"/>
                    <a:pt x="164450" y="6556"/>
                    <a:pt x="166617" y="6572"/>
                  </a:cubicBezTo>
                  <a:cubicBezTo>
                    <a:pt x="170440" y="6590"/>
                    <a:pt x="174115" y="8053"/>
                    <a:pt x="176904" y="10668"/>
                  </a:cubicBezTo>
                  <a:lnTo>
                    <a:pt x="176904" y="10668"/>
                  </a:lnTo>
                  <a:cubicBezTo>
                    <a:pt x="178746" y="9894"/>
                    <a:pt x="180717" y="9474"/>
                    <a:pt x="182714" y="9430"/>
                  </a:cubicBezTo>
                  <a:cubicBezTo>
                    <a:pt x="187047" y="9477"/>
                    <a:pt x="191161" y="11343"/>
                    <a:pt x="194049" y="14573"/>
                  </a:cubicBezTo>
                  <a:cubicBezTo>
                    <a:pt x="195425" y="13831"/>
                    <a:pt x="196962" y="13438"/>
                    <a:pt x="198526" y="13430"/>
                  </a:cubicBezTo>
                  <a:cubicBezTo>
                    <a:pt x="201490" y="13460"/>
                    <a:pt x="204272" y="14868"/>
                    <a:pt x="206050" y="17240"/>
                  </a:cubicBezTo>
                  <a:cubicBezTo>
                    <a:pt x="207128" y="17142"/>
                    <a:pt x="208212" y="17142"/>
                    <a:pt x="209289" y="17240"/>
                  </a:cubicBezTo>
                  <a:cubicBezTo>
                    <a:pt x="215143" y="17285"/>
                    <a:pt x="220625" y="20115"/>
                    <a:pt x="224053" y="24860"/>
                  </a:cubicBezTo>
                  <a:cubicBezTo>
                    <a:pt x="224053" y="24860"/>
                    <a:pt x="229292" y="24860"/>
                    <a:pt x="229292" y="29147"/>
                  </a:cubicBezTo>
                  <a:cubicBezTo>
                    <a:pt x="219767" y="32385"/>
                    <a:pt x="199288" y="38672"/>
                    <a:pt x="199288" y="38672"/>
                  </a:cubicBezTo>
                  <a:cubicBezTo>
                    <a:pt x="183931" y="43664"/>
                    <a:pt x="169627" y="51446"/>
                    <a:pt x="157092" y="61627"/>
                  </a:cubicBezTo>
                  <a:cubicBezTo>
                    <a:pt x="142722" y="72539"/>
                    <a:pt x="129904" y="85356"/>
                    <a:pt x="118992" y="99727"/>
                  </a:cubicBezTo>
                  <a:lnTo>
                    <a:pt x="111372" y="99727"/>
                  </a:lnTo>
                  <a:cubicBezTo>
                    <a:pt x="101912" y="88503"/>
                    <a:pt x="91731" y="77907"/>
                    <a:pt x="80892" y="68008"/>
                  </a:cubicBezTo>
                  <a:cubicBezTo>
                    <a:pt x="65014" y="54111"/>
                    <a:pt x="46240" y="43927"/>
                    <a:pt x="25933" y="38195"/>
                  </a:cubicBezTo>
                  <a:cubicBezTo>
                    <a:pt x="17074" y="34766"/>
                    <a:pt x="120" y="29813"/>
                    <a:pt x="120" y="29813"/>
                  </a:cubicBezTo>
                  <a:cubicBezTo>
                    <a:pt x="-354" y="28143"/>
                    <a:pt x="617" y="26405"/>
                    <a:pt x="2287" y="25932"/>
                  </a:cubicBezTo>
                  <a:cubicBezTo>
                    <a:pt x="2573" y="25851"/>
                    <a:pt x="2870" y="25810"/>
                    <a:pt x="3168" y="25813"/>
                  </a:cubicBezTo>
                  <a:cubicBezTo>
                    <a:pt x="5013" y="22253"/>
                    <a:pt x="8684" y="20014"/>
                    <a:pt x="12693" y="20002"/>
                  </a:cubicBezTo>
                  <a:cubicBezTo>
                    <a:pt x="14780" y="20022"/>
                    <a:pt x="16810" y="20687"/>
                    <a:pt x="18503" y="21907"/>
                  </a:cubicBezTo>
                  <a:cubicBezTo>
                    <a:pt x="21834" y="16136"/>
                    <a:pt x="27938" y="12523"/>
                    <a:pt x="34600" y="12382"/>
                  </a:cubicBezTo>
                  <a:cubicBezTo>
                    <a:pt x="36961" y="12379"/>
                    <a:pt x="39296" y="12865"/>
                    <a:pt x="41458" y="13811"/>
                  </a:cubicBezTo>
                  <a:cubicBezTo>
                    <a:pt x="43502" y="10498"/>
                    <a:pt x="47091" y="8452"/>
                    <a:pt x="50983" y="8382"/>
                  </a:cubicBezTo>
                  <a:cubicBezTo>
                    <a:pt x="53157" y="8414"/>
                    <a:pt x="55274" y="9076"/>
                    <a:pt x="57079" y="10287"/>
                  </a:cubicBezTo>
                  <a:cubicBezTo>
                    <a:pt x="59945" y="6612"/>
                    <a:pt x="64326" y="4439"/>
                    <a:pt x="68986" y="4382"/>
                  </a:cubicBezTo>
                  <a:cubicBezTo>
                    <a:pt x="71785" y="4374"/>
                    <a:pt x="74528" y="5167"/>
                    <a:pt x="76891" y="6668"/>
                  </a:cubicBezTo>
                  <a:cubicBezTo>
                    <a:pt x="84633" y="-1056"/>
                    <a:pt x="96948" y="-1713"/>
                    <a:pt x="105466" y="5144"/>
                  </a:cubicBezTo>
                  <a:lnTo>
                    <a:pt x="105466" y="5144"/>
                  </a:lnTo>
                  <a:cubicBezTo>
                    <a:pt x="110130" y="2608"/>
                    <a:pt x="115184" y="869"/>
                    <a:pt x="120421" y="0"/>
                  </a:cubicBezTo>
                  <a:cubicBezTo>
                    <a:pt x="121702" y="7212"/>
                    <a:pt x="122529" y="14497"/>
                    <a:pt x="122897" y="21812"/>
                  </a:cubicBezTo>
                  <a:cubicBezTo>
                    <a:pt x="113533" y="22825"/>
                    <a:pt x="104483" y="25777"/>
                    <a:pt x="96322" y="30480"/>
                  </a:cubicBezTo>
                  <a:cubicBezTo>
                    <a:pt x="91729" y="32893"/>
                    <a:pt x="87852" y="36474"/>
                    <a:pt x="85083" y="40862"/>
                  </a:cubicBezTo>
                  <a:cubicBezTo>
                    <a:pt x="85083" y="40862"/>
                    <a:pt x="78034" y="52673"/>
                    <a:pt x="83178" y="61151"/>
                  </a:cubicBezTo>
                  <a:cubicBezTo>
                    <a:pt x="83178" y="61151"/>
                    <a:pt x="89560" y="72866"/>
                    <a:pt x="100037" y="72104"/>
                  </a:cubicBezTo>
                  <a:cubicBezTo>
                    <a:pt x="116863" y="72416"/>
                    <a:pt x="132258" y="62677"/>
                    <a:pt x="139185" y="47339"/>
                  </a:cubicBezTo>
                  <a:cubicBezTo>
                    <a:pt x="143883" y="33341"/>
                    <a:pt x="144706" y="18333"/>
                    <a:pt x="141566" y="3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02" name="Grafik 154">
            <a:extLst>
              <a:ext uri="{FF2B5EF4-FFF2-40B4-BE49-F238E27FC236}">
                <a16:creationId xmlns:a16="http://schemas.microsoft.com/office/drawing/2014/main" id="{A589A2ED-8F02-4B71-8CA1-F7569E35AAE4}"/>
              </a:ext>
            </a:extLst>
          </p:cNvPr>
          <p:cNvGrpSpPr/>
          <p:nvPr/>
        </p:nvGrpSpPr>
        <p:grpSpPr>
          <a:xfrm>
            <a:off x="9400997" y="2284961"/>
            <a:ext cx="304468" cy="542098"/>
            <a:chOff x="6536771" y="2192770"/>
            <a:chExt cx="259460" cy="461962"/>
          </a:xfrm>
          <a:solidFill>
            <a:srgbClr val="808080"/>
          </a:solidFill>
        </p:grpSpPr>
        <p:sp>
          <p:nvSpPr>
            <p:cNvPr id="203" name="Freihandform: Form 185">
              <a:extLst>
                <a:ext uri="{FF2B5EF4-FFF2-40B4-BE49-F238E27FC236}">
                  <a16:creationId xmlns:a16="http://schemas.microsoft.com/office/drawing/2014/main" id="{242AAC33-248C-4CA9-A806-F67E638F061F}"/>
                </a:ext>
              </a:extLst>
            </p:cNvPr>
            <p:cNvSpPr/>
            <p:nvPr/>
          </p:nvSpPr>
          <p:spPr>
            <a:xfrm>
              <a:off x="6631436" y="2301503"/>
              <a:ext cx="69928" cy="98568"/>
            </a:xfrm>
            <a:custGeom>
              <a:avLst/>
              <a:gdLst>
                <a:gd name="connsiteX0" fmla="*/ 41733 w 69928"/>
                <a:gd name="connsiteY0" fmla="*/ 3566 h 98568"/>
                <a:gd name="connsiteX1" fmla="*/ 30201 w 69928"/>
                <a:gd name="connsiteY1" fmla="*/ 1477 h 98568"/>
                <a:gd name="connsiteX2" fmla="*/ 28112 w 69928"/>
                <a:gd name="connsiteY2" fmla="*/ 3566 h 98568"/>
                <a:gd name="connsiteX3" fmla="*/ 108 w 69928"/>
                <a:gd name="connsiteY3" fmla="*/ 67003 h 98568"/>
                <a:gd name="connsiteX4" fmla="*/ 34970 w 69928"/>
                <a:gd name="connsiteY4" fmla="*/ 98531 h 98568"/>
                <a:gd name="connsiteX5" fmla="*/ 69831 w 69928"/>
                <a:gd name="connsiteY5" fmla="*/ 67003 h 98568"/>
                <a:gd name="connsiteX6" fmla="*/ 41733 w 69928"/>
                <a:gd name="connsiteY6" fmla="*/ 3566 h 98568"/>
                <a:gd name="connsiteX7" fmla="*/ 55163 w 69928"/>
                <a:gd name="connsiteY7" fmla="*/ 83957 h 98568"/>
                <a:gd name="connsiteX8" fmla="*/ 36113 w 69928"/>
                <a:gd name="connsiteY8" fmla="*/ 89482 h 98568"/>
                <a:gd name="connsiteX9" fmla="*/ 33091 w 69928"/>
                <a:gd name="connsiteY9" fmla="*/ 83014 h 98568"/>
                <a:gd name="connsiteX10" fmla="*/ 34779 w 69928"/>
                <a:gd name="connsiteY10" fmla="*/ 80719 h 98568"/>
                <a:gd name="connsiteX11" fmla="*/ 52115 w 69928"/>
                <a:gd name="connsiteY11" fmla="*/ 63383 h 98568"/>
                <a:gd name="connsiteX12" fmla="*/ 59356 w 69928"/>
                <a:gd name="connsiteY12" fmla="*/ 62698 h 98568"/>
                <a:gd name="connsiteX13" fmla="*/ 60878 w 69928"/>
                <a:gd name="connsiteY13" fmla="*/ 64812 h 98568"/>
                <a:gd name="connsiteX14" fmla="*/ 55163 w 69928"/>
                <a:gd name="connsiteY14" fmla="*/ 83957 h 98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9928" h="98568">
                  <a:moveTo>
                    <a:pt x="41733" y="3566"/>
                  </a:moveTo>
                  <a:cubicBezTo>
                    <a:pt x="39125" y="-195"/>
                    <a:pt x="33962" y="-1130"/>
                    <a:pt x="30201" y="1477"/>
                  </a:cubicBezTo>
                  <a:cubicBezTo>
                    <a:pt x="29385" y="2043"/>
                    <a:pt x="28677" y="2750"/>
                    <a:pt x="28112" y="3566"/>
                  </a:cubicBezTo>
                  <a:cubicBezTo>
                    <a:pt x="17444" y="19092"/>
                    <a:pt x="-1606" y="49763"/>
                    <a:pt x="108" y="67003"/>
                  </a:cubicBezTo>
                  <a:cubicBezTo>
                    <a:pt x="1083" y="85310"/>
                    <a:pt x="16657" y="99395"/>
                    <a:pt x="34970" y="98531"/>
                  </a:cubicBezTo>
                  <a:cubicBezTo>
                    <a:pt x="53264" y="99342"/>
                    <a:pt x="68806" y="85286"/>
                    <a:pt x="69831" y="67003"/>
                  </a:cubicBezTo>
                  <a:cubicBezTo>
                    <a:pt x="71451" y="49763"/>
                    <a:pt x="52401" y="19092"/>
                    <a:pt x="41733" y="3566"/>
                  </a:cubicBezTo>
                  <a:close/>
                  <a:moveTo>
                    <a:pt x="55163" y="83957"/>
                  </a:moveTo>
                  <a:cubicBezTo>
                    <a:pt x="50348" y="89220"/>
                    <a:pt x="42996" y="91352"/>
                    <a:pt x="36113" y="89482"/>
                  </a:cubicBezTo>
                  <a:cubicBezTo>
                    <a:pt x="33492" y="88530"/>
                    <a:pt x="32139" y="85634"/>
                    <a:pt x="33091" y="83014"/>
                  </a:cubicBezTo>
                  <a:cubicBezTo>
                    <a:pt x="33421" y="82103"/>
                    <a:pt x="34008" y="81306"/>
                    <a:pt x="34779" y="80719"/>
                  </a:cubicBezTo>
                  <a:lnTo>
                    <a:pt x="52115" y="63383"/>
                  </a:lnTo>
                  <a:cubicBezTo>
                    <a:pt x="53925" y="61194"/>
                    <a:pt x="57167" y="60888"/>
                    <a:pt x="59356" y="62698"/>
                  </a:cubicBezTo>
                  <a:cubicBezTo>
                    <a:pt x="60037" y="63261"/>
                    <a:pt x="60560" y="63989"/>
                    <a:pt x="60878" y="64812"/>
                  </a:cubicBezTo>
                  <a:cubicBezTo>
                    <a:pt x="62566" y="71758"/>
                    <a:pt x="60382" y="79074"/>
                    <a:pt x="55163" y="83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4" name="Freihandform: Form 186">
              <a:extLst>
                <a:ext uri="{FF2B5EF4-FFF2-40B4-BE49-F238E27FC236}">
                  <a16:creationId xmlns:a16="http://schemas.microsoft.com/office/drawing/2014/main" id="{ABB75C30-9157-4FA1-B643-6921CC12A3C9}"/>
                </a:ext>
              </a:extLst>
            </p:cNvPr>
            <p:cNvSpPr/>
            <p:nvPr/>
          </p:nvSpPr>
          <p:spPr>
            <a:xfrm>
              <a:off x="6578548" y="2399959"/>
              <a:ext cx="85924" cy="86325"/>
            </a:xfrm>
            <a:custGeom>
              <a:avLst/>
              <a:gdLst>
                <a:gd name="connsiteX0" fmla="*/ 79571 w 85924"/>
                <a:gd name="connsiteY0" fmla="*/ 45319 h 86325"/>
                <a:gd name="connsiteX1" fmla="*/ 71570 w 85924"/>
                <a:gd name="connsiteY1" fmla="*/ 28650 h 86325"/>
                <a:gd name="connsiteX2" fmla="*/ 23374 w 85924"/>
                <a:gd name="connsiteY2" fmla="*/ 75 h 86325"/>
                <a:gd name="connsiteX3" fmla="*/ 8515 w 85924"/>
                <a:gd name="connsiteY3" fmla="*/ 6171 h 86325"/>
                <a:gd name="connsiteX4" fmla="*/ 514 w 85924"/>
                <a:gd name="connsiteY4" fmla="*/ 31317 h 86325"/>
                <a:gd name="connsiteX5" fmla="*/ 26612 w 85924"/>
                <a:gd name="connsiteY5" fmla="*/ 58558 h 86325"/>
                <a:gd name="connsiteX6" fmla="*/ 51282 w 85924"/>
                <a:gd name="connsiteY6" fmla="*/ 66845 h 86325"/>
                <a:gd name="connsiteX7" fmla="*/ 77380 w 85924"/>
                <a:gd name="connsiteY7" fmla="*/ 84847 h 86325"/>
                <a:gd name="connsiteX8" fmla="*/ 84385 w 85924"/>
                <a:gd name="connsiteY8" fmla="*/ 84903 h 86325"/>
                <a:gd name="connsiteX9" fmla="*/ 85858 w 85924"/>
                <a:gd name="connsiteY9" fmla="*/ 81609 h 86325"/>
                <a:gd name="connsiteX10" fmla="*/ 79571 w 85924"/>
                <a:gd name="connsiteY10" fmla="*/ 45319 h 86325"/>
                <a:gd name="connsiteX11" fmla="*/ 20516 w 85924"/>
                <a:gd name="connsiteY11" fmla="*/ 17696 h 86325"/>
                <a:gd name="connsiteX12" fmla="*/ 81857 w 85924"/>
                <a:gd name="connsiteY12" fmla="*/ 81514 h 86325"/>
                <a:gd name="connsiteX13" fmla="*/ 20516 w 85924"/>
                <a:gd name="connsiteY13" fmla="*/ 17696 h 86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5924" h="86325">
                  <a:moveTo>
                    <a:pt x="79571" y="45319"/>
                  </a:moveTo>
                  <a:cubicBezTo>
                    <a:pt x="77222" y="39615"/>
                    <a:pt x="74551" y="34050"/>
                    <a:pt x="71570" y="28650"/>
                  </a:cubicBezTo>
                  <a:cubicBezTo>
                    <a:pt x="62770" y="10247"/>
                    <a:pt x="43742" y="-1034"/>
                    <a:pt x="23374" y="75"/>
                  </a:cubicBezTo>
                  <a:cubicBezTo>
                    <a:pt x="17883" y="407"/>
                    <a:pt x="12657" y="2551"/>
                    <a:pt x="8515" y="6171"/>
                  </a:cubicBezTo>
                  <a:cubicBezTo>
                    <a:pt x="1726" y="12635"/>
                    <a:pt x="-1291" y="22118"/>
                    <a:pt x="514" y="31317"/>
                  </a:cubicBezTo>
                  <a:cubicBezTo>
                    <a:pt x="2940" y="44821"/>
                    <a:pt x="13224" y="55555"/>
                    <a:pt x="26612" y="58558"/>
                  </a:cubicBezTo>
                  <a:cubicBezTo>
                    <a:pt x="35113" y="60412"/>
                    <a:pt x="43386" y="63191"/>
                    <a:pt x="51282" y="66845"/>
                  </a:cubicBezTo>
                  <a:cubicBezTo>
                    <a:pt x="61018" y="71183"/>
                    <a:pt x="69867" y="77286"/>
                    <a:pt x="77380" y="84847"/>
                  </a:cubicBezTo>
                  <a:cubicBezTo>
                    <a:pt x="79299" y="86797"/>
                    <a:pt x="82435" y="86822"/>
                    <a:pt x="84385" y="84903"/>
                  </a:cubicBezTo>
                  <a:cubicBezTo>
                    <a:pt x="85272" y="84029"/>
                    <a:pt x="85798" y="82853"/>
                    <a:pt x="85858" y="81609"/>
                  </a:cubicBezTo>
                  <a:cubicBezTo>
                    <a:pt x="86342" y="69204"/>
                    <a:pt x="84200" y="56837"/>
                    <a:pt x="79571" y="45319"/>
                  </a:cubicBezTo>
                  <a:close/>
                  <a:moveTo>
                    <a:pt x="20516" y="17696"/>
                  </a:moveTo>
                  <a:cubicBezTo>
                    <a:pt x="20516" y="17696"/>
                    <a:pt x="77666" y="29221"/>
                    <a:pt x="81857" y="81514"/>
                  </a:cubicBezTo>
                  <a:cubicBezTo>
                    <a:pt x="82048" y="81514"/>
                    <a:pt x="70999" y="45890"/>
                    <a:pt x="20516" y="1769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5" name="Freihandform: Form 187">
              <a:extLst>
                <a:ext uri="{FF2B5EF4-FFF2-40B4-BE49-F238E27FC236}">
                  <a16:creationId xmlns:a16="http://schemas.microsoft.com/office/drawing/2014/main" id="{E2158A6C-032A-4484-837C-0870A2562273}"/>
                </a:ext>
              </a:extLst>
            </p:cNvPr>
            <p:cNvSpPr/>
            <p:nvPr/>
          </p:nvSpPr>
          <p:spPr>
            <a:xfrm>
              <a:off x="6668562" y="2400243"/>
              <a:ext cx="85954" cy="86327"/>
            </a:xfrm>
            <a:custGeom>
              <a:avLst/>
              <a:gdLst>
                <a:gd name="connsiteX0" fmla="*/ 35 w 85954"/>
                <a:gd name="connsiteY0" fmla="*/ 81611 h 86327"/>
                <a:gd name="connsiteX1" fmla="*/ 5218 w 85954"/>
                <a:gd name="connsiteY1" fmla="*/ 86322 h 86327"/>
                <a:gd name="connsiteX2" fmla="*/ 8512 w 85954"/>
                <a:gd name="connsiteY2" fmla="*/ 84849 h 86327"/>
                <a:gd name="connsiteX3" fmla="*/ 34610 w 85954"/>
                <a:gd name="connsiteY3" fmla="*/ 66847 h 86327"/>
                <a:gd name="connsiteX4" fmla="*/ 59280 w 85954"/>
                <a:gd name="connsiteY4" fmla="*/ 58560 h 86327"/>
                <a:gd name="connsiteX5" fmla="*/ 85379 w 85954"/>
                <a:gd name="connsiteY5" fmla="*/ 31319 h 86327"/>
                <a:gd name="connsiteX6" fmla="*/ 77759 w 85954"/>
                <a:gd name="connsiteY6" fmla="*/ 6173 h 86327"/>
                <a:gd name="connsiteX7" fmla="*/ 62900 w 85954"/>
                <a:gd name="connsiteY7" fmla="*/ 77 h 86327"/>
                <a:gd name="connsiteX8" fmla="*/ 14608 w 85954"/>
                <a:gd name="connsiteY8" fmla="*/ 28652 h 86327"/>
                <a:gd name="connsiteX9" fmla="*/ 6607 w 85954"/>
                <a:gd name="connsiteY9" fmla="*/ 45320 h 86327"/>
                <a:gd name="connsiteX10" fmla="*/ 35 w 85954"/>
                <a:gd name="connsiteY10" fmla="*/ 81611 h 86327"/>
                <a:gd name="connsiteX11" fmla="*/ 4035 w 85954"/>
                <a:gd name="connsiteY11" fmla="*/ 81611 h 86327"/>
                <a:gd name="connsiteX12" fmla="*/ 65376 w 85954"/>
                <a:gd name="connsiteY12" fmla="*/ 17793 h 86327"/>
                <a:gd name="connsiteX13" fmla="*/ 4035 w 85954"/>
                <a:gd name="connsiteY13" fmla="*/ 81230 h 86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5954" h="86327">
                  <a:moveTo>
                    <a:pt x="35" y="81611"/>
                  </a:moveTo>
                  <a:cubicBezTo>
                    <a:pt x="165" y="84343"/>
                    <a:pt x="2486" y="86452"/>
                    <a:pt x="5218" y="86322"/>
                  </a:cubicBezTo>
                  <a:cubicBezTo>
                    <a:pt x="6462" y="86263"/>
                    <a:pt x="7638" y="85737"/>
                    <a:pt x="8512" y="84849"/>
                  </a:cubicBezTo>
                  <a:cubicBezTo>
                    <a:pt x="16025" y="77288"/>
                    <a:pt x="24874" y="71184"/>
                    <a:pt x="34610" y="66847"/>
                  </a:cubicBezTo>
                  <a:cubicBezTo>
                    <a:pt x="42518" y="63221"/>
                    <a:pt x="50787" y="60443"/>
                    <a:pt x="59280" y="58560"/>
                  </a:cubicBezTo>
                  <a:cubicBezTo>
                    <a:pt x="72668" y="55557"/>
                    <a:pt x="82952" y="44823"/>
                    <a:pt x="85379" y="31319"/>
                  </a:cubicBezTo>
                  <a:cubicBezTo>
                    <a:pt x="87279" y="22186"/>
                    <a:pt x="84409" y="12714"/>
                    <a:pt x="77759" y="6173"/>
                  </a:cubicBezTo>
                  <a:cubicBezTo>
                    <a:pt x="73609" y="2565"/>
                    <a:pt x="68388" y="423"/>
                    <a:pt x="62900" y="77"/>
                  </a:cubicBezTo>
                  <a:cubicBezTo>
                    <a:pt x="42504" y="-1046"/>
                    <a:pt x="23442" y="10234"/>
                    <a:pt x="14608" y="28652"/>
                  </a:cubicBezTo>
                  <a:cubicBezTo>
                    <a:pt x="12132" y="33414"/>
                    <a:pt x="9369" y="38748"/>
                    <a:pt x="6607" y="45320"/>
                  </a:cubicBezTo>
                  <a:cubicBezTo>
                    <a:pt x="1927" y="56832"/>
                    <a:pt x="-311" y="69189"/>
                    <a:pt x="35" y="81611"/>
                  </a:cubicBezTo>
                  <a:close/>
                  <a:moveTo>
                    <a:pt x="4035" y="81611"/>
                  </a:moveTo>
                  <a:cubicBezTo>
                    <a:pt x="8322" y="29318"/>
                    <a:pt x="65376" y="17793"/>
                    <a:pt x="65376" y="17793"/>
                  </a:cubicBezTo>
                  <a:cubicBezTo>
                    <a:pt x="14894" y="45606"/>
                    <a:pt x="4035" y="81230"/>
                    <a:pt x="4035" y="8123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6" name="Freihandform: Form 188">
              <a:extLst>
                <a:ext uri="{FF2B5EF4-FFF2-40B4-BE49-F238E27FC236}">
                  <a16:creationId xmlns:a16="http://schemas.microsoft.com/office/drawing/2014/main" id="{B8EE3461-E4E9-4720-94A0-06CFC18F9ED5}"/>
                </a:ext>
              </a:extLst>
            </p:cNvPr>
            <p:cNvSpPr/>
            <p:nvPr/>
          </p:nvSpPr>
          <p:spPr>
            <a:xfrm>
              <a:off x="6601953" y="2494426"/>
              <a:ext cx="128810" cy="50768"/>
            </a:xfrm>
            <a:custGeom>
              <a:avLst/>
              <a:gdLst>
                <a:gd name="connsiteX0" fmla="*/ 9684 w 128810"/>
                <a:gd name="connsiteY0" fmla="*/ 50768 h 50768"/>
                <a:gd name="connsiteX1" fmla="*/ 119126 w 128810"/>
                <a:gd name="connsiteY1" fmla="*/ 50768 h 50768"/>
                <a:gd name="connsiteX2" fmla="*/ 128792 w 128810"/>
                <a:gd name="connsiteY2" fmla="*/ 39896 h 50768"/>
                <a:gd name="connsiteX3" fmla="*/ 126175 w 128810"/>
                <a:gd name="connsiteY3" fmla="*/ 33623 h 50768"/>
                <a:gd name="connsiteX4" fmla="*/ 64453 w 128810"/>
                <a:gd name="connsiteY4" fmla="*/ 0 h 50768"/>
                <a:gd name="connsiteX5" fmla="*/ 2635 w 128810"/>
                <a:gd name="connsiteY5" fmla="*/ 33623 h 50768"/>
                <a:gd name="connsiteX6" fmla="*/ 3411 w 128810"/>
                <a:gd name="connsiteY6" fmla="*/ 48151 h 50768"/>
                <a:gd name="connsiteX7" fmla="*/ 9684 w 128810"/>
                <a:gd name="connsiteY7" fmla="*/ 50768 h 50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8810" h="50768">
                  <a:moveTo>
                    <a:pt x="9684" y="50768"/>
                  </a:moveTo>
                  <a:lnTo>
                    <a:pt x="119126" y="50768"/>
                  </a:lnTo>
                  <a:cubicBezTo>
                    <a:pt x="124798" y="50435"/>
                    <a:pt x="129126" y="45567"/>
                    <a:pt x="128792" y="39896"/>
                  </a:cubicBezTo>
                  <a:cubicBezTo>
                    <a:pt x="128656" y="37569"/>
                    <a:pt x="127733" y="35357"/>
                    <a:pt x="126175" y="33623"/>
                  </a:cubicBezTo>
                  <a:cubicBezTo>
                    <a:pt x="113792" y="18860"/>
                    <a:pt x="92361" y="0"/>
                    <a:pt x="64453" y="0"/>
                  </a:cubicBezTo>
                  <a:cubicBezTo>
                    <a:pt x="36544" y="0"/>
                    <a:pt x="15113" y="19050"/>
                    <a:pt x="2635" y="33623"/>
                  </a:cubicBezTo>
                  <a:cubicBezTo>
                    <a:pt x="-1162" y="37849"/>
                    <a:pt x="-814" y="44353"/>
                    <a:pt x="3411" y="48151"/>
                  </a:cubicBezTo>
                  <a:cubicBezTo>
                    <a:pt x="5145" y="49709"/>
                    <a:pt x="7357" y="50632"/>
                    <a:pt x="9684" y="507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7" name="Freihandform: Form 189">
              <a:extLst>
                <a:ext uri="{FF2B5EF4-FFF2-40B4-BE49-F238E27FC236}">
                  <a16:creationId xmlns:a16="http://schemas.microsoft.com/office/drawing/2014/main" id="{42197574-12C0-42E8-BA35-0BF6F80BAB0E}"/>
                </a:ext>
              </a:extLst>
            </p:cNvPr>
            <p:cNvSpPr/>
            <p:nvPr/>
          </p:nvSpPr>
          <p:spPr>
            <a:xfrm>
              <a:off x="6536771" y="2192770"/>
              <a:ext cx="259460" cy="461962"/>
            </a:xfrm>
            <a:custGeom>
              <a:avLst/>
              <a:gdLst>
                <a:gd name="connsiteX0" fmla="*/ 228600 w 259460"/>
                <a:gd name="connsiteY0" fmla="*/ 0 h 461962"/>
                <a:gd name="connsiteX1" fmla="*/ 30956 w 259460"/>
                <a:gd name="connsiteY1" fmla="*/ 0 h 461962"/>
                <a:gd name="connsiteX2" fmla="*/ 0 w 259460"/>
                <a:gd name="connsiteY2" fmla="*/ 30956 h 461962"/>
                <a:gd name="connsiteX3" fmla="*/ 0 w 259460"/>
                <a:gd name="connsiteY3" fmla="*/ 431006 h 461962"/>
                <a:gd name="connsiteX4" fmla="*/ 30956 w 259460"/>
                <a:gd name="connsiteY4" fmla="*/ 461963 h 461962"/>
                <a:gd name="connsiteX5" fmla="*/ 228600 w 259460"/>
                <a:gd name="connsiteY5" fmla="*/ 461963 h 461962"/>
                <a:gd name="connsiteX6" fmla="*/ 259461 w 259460"/>
                <a:gd name="connsiteY6" fmla="*/ 431006 h 461962"/>
                <a:gd name="connsiteX7" fmla="*/ 259461 w 259460"/>
                <a:gd name="connsiteY7" fmla="*/ 30956 h 461962"/>
                <a:gd name="connsiteX8" fmla="*/ 228600 w 259460"/>
                <a:gd name="connsiteY8" fmla="*/ 0 h 461962"/>
                <a:gd name="connsiteX9" fmla="*/ 92583 w 259460"/>
                <a:gd name="connsiteY9" fmla="*/ 28575 h 461962"/>
                <a:gd name="connsiteX10" fmla="*/ 98584 w 259460"/>
                <a:gd name="connsiteY10" fmla="*/ 20384 h 461962"/>
                <a:gd name="connsiteX11" fmla="*/ 160973 w 259460"/>
                <a:gd name="connsiteY11" fmla="*/ 20384 h 461962"/>
                <a:gd name="connsiteX12" fmla="*/ 166973 w 259460"/>
                <a:gd name="connsiteY12" fmla="*/ 28575 h 461962"/>
                <a:gd name="connsiteX13" fmla="*/ 166973 w 259460"/>
                <a:gd name="connsiteY13" fmla="*/ 29242 h 461962"/>
                <a:gd name="connsiteX14" fmla="*/ 160973 w 259460"/>
                <a:gd name="connsiteY14" fmla="*/ 37433 h 461962"/>
                <a:gd name="connsiteX15" fmla="*/ 98584 w 259460"/>
                <a:gd name="connsiteY15" fmla="*/ 37433 h 461962"/>
                <a:gd name="connsiteX16" fmla="*/ 92583 w 259460"/>
                <a:gd name="connsiteY16" fmla="*/ 29242 h 461962"/>
                <a:gd name="connsiteX17" fmla="*/ 167164 w 259460"/>
                <a:gd name="connsiteY17" fmla="*/ 424815 h 461962"/>
                <a:gd name="connsiteX18" fmla="*/ 155353 w 259460"/>
                <a:gd name="connsiteY18" fmla="*/ 436531 h 461962"/>
                <a:gd name="connsiteX19" fmla="*/ 107728 w 259460"/>
                <a:gd name="connsiteY19" fmla="*/ 436531 h 461962"/>
                <a:gd name="connsiteX20" fmla="*/ 96012 w 259460"/>
                <a:gd name="connsiteY20" fmla="*/ 424815 h 461962"/>
                <a:gd name="connsiteX21" fmla="*/ 96012 w 259460"/>
                <a:gd name="connsiteY21" fmla="*/ 416814 h 461962"/>
                <a:gd name="connsiteX22" fmla="*/ 107728 w 259460"/>
                <a:gd name="connsiteY22" fmla="*/ 405098 h 461962"/>
                <a:gd name="connsiteX23" fmla="*/ 155353 w 259460"/>
                <a:gd name="connsiteY23" fmla="*/ 405098 h 461962"/>
                <a:gd name="connsiteX24" fmla="*/ 167164 w 259460"/>
                <a:gd name="connsiteY24" fmla="*/ 416814 h 461962"/>
                <a:gd name="connsiteX25" fmla="*/ 231077 w 259460"/>
                <a:gd name="connsiteY25" fmla="*/ 373856 h 461962"/>
                <a:gd name="connsiteX26" fmla="*/ 220694 w 259460"/>
                <a:gd name="connsiteY26" fmla="*/ 384239 h 461962"/>
                <a:gd name="connsiteX27" fmla="*/ 38862 w 259460"/>
                <a:gd name="connsiteY27" fmla="*/ 384239 h 461962"/>
                <a:gd name="connsiteX28" fmla="*/ 28575 w 259460"/>
                <a:gd name="connsiteY28" fmla="*/ 373856 h 461962"/>
                <a:gd name="connsiteX29" fmla="*/ 28575 w 259460"/>
                <a:gd name="connsiteY29" fmla="*/ 68104 h 461962"/>
                <a:gd name="connsiteX30" fmla="*/ 38862 w 259460"/>
                <a:gd name="connsiteY30" fmla="*/ 57722 h 461962"/>
                <a:gd name="connsiteX31" fmla="*/ 220694 w 259460"/>
                <a:gd name="connsiteY31" fmla="*/ 57722 h 461962"/>
                <a:gd name="connsiteX32" fmla="*/ 231077 w 259460"/>
                <a:gd name="connsiteY32" fmla="*/ 68104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59460" h="461962">
                  <a:moveTo>
                    <a:pt x="228600" y="0"/>
                  </a:moveTo>
                  <a:lnTo>
                    <a:pt x="30956" y="0"/>
                  </a:lnTo>
                  <a:cubicBezTo>
                    <a:pt x="13881" y="52"/>
                    <a:pt x="52" y="13881"/>
                    <a:pt x="0" y="30956"/>
                  </a:cubicBezTo>
                  <a:lnTo>
                    <a:pt x="0" y="431006"/>
                  </a:lnTo>
                  <a:cubicBezTo>
                    <a:pt x="52" y="448081"/>
                    <a:pt x="13881" y="461910"/>
                    <a:pt x="30956" y="461963"/>
                  </a:cubicBezTo>
                  <a:lnTo>
                    <a:pt x="228600" y="461963"/>
                  </a:lnTo>
                  <a:cubicBezTo>
                    <a:pt x="245638" y="461858"/>
                    <a:pt x="259409" y="448044"/>
                    <a:pt x="259461" y="431006"/>
                  </a:cubicBezTo>
                  <a:lnTo>
                    <a:pt x="259461" y="30956"/>
                  </a:lnTo>
                  <a:cubicBezTo>
                    <a:pt x="259461" y="13897"/>
                    <a:pt x="245659" y="52"/>
                    <a:pt x="228600" y="0"/>
                  </a:cubicBezTo>
                  <a:close/>
                  <a:moveTo>
                    <a:pt x="92583" y="28575"/>
                  </a:moveTo>
                  <a:cubicBezTo>
                    <a:pt x="92583" y="24098"/>
                    <a:pt x="95250" y="20384"/>
                    <a:pt x="98584" y="20384"/>
                  </a:cubicBezTo>
                  <a:lnTo>
                    <a:pt x="160973" y="20384"/>
                  </a:lnTo>
                  <a:cubicBezTo>
                    <a:pt x="164211" y="20384"/>
                    <a:pt x="166973" y="24098"/>
                    <a:pt x="166973" y="28575"/>
                  </a:cubicBezTo>
                  <a:lnTo>
                    <a:pt x="166973" y="29242"/>
                  </a:lnTo>
                  <a:cubicBezTo>
                    <a:pt x="166973" y="33719"/>
                    <a:pt x="164211" y="37433"/>
                    <a:pt x="160973" y="37433"/>
                  </a:cubicBezTo>
                  <a:lnTo>
                    <a:pt x="98584" y="37433"/>
                  </a:lnTo>
                  <a:cubicBezTo>
                    <a:pt x="95250" y="37433"/>
                    <a:pt x="92583" y="33719"/>
                    <a:pt x="92583" y="29242"/>
                  </a:cubicBezTo>
                  <a:close/>
                  <a:moveTo>
                    <a:pt x="167164" y="424815"/>
                  </a:moveTo>
                  <a:cubicBezTo>
                    <a:pt x="167111" y="431301"/>
                    <a:pt x="161839" y="436531"/>
                    <a:pt x="155353" y="436531"/>
                  </a:cubicBezTo>
                  <a:lnTo>
                    <a:pt x="107728" y="436531"/>
                  </a:lnTo>
                  <a:cubicBezTo>
                    <a:pt x="101257" y="436531"/>
                    <a:pt x="96012" y="431285"/>
                    <a:pt x="96012" y="424815"/>
                  </a:cubicBezTo>
                  <a:lnTo>
                    <a:pt x="96012" y="416814"/>
                  </a:lnTo>
                  <a:cubicBezTo>
                    <a:pt x="96012" y="410344"/>
                    <a:pt x="101257" y="405098"/>
                    <a:pt x="107728" y="405098"/>
                  </a:cubicBezTo>
                  <a:lnTo>
                    <a:pt x="155353" y="405098"/>
                  </a:lnTo>
                  <a:cubicBezTo>
                    <a:pt x="161839" y="405098"/>
                    <a:pt x="167111" y="410328"/>
                    <a:pt x="167164" y="416814"/>
                  </a:cubicBezTo>
                  <a:close/>
                  <a:moveTo>
                    <a:pt x="231077" y="373856"/>
                  </a:moveTo>
                  <a:cubicBezTo>
                    <a:pt x="231077" y="379590"/>
                    <a:pt x="226428" y="384239"/>
                    <a:pt x="220694" y="384239"/>
                  </a:cubicBezTo>
                  <a:lnTo>
                    <a:pt x="38862" y="384239"/>
                  </a:lnTo>
                  <a:cubicBezTo>
                    <a:pt x="33165" y="384186"/>
                    <a:pt x="28575" y="379553"/>
                    <a:pt x="28575" y="373856"/>
                  </a:cubicBezTo>
                  <a:lnTo>
                    <a:pt x="28575" y="68104"/>
                  </a:lnTo>
                  <a:cubicBezTo>
                    <a:pt x="28575" y="62407"/>
                    <a:pt x="33165" y="57774"/>
                    <a:pt x="38862" y="57722"/>
                  </a:cubicBezTo>
                  <a:lnTo>
                    <a:pt x="220694" y="57722"/>
                  </a:lnTo>
                  <a:cubicBezTo>
                    <a:pt x="226428" y="57722"/>
                    <a:pt x="231077" y="62370"/>
                    <a:pt x="231077" y="6810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08" name="Grafik 174">
            <a:extLst>
              <a:ext uri="{FF2B5EF4-FFF2-40B4-BE49-F238E27FC236}">
                <a16:creationId xmlns:a16="http://schemas.microsoft.com/office/drawing/2014/main" id="{E0F2C2B0-DD04-4AE8-857C-7B83BC7D0F01}"/>
              </a:ext>
            </a:extLst>
          </p:cNvPr>
          <p:cNvGrpSpPr/>
          <p:nvPr/>
        </p:nvGrpSpPr>
        <p:grpSpPr>
          <a:xfrm>
            <a:off x="10612576" y="2287731"/>
            <a:ext cx="489264" cy="536558"/>
            <a:chOff x="4362420" y="3200358"/>
            <a:chExt cx="416938" cy="457241"/>
          </a:xfrm>
          <a:solidFill>
            <a:srgbClr val="808080"/>
          </a:solidFill>
        </p:grpSpPr>
        <p:sp>
          <p:nvSpPr>
            <p:cNvPr id="209" name="Freihandform: Form 1353">
              <a:extLst>
                <a:ext uri="{FF2B5EF4-FFF2-40B4-BE49-F238E27FC236}">
                  <a16:creationId xmlns:a16="http://schemas.microsoft.com/office/drawing/2014/main" id="{B201A0DB-E0A6-4A63-9BA8-D26B5C32C8AB}"/>
                </a:ext>
              </a:extLst>
            </p:cNvPr>
            <p:cNvSpPr/>
            <p:nvPr/>
          </p:nvSpPr>
          <p:spPr>
            <a:xfrm>
              <a:off x="4404615" y="3213358"/>
              <a:ext cx="121759" cy="128201"/>
            </a:xfrm>
            <a:custGeom>
              <a:avLst/>
              <a:gdLst>
                <a:gd name="connsiteX0" fmla="*/ 16032 w 121759"/>
                <a:gd name="connsiteY0" fmla="*/ 96674 h 128201"/>
                <a:gd name="connsiteX1" fmla="*/ 21461 w 121759"/>
                <a:gd name="connsiteY1" fmla="*/ 96674 h 128201"/>
                <a:gd name="connsiteX2" fmla="*/ 23271 w 121759"/>
                <a:gd name="connsiteY2" fmla="*/ 96674 h 128201"/>
                <a:gd name="connsiteX3" fmla="*/ 34034 w 121759"/>
                <a:gd name="connsiteY3" fmla="*/ 97245 h 128201"/>
                <a:gd name="connsiteX4" fmla="*/ 34891 w 121759"/>
                <a:gd name="connsiteY4" fmla="*/ 97245 h 128201"/>
                <a:gd name="connsiteX5" fmla="*/ 65467 w 121759"/>
                <a:gd name="connsiteY5" fmla="*/ 127059 h 128201"/>
                <a:gd name="connsiteX6" fmla="*/ 72325 w 121759"/>
                <a:gd name="connsiteY6" fmla="*/ 128202 h 128201"/>
                <a:gd name="connsiteX7" fmla="*/ 100900 w 121759"/>
                <a:gd name="connsiteY7" fmla="*/ 97245 h 128201"/>
                <a:gd name="connsiteX8" fmla="*/ 100900 w 121759"/>
                <a:gd name="connsiteY8" fmla="*/ 94674 h 128201"/>
                <a:gd name="connsiteX9" fmla="*/ 108234 w 121759"/>
                <a:gd name="connsiteY9" fmla="*/ 95817 h 128201"/>
                <a:gd name="connsiteX10" fmla="*/ 110234 w 121759"/>
                <a:gd name="connsiteY10" fmla="*/ 95817 h 128201"/>
                <a:gd name="connsiteX11" fmla="*/ 121759 w 121759"/>
                <a:gd name="connsiteY11" fmla="*/ 86292 h 128201"/>
                <a:gd name="connsiteX12" fmla="*/ 115282 w 121759"/>
                <a:gd name="connsiteY12" fmla="*/ 72290 h 128201"/>
                <a:gd name="connsiteX13" fmla="*/ 116330 w 121759"/>
                <a:gd name="connsiteY13" fmla="*/ 41810 h 128201"/>
                <a:gd name="connsiteX14" fmla="*/ 119378 w 121759"/>
                <a:gd name="connsiteY14" fmla="*/ 35809 h 128201"/>
                <a:gd name="connsiteX15" fmla="*/ 105757 w 121759"/>
                <a:gd name="connsiteY15" fmla="*/ 31237 h 128201"/>
                <a:gd name="connsiteX16" fmla="*/ 97947 w 121759"/>
                <a:gd name="connsiteY16" fmla="*/ 33142 h 128201"/>
                <a:gd name="connsiteX17" fmla="*/ 98518 w 121759"/>
                <a:gd name="connsiteY17" fmla="*/ 27332 h 128201"/>
                <a:gd name="connsiteX18" fmla="*/ 64324 w 121759"/>
                <a:gd name="connsiteY18" fmla="*/ 186 h 128201"/>
                <a:gd name="connsiteX19" fmla="*/ 31939 w 121759"/>
                <a:gd name="connsiteY19" fmla="*/ 29713 h 128201"/>
                <a:gd name="connsiteX20" fmla="*/ 33082 w 121759"/>
                <a:gd name="connsiteY20" fmla="*/ 36190 h 128201"/>
                <a:gd name="connsiteX21" fmla="*/ 23557 w 121759"/>
                <a:gd name="connsiteY21" fmla="*/ 34190 h 128201"/>
                <a:gd name="connsiteX22" fmla="*/ 30 w 121759"/>
                <a:gd name="connsiteY22" fmla="*/ 67623 h 128201"/>
                <a:gd name="connsiteX23" fmla="*/ 16032 w 121759"/>
                <a:gd name="connsiteY23" fmla="*/ 96674 h 128201"/>
                <a:gd name="connsiteX24" fmla="*/ 83374 w 121759"/>
                <a:gd name="connsiteY24" fmla="*/ 64670 h 128201"/>
                <a:gd name="connsiteX25" fmla="*/ 79282 w 121759"/>
                <a:gd name="connsiteY25" fmla="*/ 68770 h 128201"/>
                <a:gd name="connsiteX26" fmla="*/ 79087 w 121759"/>
                <a:gd name="connsiteY26" fmla="*/ 68766 h 128201"/>
                <a:gd name="connsiteX27" fmla="*/ 74314 w 121759"/>
                <a:gd name="connsiteY27" fmla="*/ 65252 h 128201"/>
                <a:gd name="connsiteX28" fmla="*/ 77827 w 121759"/>
                <a:gd name="connsiteY28" fmla="*/ 60479 h 128201"/>
                <a:gd name="connsiteX29" fmla="*/ 79087 w 121759"/>
                <a:gd name="connsiteY29" fmla="*/ 60479 h 128201"/>
                <a:gd name="connsiteX30" fmla="*/ 83370 w 121759"/>
                <a:gd name="connsiteY30" fmla="*/ 64378 h 128201"/>
                <a:gd name="connsiteX31" fmla="*/ 83374 w 121759"/>
                <a:gd name="connsiteY31" fmla="*/ 64670 h 128201"/>
                <a:gd name="connsiteX32" fmla="*/ 73849 w 121759"/>
                <a:gd name="connsiteY32" fmla="*/ 49811 h 128201"/>
                <a:gd name="connsiteX33" fmla="*/ 78622 w 121759"/>
                <a:gd name="connsiteY33" fmla="*/ 53324 h 128201"/>
                <a:gd name="connsiteX34" fmla="*/ 75109 w 121759"/>
                <a:gd name="connsiteY34" fmla="*/ 58098 h 128201"/>
                <a:gd name="connsiteX35" fmla="*/ 73849 w 121759"/>
                <a:gd name="connsiteY35" fmla="*/ 58098 h 128201"/>
                <a:gd name="connsiteX36" fmla="*/ 69210 w 121759"/>
                <a:gd name="connsiteY36" fmla="*/ 54629 h 128201"/>
                <a:gd name="connsiteX37" fmla="*/ 69181 w 121759"/>
                <a:gd name="connsiteY37" fmla="*/ 53716 h 128201"/>
                <a:gd name="connsiteX38" fmla="*/ 73468 w 121759"/>
                <a:gd name="connsiteY38" fmla="*/ 49811 h 128201"/>
                <a:gd name="connsiteX39" fmla="*/ 72134 w 121759"/>
                <a:gd name="connsiteY39" fmla="*/ 70766 h 128201"/>
                <a:gd name="connsiteX40" fmla="*/ 76908 w 121759"/>
                <a:gd name="connsiteY40" fmla="*/ 74279 h 128201"/>
                <a:gd name="connsiteX41" fmla="*/ 73394 w 121759"/>
                <a:gd name="connsiteY41" fmla="*/ 79053 h 128201"/>
                <a:gd name="connsiteX42" fmla="*/ 72134 w 121759"/>
                <a:gd name="connsiteY42" fmla="*/ 79053 h 128201"/>
                <a:gd name="connsiteX43" fmla="*/ 67361 w 121759"/>
                <a:gd name="connsiteY43" fmla="*/ 75539 h 128201"/>
                <a:gd name="connsiteX44" fmla="*/ 70874 w 121759"/>
                <a:gd name="connsiteY44" fmla="*/ 70766 h 128201"/>
                <a:gd name="connsiteX45" fmla="*/ 72134 w 121759"/>
                <a:gd name="connsiteY45" fmla="*/ 70766 h 128201"/>
                <a:gd name="connsiteX46" fmla="*/ 59656 w 121759"/>
                <a:gd name="connsiteY46" fmla="*/ 78957 h 128201"/>
                <a:gd name="connsiteX47" fmla="*/ 55465 w 121759"/>
                <a:gd name="connsiteY47" fmla="*/ 74766 h 128201"/>
                <a:gd name="connsiteX48" fmla="*/ 59656 w 121759"/>
                <a:gd name="connsiteY48" fmla="*/ 70387 h 128201"/>
                <a:gd name="connsiteX49" fmla="*/ 64036 w 121759"/>
                <a:gd name="connsiteY49" fmla="*/ 74578 h 128201"/>
                <a:gd name="connsiteX50" fmla="*/ 59845 w 121759"/>
                <a:gd name="connsiteY50" fmla="*/ 78957 h 128201"/>
                <a:gd name="connsiteX51" fmla="*/ 59656 w 121759"/>
                <a:gd name="connsiteY51" fmla="*/ 78957 h 128201"/>
                <a:gd name="connsiteX52" fmla="*/ 59656 w 121759"/>
                <a:gd name="connsiteY52" fmla="*/ 49716 h 128201"/>
                <a:gd name="connsiteX53" fmla="*/ 64482 w 121759"/>
                <a:gd name="connsiteY53" fmla="*/ 53384 h 128201"/>
                <a:gd name="connsiteX54" fmla="*/ 64514 w 121759"/>
                <a:gd name="connsiteY54" fmla="*/ 53716 h 128201"/>
                <a:gd name="connsiteX55" fmla="*/ 60423 w 121759"/>
                <a:gd name="connsiteY55" fmla="*/ 57816 h 128201"/>
                <a:gd name="connsiteX56" fmla="*/ 60228 w 121759"/>
                <a:gd name="connsiteY56" fmla="*/ 57812 h 128201"/>
                <a:gd name="connsiteX57" fmla="*/ 55454 w 121759"/>
                <a:gd name="connsiteY57" fmla="*/ 54299 h 128201"/>
                <a:gd name="connsiteX58" fmla="*/ 58968 w 121759"/>
                <a:gd name="connsiteY58" fmla="*/ 49525 h 128201"/>
                <a:gd name="connsiteX59" fmla="*/ 60228 w 121759"/>
                <a:gd name="connsiteY59" fmla="*/ 49525 h 128201"/>
                <a:gd name="connsiteX60" fmla="*/ 53370 w 121759"/>
                <a:gd name="connsiteY60" fmla="*/ 60288 h 128201"/>
                <a:gd name="connsiteX61" fmla="*/ 58143 w 121759"/>
                <a:gd name="connsiteY61" fmla="*/ 63802 h 128201"/>
                <a:gd name="connsiteX62" fmla="*/ 54630 w 121759"/>
                <a:gd name="connsiteY62" fmla="*/ 68575 h 128201"/>
                <a:gd name="connsiteX63" fmla="*/ 53370 w 121759"/>
                <a:gd name="connsiteY63" fmla="*/ 68575 h 128201"/>
                <a:gd name="connsiteX64" fmla="*/ 49084 w 121759"/>
                <a:gd name="connsiteY64" fmla="*/ 64384 h 128201"/>
                <a:gd name="connsiteX65" fmla="*/ 53519 w 121759"/>
                <a:gd name="connsiteY65" fmla="*/ 60252 h 128201"/>
                <a:gd name="connsiteX66" fmla="*/ 53941 w 121759"/>
                <a:gd name="connsiteY66" fmla="*/ 60288 h 128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21759" h="128201">
                  <a:moveTo>
                    <a:pt x="16032" y="96674"/>
                  </a:moveTo>
                  <a:cubicBezTo>
                    <a:pt x="17839" y="96528"/>
                    <a:pt x="19654" y="96528"/>
                    <a:pt x="21461" y="96674"/>
                  </a:cubicBezTo>
                  <a:lnTo>
                    <a:pt x="23271" y="96674"/>
                  </a:lnTo>
                  <a:cubicBezTo>
                    <a:pt x="26869" y="96465"/>
                    <a:pt x="30479" y="96656"/>
                    <a:pt x="34034" y="97245"/>
                  </a:cubicBezTo>
                  <a:lnTo>
                    <a:pt x="34891" y="97245"/>
                  </a:lnTo>
                  <a:cubicBezTo>
                    <a:pt x="49990" y="100436"/>
                    <a:pt x="61896" y="112045"/>
                    <a:pt x="65467" y="127059"/>
                  </a:cubicBezTo>
                  <a:cubicBezTo>
                    <a:pt x="67792" y="127144"/>
                    <a:pt x="70097" y="127528"/>
                    <a:pt x="72325" y="128202"/>
                  </a:cubicBezTo>
                  <a:cubicBezTo>
                    <a:pt x="88379" y="126737"/>
                    <a:pt x="100722" y="113365"/>
                    <a:pt x="100900" y="97245"/>
                  </a:cubicBezTo>
                  <a:lnTo>
                    <a:pt x="100900" y="94674"/>
                  </a:lnTo>
                  <a:cubicBezTo>
                    <a:pt x="103246" y="95532"/>
                    <a:pt x="105738" y="95920"/>
                    <a:pt x="108234" y="95817"/>
                  </a:cubicBezTo>
                  <a:lnTo>
                    <a:pt x="110234" y="95817"/>
                  </a:lnTo>
                  <a:cubicBezTo>
                    <a:pt x="113433" y="91936"/>
                    <a:pt x="117345" y="88703"/>
                    <a:pt x="121759" y="86292"/>
                  </a:cubicBezTo>
                  <a:cubicBezTo>
                    <a:pt x="118865" y="82001"/>
                    <a:pt x="116679" y="77274"/>
                    <a:pt x="115282" y="72290"/>
                  </a:cubicBezTo>
                  <a:cubicBezTo>
                    <a:pt x="112281" y="62290"/>
                    <a:pt x="112649" y="51580"/>
                    <a:pt x="116330" y="41810"/>
                  </a:cubicBezTo>
                  <a:cubicBezTo>
                    <a:pt x="117114" y="39700"/>
                    <a:pt x="118137" y="37687"/>
                    <a:pt x="119378" y="35809"/>
                  </a:cubicBezTo>
                  <a:cubicBezTo>
                    <a:pt x="115515" y="32735"/>
                    <a:pt x="110693" y="31117"/>
                    <a:pt x="105757" y="31237"/>
                  </a:cubicBezTo>
                  <a:cubicBezTo>
                    <a:pt x="103052" y="31337"/>
                    <a:pt x="100395" y="31985"/>
                    <a:pt x="97947" y="33142"/>
                  </a:cubicBezTo>
                  <a:cubicBezTo>
                    <a:pt x="98330" y="31229"/>
                    <a:pt x="98522" y="29283"/>
                    <a:pt x="98518" y="27332"/>
                  </a:cubicBezTo>
                  <a:cubicBezTo>
                    <a:pt x="96479" y="10445"/>
                    <a:pt x="81233" y="-1659"/>
                    <a:pt x="64324" y="186"/>
                  </a:cubicBezTo>
                  <a:cubicBezTo>
                    <a:pt x="47240" y="-569"/>
                    <a:pt x="32761" y="12632"/>
                    <a:pt x="31939" y="29713"/>
                  </a:cubicBezTo>
                  <a:cubicBezTo>
                    <a:pt x="32024" y="31914"/>
                    <a:pt x="32409" y="34093"/>
                    <a:pt x="33082" y="36190"/>
                  </a:cubicBezTo>
                  <a:cubicBezTo>
                    <a:pt x="30121" y="34746"/>
                    <a:pt x="26848" y="34058"/>
                    <a:pt x="23557" y="34190"/>
                  </a:cubicBezTo>
                  <a:cubicBezTo>
                    <a:pt x="9936" y="34666"/>
                    <a:pt x="-637" y="49716"/>
                    <a:pt x="30" y="67623"/>
                  </a:cubicBezTo>
                  <a:cubicBezTo>
                    <a:pt x="-22" y="79423"/>
                    <a:pt x="6031" y="90411"/>
                    <a:pt x="16032" y="96674"/>
                  </a:cubicBezTo>
                  <a:close/>
                  <a:moveTo>
                    <a:pt x="83374" y="64670"/>
                  </a:moveTo>
                  <a:cubicBezTo>
                    <a:pt x="83376" y="66932"/>
                    <a:pt x="81544" y="68768"/>
                    <a:pt x="79282" y="68770"/>
                  </a:cubicBezTo>
                  <a:cubicBezTo>
                    <a:pt x="79217" y="68770"/>
                    <a:pt x="79152" y="68769"/>
                    <a:pt x="79087" y="68766"/>
                  </a:cubicBezTo>
                  <a:cubicBezTo>
                    <a:pt x="76799" y="69114"/>
                    <a:pt x="74662" y="67541"/>
                    <a:pt x="74314" y="65252"/>
                  </a:cubicBezTo>
                  <a:cubicBezTo>
                    <a:pt x="73966" y="62964"/>
                    <a:pt x="75539" y="60827"/>
                    <a:pt x="77827" y="60479"/>
                  </a:cubicBezTo>
                  <a:cubicBezTo>
                    <a:pt x="78245" y="60415"/>
                    <a:pt x="78670" y="60415"/>
                    <a:pt x="79087" y="60479"/>
                  </a:cubicBezTo>
                  <a:cubicBezTo>
                    <a:pt x="81347" y="60373"/>
                    <a:pt x="83264" y="62119"/>
                    <a:pt x="83370" y="64378"/>
                  </a:cubicBezTo>
                  <a:cubicBezTo>
                    <a:pt x="83375" y="64476"/>
                    <a:pt x="83376" y="64573"/>
                    <a:pt x="83374" y="64670"/>
                  </a:cubicBezTo>
                  <a:close/>
                  <a:moveTo>
                    <a:pt x="73849" y="49811"/>
                  </a:moveTo>
                  <a:cubicBezTo>
                    <a:pt x="76137" y="49463"/>
                    <a:pt x="78274" y="51036"/>
                    <a:pt x="78622" y="53324"/>
                  </a:cubicBezTo>
                  <a:cubicBezTo>
                    <a:pt x="78970" y="55613"/>
                    <a:pt x="77397" y="57750"/>
                    <a:pt x="75109" y="58098"/>
                  </a:cubicBezTo>
                  <a:cubicBezTo>
                    <a:pt x="74691" y="58161"/>
                    <a:pt x="74266" y="58161"/>
                    <a:pt x="73849" y="58098"/>
                  </a:cubicBezTo>
                  <a:cubicBezTo>
                    <a:pt x="71610" y="58421"/>
                    <a:pt x="69533" y="56867"/>
                    <a:pt x="69210" y="54629"/>
                  </a:cubicBezTo>
                  <a:cubicBezTo>
                    <a:pt x="69167" y="54326"/>
                    <a:pt x="69157" y="54020"/>
                    <a:pt x="69181" y="53716"/>
                  </a:cubicBezTo>
                  <a:cubicBezTo>
                    <a:pt x="69334" y="51477"/>
                    <a:pt x="71224" y="49755"/>
                    <a:pt x="73468" y="49811"/>
                  </a:cubicBezTo>
                  <a:close/>
                  <a:moveTo>
                    <a:pt x="72134" y="70766"/>
                  </a:moveTo>
                  <a:cubicBezTo>
                    <a:pt x="74422" y="70418"/>
                    <a:pt x="76560" y="71991"/>
                    <a:pt x="76908" y="74279"/>
                  </a:cubicBezTo>
                  <a:cubicBezTo>
                    <a:pt x="77255" y="76568"/>
                    <a:pt x="75682" y="78705"/>
                    <a:pt x="73394" y="79053"/>
                  </a:cubicBezTo>
                  <a:cubicBezTo>
                    <a:pt x="72977" y="79116"/>
                    <a:pt x="72552" y="79116"/>
                    <a:pt x="72134" y="79053"/>
                  </a:cubicBezTo>
                  <a:cubicBezTo>
                    <a:pt x="69846" y="79401"/>
                    <a:pt x="67709" y="77828"/>
                    <a:pt x="67361" y="75539"/>
                  </a:cubicBezTo>
                  <a:cubicBezTo>
                    <a:pt x="67013" y="73251"/>
                    <a:pt x="68586" y="71114"/>
                    <a:pt x="70874" y="70766"/>
                  </a:cubicBezTo>
                  <a:cubicBezTo>
                    <a:pt x="71292" y="70702"/>
                    <a:pt x="71717" y="70702"/>
                    <a:pt x="72134" y="70766"/>
                  </a:cubicBezTo>
                  <a:close/>
                  <a:moveTo>
                    <a:pt x="59656" y="78957"/>
                  </a:moveTo>
                  <a:cubicBezTo>
                    <a:pt x="57342" y="78957"/>
                    <a:pt x="55465" y="77081"/>
                    <a:pt x="55465" y="74766"/>
                  </a:cubicBezTo>
                  <a:cubicBezTo>
                    <a:pt x="55413" y="72400"/>
                    <a:pt x="57290" y="70439"/>
                    <a:pt x="59656" y="70387"/>
                  </a:cubicBezTo>
                  <a:cubicBezTo>
                    <a:pt x="62023" y="70335"/>
                    <a:pt x="63984" y="72211"/>
                    <a:pt x="64036" y="74578"/>
                  </a:cubicBezTo>
                  <a:cubicBezTo>
                    <a:pt x="64088" y="76945"/>
                    <a:pt x="62211" y="78905"/>
                    <a:pt x="59845" y="78957"/>
                  </a:cubicBezTo>
                  <a:cubicBezTo>
                    <a:pt x="59782" y="78959"/>
                    <a:pt x="59719" y="78959"/>
                    <a:pt x="59656" y="78957"/>
                  </a:cubicBezTo>
                  <a:close/>
                  <a:moveTo>
                    <a:pt x="59656" y="49716"/>
                  </a:moveTo>
                  <a:cubicBezTo>
                    <a:pt x="62002" y="49396"/>
                    <a:pt x="64162" y="51039"/>
                    <a:pt x="64482" y="53384"/>
                  </a:cubicBezTo>
                  <a:cubicBezTo>
                    <a:pt x="64497" y="53494"/>
                    <a:pt x="64508" y="53605"/>
                    <a:pt x="64514" y="53716"/>
                  </a:cubicBezTo>
                  <a:cubicBezTo>
                    <a:pt x="64517" y="55978"/>
                    <a:pt x="62685" y="57814"/>
                    <a:pt x="60423" y="57816"/>
                  </a:cubicBezTo>
                  <a:cubicBezTo>
                    <a:pt x="60358" y="57816"/>
                    <a:pt x="60293" y="57815"/>
                    <a:pt x="60228" y="57812"/>
                  </a:cubicBezTo>
                  <a:cubicBezTo>
                    <a:pt x="57940" y="58160"/>
                    <a:pt x="55802" y="56587"/>
                    <a:pt x="55454" y="54299"/>
                  </a:cubicBezTo>
                  <a:cubicBezTo>
                    <a:pt x="55107" y="52010"/>
                    <a:pt x="56680" y="49873"/>
                    <a:pt x="58968" y="49525"/>
                  </a:cubicBezTo>
                  <a:cubicBezTo>
                    <a:pt x="59385" y="49462"/>
                    <a:pt x="59810" y="49462"/>
                    <a:pt x="60228" y="49525"/>
                  </a:cubicBezTo>
                  <a:close/>
                  <a:moveTo>
                    <a:pt x="53370" y="60288"/>
                  </a:moveTo>
                  <a:cubicBezTo>
                    <a:pt x="55658" y="59940"/>
                    <a:pt x="57795" y="61513"/>
                    <a:pt x="58143" y="63802"/>
                  </a:cubicBezTo>
                  <a:cubicBezTo>
                    <a:pt x="58491" y="66090"/>
                    <a:pt x="56918" y="68227"/>
                    <a:pt x="54630" y="68575"/>
                  </a:cubicBezTo>
                  <a:cubicBezTo>
                    <a:pt x="54212" y="68639"/>
                    <a:pt x="53787" y="68639"/>
                    <a:pt x="53370" y="68575"/>
                  </a:cubicBezTo>
                  <a:cubicBezTo>
                    <a:pt x="51039" y="68576"/>
                    <a:pt x="49135" y="66714"/>
                    <a:pt x="49084" y="64384"/>
                  </a:cubicBezTo>
                  <a:cubicBezTo>
                    <a:pt x="49167" y="62018"/>
                    <a:pt x="51153" y="60169"/>
                    <a:pt x="53519" y="60252"/>
                  </a:cubicBezTo>
                  <a:cubicBezTo>
                    <a:pt x="53660" y="60258"/>
                    <a:pt x="53801" y="60269"/>
                    <a:pt x="53941" y="60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0" name="Freihandform: Form 1354">
              <a:extLst>
                <a:ext uri="{FF2B5EF4-FFF2-40B4-BE49-F238E27FC236}">
                  <a16:creationId xmlns:a16="http://schemas.microsoft.com/office/drawing/2014/main" id="{25D8D2C2-97A4-487F-9FA4-66E0EB98C2C5}"/>
                </a:ext>
              </a:extLst>
            </p:cNvPr>
            <p:cNvSpPr/>
            <p:nvPr/>
          </p:nvSpPr>
          <p:spPr>
            <a:xfrm>
              <a:off x="4415218" y="3317081"/>
              <a:ext cx="152182" cy="340518"/>
            </a:xfrm>
            <a:custGeom>
              <a:avLst/>
              <a:gdLst>
                <a:gd name="connsiteX0" fmla="*/ 81725 w 152182"/>
                <a:gd name="connsiteY0" fmla="*/ 284417 h 340518"/>
                <a:gd name="connsiteX1" fmla="*/ 79629 w 152182"/>
                <a:gd name="connsiteY1" fmla="*/ 279273 h 340518"/>
                <a:gd name="connsiteX2" fmla="*/ 40291 w 152182"/>
                <a:gd name="connsiteY2" fmla="*/ 307848 h 340518"/>
                <a:gd name="connsiteX3" fmla="*/ 82391 w 152182"/>
                <a:gd name="connsiteY3" fmla="*/ 193548 h 340518"/>
                <a:gd name="connsiteX4" fmla="*/ 106204 w 152182"/>
                <a:gd name="connsiteY4" fmla="*/ 181451 h 340518"/>
                <a:gd name="connsiteX5" fmla="*/ 104394 w 152182"/>
                <a:gd name="connsiteY5" fmla="*/ 178594 h 340518"/>
                <a:gd name="connsiteX6" fmla="*/ 101156 w 152182"/>
                <a:gd name="connsiteY6" fmla="*/ 172688 h 340518"/>
                <a:gd name="connsiteX7" fmla="*/ 87440 w 152182"/>
                <a:gd name="connsiteY7" fmla="*/ 179642 h 340518"/>
                <a:gd name="connsiteX8" fmla="*/ 96965 w 152182"/>
                <a:gd name="connsiteY8" fmla="*/ 153829 h 340518"/>
                <a:gd name="connsiteX9" fmla="*/ 96965 w 152182"/>
                <a:gd name="connsiteY9" fmla="*/ 149066 h 340518"/>
                <a:gd name="connsiteX10" fmla="*/ 107918 w 152182"/>
                <a:gd name="connsiteY10" fmla="*/ 121444 h 340518"/>
                <a:gd name="connsiteX11" fmla="*/ 109823 w 152182"/>
                <a:gd name="connsiteY11" fmla="*/ 119444 h 340518"/>
                <a:gd name="connsiteX12" fmla="*/ 115062 w 152182"/>
                <a:gd name="connsiteY12" fmla="*/ 105061 h 340518"/>
                <a:gd name="connsiteX13" fmla="*/ 116396 w 152182"/>
                <a:gd name="connsiteY13" fmla="*/ 101632 h 340518"/>
                <a:gd name="connsiteX14" fmla="*/ 152114 w 152182"/>
                <a:gd name="connsiteY14" fmla="*/ 6382 h 340518"/>
                <a:gd name="connsiteX15" fmla="*/ 152114 w 152182"/>
                <a:gd name="connsiteY15" fmla="*/ 4667 h 340518"/>
                <a:gd name="connsiteX16" fmla="*/ 148971 w 152182"/>
                <a:gd name="connsiteY16" fmla="*/ 0 h 340518"/>
                <a:gd name="connsiteX17" fmla="*/ 148971 w 152182"/>
                <a:gd name="connsiteY17" fmla="*/ 0 h 340518"/>
                <a:gd name="connsiteX18" fmla="*/ 144399 w 152182"/>
                <a:gd name="connsiteY18" fmla="*/ 857 h 340518"/>
                <a:gd name="connsiteX19" fmla="*/ 142780 w 152182"/>
                <a:gd name="connsiteY19" fmla="*/ 2953 h 340518"/>
                <a:gd name="connsiteX20" fmla="*/ 112205 w 152182"/>
                <a:gd name="connsiteY20" fmla="*/ 85154 h 340518"/>
                <a:gd name="connsiteX21" fmla="*/ 101918 w 152182"/>
                <a:gd name="connsiteY21" fmla="*/ 44863 h 340518"/>
                <a:gd name="connsiteX22" fmla="*/ 92869 w 152182"/>
                <a:gd name="connsiteY22" fmla="*/ 47911 h 340518"/>
                <a:gd name="connsiteX23" fmla="*/ 92869 w 152182"/>
                <a:gd name="connsiteY23" fmla="*/ 47911 h 340518"/>
                <a:gd name="connsiteX24" fmla="*/ 106489 w 152182"/>
                <a:gd name="connsiteY24" fmla="*/ 101441 h 340518"/>
                <a:gd name="connsiteX25" fmla="*/ 64484 w 152182"/>
                <a:gd name="connsiteY25" fmla="*/ 213074 h 340518"/>
                <a:gd name="connsiteX26" fmla="*/ 52769 w 152182"/>
                <a:gd name="connsiteY26" fmla="*/ 174974 h 340518"/>
                <a:gd name="connsiteX27" fmla="*/ 39529 w 152182"/>
                <a:gd name="connsiteY27" fmla="*/ 133636 h 340518"/>
                <a:gd name="connsiteX28" fmla="*/ 30575 w 152182"/>
                <a:gd name="connsiteY28" fmla="*/ 138113 h 340518"/>
                <a:gd name="connsiteX29" fmla="*/ 58388 w 152182"/>
                <a:gd name="connsiteY29" fmla="*/ 226981 h 340518"/>
                <a:gd name="connsiteX30" fmla="*/ 58960 w 152182"/>
                <a:gd name="connsiteY30" fmla="*/ 228219 h 340518"/>
                <a:gd name="connsiteX31" fmla="*/ 40862 w 152182"/>
                <a:gd name="connsiteY31" fmla="*/ 277273 h 340518"/>
                <a:gd name="connsiteX32" fmla="*/ 9049 w 152182"/>
                <a:gd name="connsiteY32" fmla="*/ 220123 h 340518"/>
                <a:gd name="connsiteX33" fmla="*/ 1810 w 152182"/>
                <a:gd name="connsiteY33" fmla="*/ 223933 h 340518"/>
                <a:gd name="connsiteX34" fmla="*/ 0 w 152182"/>
                <a:gd name="connsiteY34" fmla="*/ 223933 h 340518"/>
                <a:gd name="connsiteX35" fmla="*/ 36385 w 152182"/>
                <a:gd name="connsiteY35" fmla="*/ 288989 h 340518"/>
                <a:gd name="connsiteX36" fmla="*/ 20479 w 152182"/>
                <a:gd name="connsiteY36" fmla="*/ 333947 h 340518"/>
                <a:gd name="connsiteX37" fmla="*/ 23344 w 152182"/>
                <a:gd name="connsiteY37" fmla="*/ 340486 h 340518"/>
                <a:gd name="connsiteX38" fmla="*/ 23432 w 152182"/>
                <a:gd name="connsiteY38" fmla="*/ 340519 h 340518"/>
                <a:gd name="connsiteX39" fmla="*/ 24860 w 152182"/>
                <a:gd name="connsiteY39" fmla="*/ 340519 h 340518"/>
                <a:gd name="connsiteX40" fmla="*/ 29623 w 152182"/>
                <a:gd name="connsiteY40" fmla="*/ 336899 h 340518"/>
                <a:gd name="connsiteX41" fmla="*/ 34100 w 152182"/>
                <a:gd name="connsiteY41" fmla="*/ 323850 h 340518"/>
                <a:gd name="connsiteX42" fmla="*/ 35528 w 152182"/>
                <a:gd name="connsiteY42" fmla="*/ 323183 h 340518"/>
                <a:gd name="connsiteX43" fmla="*/ 84963 w 152182"/>
                <a:gd name="connsiteY43" fmla="*/ 287560 h 340518"/>
                <a:gd name="connsiteX44" fmla="*/ 81725 w 152182"/>
                <a:gd name="connsiteY44" fmla="*/ 284416 h 34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52182" h="340518">
                  <a:moveTo>
                    <a:pt x="81725" y="284417"/>
                  </a:moveTo>
                  <a:cubicBezTo>
                    <a:pt x="80531" y="282948"/>
                    <a:pt x="79801" y="281158"/>
                    <a:pt x="79629" y="279273"/>
                  </a:cubicBezTo>
                  <a:lnTo>
                    <a:pt x="40291" y="307848"/>
                  </a:lnTo>
                  <a:cubicBezTo>
                    <a:pt x="49816" y="280797"/>
                    <a:pt x="65818" y="238316"/>
                    <a:pt x="82391" y="193548"/>
                  </a:cubicBezTo>
                  <a:lnTo>
                    <a:pt x="106204" y="181451"/>
                  </a:lnTo>
                  <a:cubicBezTo>
                    <a:pt x="105547" y="180534"/>
                    <a:pt x="104943" y="179580"/>
                    <a:pt x="104394" y="178594"/>
                  </a:cubicBezTo>
                  <a:cubicBezTo>
                    <a:pt x="103111" y="176744"/>
                    <a:pt x="102026" y="174765"/>
                    <a:pt x="101156" y="172688"/>
                  </a:cubicBezTo>
                  <a:lnTo>
                    <a:pt x="87440" y="179642"/>
                  </a:lnTo>
                  <a:cubicBezTo>
                    <a:pt x="90678" y="170974"/>
                    <a:pt x="93821" y="162401"/>
                    <a:pt x="96965" y="153829"/>
                  </a:cubicBezTo>
                  <a:cubicBezTo>
                    <a:pt x="96869" y="152243"/>
                    <a:pt x="96869" y="150652"/>
                    <a:pt x="96965" y="149066"/>
                  </a:cubicBezTo>
                  <a:cubicBezTo>
                    <a:pt x="97576" y="138926"/>
                    <a:pt x="101414" y="129247"/>
                    <a:pt x="107918" y="121444"/>
                  </a:cubicBezTo>
                  <a:lnTo>
                    <a:pt x="109823" y="119444"/>
                  </a:lnTo>
                  <a:cubicBezTo>
                    <a:pt x="111633" y="114586"/>
                    <a:pt x="113348" y="109919"/>
                    <a:pt x="115062" y="105061"/>
                  </a:cubicBezTo>
                  <a:cubicBezTo>
                    <a:pt x="115939" y="104137"/>
                    <a:pt x="116418" y="102905"/>
                    <a:pt x="116396" y="101632"/>
                  </a:cubicBezTo>
                  <a:cubicBezTo>
                    <a:pt x="136208" y="48482"/>
                    <a:pt x="151638" y="7048"/>
                    <a:pt x="152114" y="6382"/>
                  </a:cubicBezTo>
                  <a:cubicBezTo>
                    <a:pt x="152205" y="5814"/>
                    <a:pt x="152205" y="5235"/>
                    <a:pt x="152114" y="4667"/>
                  </a:cubicBezTo>
                  <a:cubicBezTo>
                    <a:pt x="150926" y="3211"/>
                    <a:pt x="149874" y="1649"/>
                    <a:pt x="148971" y="0"/>
                  </a:cubicBezTo>
                  <a:lnTo>
                    <a:pt x="148971" y="0"/>
                  </a:lnTo>
                  <a:cubicBezTo>
                    <a:pt x="147480" y="440"/>
                    <a:pt x="145948" y="728"/>
                    <a:pt x="144399" y="857"/>
                  </a:cubicBezTo>
                  <a:cubicBezTo>
                    <a:pt x="143708" y="1424"/>
                    <a:pt x="143154" y="2141"/>
                    <a:pt x="142780" y="2953"/>
                  </a:cubicBezTo>
                  <a:lnTo>
                    <a:pt x="112205" y="85154"/>
                  </a:lnTo>
                  <a:lnTo>
                    <a:pt x="101918" y="44863"/>
                  </a:lnTo>
                  <a:cubicBezTo>
                    <a:pt x="99279" y="46771"/>
                    <a:pt x="96124" y="47833"/>
                    <a:pt x="92869" y="47911"/>
                  </a:cubicBezTo>
                  <a:lnTo>
                    <a:pt x="92869" y="47911"/>
                  </a:lnTo>
                  <a:lnTo>
                    <a:pt x="106489" y="101441"/>
                  </a:lnTo>
                  <a:lnTo>
                    <a:pt x="64484" y="213074"/>
                  </a:lnTo>
                  <a:cubicBezTo>
                    <a:pt x="61627" y="203549"/>
                    <a:pt x="57245" y="189262"/>
                    <a:pt x="52769" y="174974"/>
                  </a:cubicBezTo>
                  <a:cubicBezTo>
                    <a:pt x="46101" y="153543"/>
                    <a:pt x="42101" y="141065"/>
                    <a:pt x="39529" y="133636"/>
                  </a:cubicBezTo>
                  <a:cubicBezTo>
                    <a:pt x="36704" y="135429"/>
                    <a:pt x="33704" y="136929"/>
                    <a:pt x="30575" y="138113"/>
                  </a:cubicBezTo>
                  <a:cubicBezTo>
                    <a:pt x="36957" y="157163"/>
                    <a:pt x="49625" y="198977"/>
                    <a:pt x="58388" y="226981"/>
                  </a:cubicBezTo>
                  <a:cubicBezTo>
                    <a:pt x="58521" y="227418"/>
                    <a:pt x="58713" y="227835"/>
                    <a:pt x="58960" y="228219"/>
                  </a:cubicBezTo>
                  <a:cubicBezTo>
                    <a:pt x="52388" y="245936"/>
                    <a:pt x="46291" y="262604"/>
                    <a:pt x="40862" y="277273"/>
                  </a:cubicBezTo>
                  <a:lnTo>
                    <a:pt x="9049" y="220123"/>
                  </a:lnTo>
                  <a:cubicBezTo>
                    <a:pt x="7065" y="222080"/>
                    <a:pt x="4546" y="223406"/>
                    <a:pt x="1810" y="223933"/>
                  </a:cubicBezTo>
                  <a:lnTo>
                    <a:pt x="0" y="223933"/>
                  </a:lnTo>
                  <a:lnTo>
                    <a:pt x="36385" y="288989"/>
                  </a:lnTo>
                  <a:cubicBezTo>
                    <a:pt x="27432" y="313849"/>
                    <a:pt x="21431" y="330994"/>
                    <a:pt x="20479" y="333947"/>
                  </a:cubicBezTo>
                  <a:cubicBezTo>
                    <a:pt x="19464" y="336543"/>
                    <a:pt x="20747" y="339471"/>
                    <a:pt x="23344" y="340486"/>
                  </a:cubicBezTo>
                  <a:cubicBezTo>
                    <a:pt x="23373" y="340497"/>
                    <a:pt x="23402" y="340508"/>
                    <a:pt x="23432" y="340519"/>
                  </a:cubicBezTo>
                  <a:lnTo>
                    <a:pt x="24860" y="340519"/>
                  </a:lnTo>
                  <a:cubicBezTo>
                    <a:pt x="27069" y="340484"/>
                    <a:pt x="28998" y="339018"/>
                    <a:pt x="29623" y="336899"/>
                  </a:cubicBezTo>
                  <a:cubicBezTo>
                    <a:pt x="29623" y="335375"/>
                    <a:pt x="31623" y="330803"/>
                    <a:pt x="34100" y="323850"/>
                  </a:cubicBezTo>
                  <a:lnTo>
                    <a:pt x="35528" y="323183"/>
                  </a:lnTo>
                  <a:lnTo>
                    <a:pt x="84963" y="287560"/>
                  </a:lnTo>
                  <a:cubicBezTo>
                    <a:pt x="83647" y="286787"/>
                    <a:pt x="82537" y="285709"/>
                    <a:pt x="81725" y="2844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1" name="Freihandform: Form 1355">
              <a:extLst>
                <a:ext uri="{FF2B5EF4-FFF2-40B4-BE49-F238E27FC236}">
                  <a16:creationId xmlns:a16="http://schemas.microsoft.com/office/drawing/2014/main" id="{1CDB125F-1887-41D4-8F8B-FA281D97C75A}"/>
                </a:ext>
              </a:extLst>
            </p:cNvPr>
            <p:cNvSpPr/>
            <p:nvPr/>
          </p:nvSpPr>
          <p:spPr>
            <a:xfrm>
              <a:off x="4394106" y="3450621"/>
              <a:ext cx="27461" cy="81248"/>
            </a:xfrm>
            <a:custGeom>
              <a:avLst/>
              <a:gdLst>
                <a:gd name="connsiteX0" fmla="*/ 24922 w 27461"/>
                <a:gd name="connsiteY0" fmla="*/ 77343 h 81248"/>
                <a:gd name="connsiteX1" fmla="*/ 24922 w 27461"/>
                <a:gd name="connsiteY1" fmla="*/ 38100 h 81248"/>
                <a:gd name="connsiteX2" fmla="*/ 5872 w 27461"/>
                <a:gd name="connsiteY2" fmla="*/ 0 h 81248"/>
                <a:gd name="connsiteX3" fmla="*/ 6443 w 27461"/>
                <a:gd name="connsiteY3" fmla="*/ 0 h 81248"/>
                <a:gd name="connsiteX4" fmla="*/ 2157 w 27461"/>
                <a:gd name="connsiteY4" fmla="*/ 42767 h 81248"/>
                <a:gd name="connsiteX5" fmla="*/ 10063 w 27461"/>
                <a:gd name="connsiteY5" fmla="*/ 69151 h 81248"/>
                <a:gd name="connsiteX6" fmla="*/ 20826 w 27461"/>
                <a:gd name="connsiteY6" fmla="*/ 81248 h 81248"/>
                <a:gd name="connsiteX7" fmla="*/ 21493 w 27461"/>
                <a:gd name="connsiteY7" fmla="*/ 81248 h 81248"/>
                <a:gd name="connsiteX8" fmla="*/ 24922 w 27461"/>
                <a:gd name="connsiteY8" fmla="*/ 77343 h 81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461" h="81248">
                  <a:moveTo>
                    <a:pt x="24922" y="77343"/>
                  </a:moveTo>
                  <a:cubicBezTo>
                    <a:pt x="28309" y="64481"/>
                    <a:pt x="28309" y="50962"/>
                    <a:pt x="24922" y="38100"/>
                  </a:cubicBezTo>
                  <a:cubicBezTo>
                    <a:pt x="20826" y="16478"/>
                    <a:pt x="12635" y="0"/>
                    <a:pt x="5872" y="0"/>
                  </a:cubicBezTo>
                  <a:lnTo>
                    <a:pt x="6443" y="0"/>
                  </a:lnTo>
                  <a:cubicBezTo>
                    <a:pt x="-34" y="1238"/>
                    <a:pt x="-1939" y="20383"/>
                    <a:pt x="2157" y="42767"/>
                  </a:cubicBezTo>
                  <a:cubicBezTo>
                    <a:pt x="3782" y="51834"/>
                    <a:pt x="6434" y="60686"/>
                    <a:pt x="10063" y="69151"/>
                  </a:cubicBezTo>
                  <a:cubicBezTo>
                    <a:pt x="13587" y="76676"/>
                    <a:pt x="17397" y="81248"/>
                    <a:pt x="20826" y="81248"/>
                  </a:cubicBezTo>
                  <a:lnTo>
                    <a:pt x="21493" y="81248"/>
                  </a:lnTo>
                  <a:cubicBezTo>
                    <a:pt x="23153" y="80512"/>
                    <a:pt x="24407" y="79085"/>
                    <a:pt x="24922" y="773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2" name="Freihandform: Form 1356">
              <a:extLst>
                <a:ext uri="{FF2B5EF4-FFF2-40B4-BE49-F238E27FC236}">
                  <a16:creationId xmlns:a16="http://schemas.microsoft.com/office/drawing/2014/main" id="{313CBDD7-1D2D-4B25-9DFF-0101B5448F4B}"/>
                </a:ext>
              </a:extLst>
            </p:cNvPr>
            <p:cNvSpPr/>
            <p:nvPr/>
          </p:nvSpPr>
          <p:spPr>
            <a:xfrm>
              <a:off x="4362420" y="3319446"/>
              <a:ext cx="132075" cy="128634"/>
            </a:xfrm>
            <a:custGeom>
              <a:avLst/>
              <a:gdLst>
                <a:gd name="connsiteX0" fmla="*/ 34605 w 132075"/>
                <a:gd name="connsiteY0" fmla="*/ 100028 h 128634"/>
                <a:gd name="connsiteX1" fmla="*/ 67467 w 132075"/>
                <a:gd name="connsiteY1" fmla="*/ 128603 h 128634"/>
                <a:gd name="connsiteX2" fmla="*/ 68895 w 132075"/>
                <a:gd name="connsiteY2" fmla="*/ 128603 h 128634"/>
                <a:gd name="connsiteX3" fmla="*/ 80040 w 132075"/>
                <a:gd name="connsiteY3" fmla="*/ 126508 h 128634"/>
                <a:gd name="connsiteX4" fmla="*/ 88707 w 132075"/>
                <a:gd name="connsiteY4" fmla="*/ 121745 h 128634"/>
                <a:gd name="connsiteX5" fmla="*/ 90803 w 132075"/>
                <a:gd name="connsiteY5" fmla="*/ 120031 h 128634"/>
                <a:gd name="connsiteX6" fmla="*/ 94899 w 132075"/>
                <a:gd name="connsiteY6" fmla="*/ 115745 h 128634"/>
                <a:gd name="connsiteX7" fmla="*/ 100899 w 132075"/>
                <a:gd name="connsiteY7" fmla="*/ 97457 h 128634"/>
                <a:gd name="connsiteX8" fmla="*/ 100899 w 132075"/>
                <a:gd name="connsiteY8" fmla="*/ 94885 h 128634"/>
                <a:gd name="connsiteX9" fmla="*/ 107567 w 132075"/>
                <a:gd name="connsiteY9" fmla="*/ 96028 h 128634"/>
                <a:gd name="connsiteX10" fmla="*/ 108234 w 132075"/>
                <a:gd name="connsiteY10" fmla="*/ 96028 h 128634"/>
                <a:gd name="connsiteX11" fmla="*/ 132046 w 132075"/>
                <a:gd name="connsiteY11" fmla="*/ 62595 h 128634"/>
                <a:gd name="connsiteX12" fmla="*/ 106519 w 132075"/>
                <a:gd name="connsiteY12" fmla="*/ 31163 h 128634"/>
                <a:gd name="connsiteX13" fmla="*/ 105852 w 132075"/>
                <a:gd name="connsiteY13" fmla="*/ 31163 h 128634"/>
                <a:gd name="connsiteX14" fmla="*/ 98042 w 132075"/>
                <a:gd name="connsiteY14" fmla="*/ 33068 h 128634"/>
                <a:gd name="connsiteX15" fmla="*/ 98518 w 132075"/>
                <a:gd name="connsiteY15" fmla="*/ 27257 h 128634"/>
                <a:gd name="connsiteX16" fmla="*/ 97280 w 132075"/>
                <a:gd name="connsiteY16" fmla="*/ 20304 h 128634"/>
                <a:gd name="connsiteX17" fmla="*/ 78801 w 132075"/>
                <a:gd name="connsiteY17" fmla="*/ 2302 h 128634"/>
                <a:gd name="connsiteX18" fmla="*/ 65752 w 132075"/>
                <a:gd name="connsiteY18" fmla="*/ 16 h 128634"/>
                <a:gd name="connsiteX19" fmla="*/ 64038 w 132075"/>
                <a:gd name="connsiteY19" fmla="*/ 16 h 128634"/>
                <a:gd name="connsiteX20" fmla="*/ 31938 w 132075"/>
                <a:gd name="connsiteY20" fmla="*/ 29734 h 128634"/>
                <a:gd name="connsiteX21" fmla="*/ 33081 w 132075"/>
                <a:gd name="connsiteY21" fmla="*/ 36116 h 128634"/>
                <a:gd name="connsiteX22" fmla="*/ 24509 w 132075"/>
                <a:gd name="connsiteY22" fmla="*/ 34211 h 128634"/>
                <a:gd name="connsiteX23" fmla="*/ 23842 w 132075"/>
                <a:gd name="connsiteY23" fmla="*/ 34211 h 128634"/>
                <a:gd name="connsiteX24" fmla="*/ 30 w 132075"/>
                <a:gd name="connsiteY24" fmla="*/ 67643 h 128634"/>
                <a:gd name="connsiteX25" fmla="*/ 25557 w 132075"/>
                <a:gd name="connsiteY25" fmla="*/ 99076 h 128634"/>
                <a:gd name="connsiteX26" fmla="*/ 26223 w 132075"/>
                <a:gd name="connsiteY26" fmla="*/ 99076 h 128634"/>
                <a:gd name="connsiteX27" fmla="*/ 34701 w 132075"/>
                <a:gd name="connsiteY27" fmla="*/ 96790 h 128634"/>
                <a:gd name="connsiteX28" fmla="*/ 34605 w 132075"/>
                <a:gd name="connsiteY28" fmla="*/ 100028 h 128634"/>
                <a:gd name="connsiteX29" fmla="*/ 83469 w 132075"/>
                <a:gd name="connsiteY29" fmla="*/ 64786 h 128634"/>
                <a:gd name="connsiteX30" fmla="*/ 79087 w 132075"/>
                <a:gd name="connsiteY30" fmla="*/ 68882 h 128634"/>
                <a:gd name="connsiteX31" fmla="*/ 75092 w 132075"/>
                <a:gd name="connsiteY31" fmla="*/ 64503 h 128634"/>
                <a:gd name="connsiteX32" fmla="*/ 79470 w 132075"/>
                <a:gd name="connsiteY32" fmla="*/ 60508 h 128634"/>
                <a:gd name="connsiteX33" fmla="*/ 83469 w 132075"/>
                <a:gd name="connsiteY33" fmla="*/ 64786 h 128634"/>
                <a:gd name="connsiteX34" fmla="*/ 72229 w 132075"/>
                <a:gd name="connsiteY34" fmla="*/ 49832 h 128634"/>
                <a:gd name="connsiteX35" fmla="*/ 73467 w 132075"/>
                <a:gd name="connsiteY35" fmla="*/ 49832 h 128634"/>
                <a:gd name="connsiteX36" fmla="*/ 77658 w 132075"/>
                <a:gd name="connsiteY36" fmla="*/ 53830 h 128634"/>
                <a:gd name="connsiteX37" fmla="*/ 77658 w 132075"/>
                <a:gd name="connsiteY37" fmla="*/ 54023 h 128634"/>
                <a:gd name="connsiteX38" fmla="*/ 73468 w 132075"/>
                <a:gd name="connsiteY38" fmla="*/ 58215 h 128634"/>
                <a:gd name="connsiteX39" fmla="*/ 73372 w 132075"/>
                <a:gd name="connsiteY39" fmla="*/ 58214 h 128634"/>
                <a:gd name="connsiteX40" fmla="*/ 73372 w 132075"/>
                <a:gd name="connsiteY40" fmla="*/ 58214 h 128634"/>
                <a:gd name="connsiteX41" fmla="*/ 69297 w 132075"/>
                <a:gd name="connsiteY41" fmla="*/ 54097 h 128634"/>
                <a:gd name="connsiteX42" fmla="*/ 72515 w 132075"/>
                <a:gd name="connsiteY42" fmla="*/ 50117 h 128634"/>
                <a:gd name="connsiteX43" fmla="*/ 72229 w 132075"/>
                <a:gd name="connsiteY43" fmla="*/ 70596 h 128634"/>
                <a:gd name="connsiteX44" fmla="*/ 75087 w 132075"/>
                <a:gd name="connsiteY44" fmla="*/ 71739 h 128634"/>
                <a:gd name="connsiteX45" fmla="*/ 76515 w 132075"/>
                <a:gd name="connsiteY45" fmla="*/ 74882 h 128634"/>
                <a:gd name="connsiteX46" fmla="*/ 76515 w 132075"/>
                <a:gd name="connsiteY46" fmla="*/ 76502 h 128634"/>
                <a:gd name="connsiteX47" fmla="*/ 72610 w 132075"/>
                <a:gd name="connsiteY47" fmla="*/ 78978 h 128634"/>
                <a:gd name="connsiteX48" fmla="*/ 68419 w 132075"/>
                <a:gd name="connsiteY48" fmla="*/ 74787 h 128634"/>
                <a:gd name="connsiteX49" fmla="*/ 72610 w 132075"/>
                <a:gd name="connsiteY49" fmla="*/ 70596 h 128634"/>
                <a:gd name="connsiteX50" fmla="*/ 59751 w 132075"/>
                <a:gd name="connsiteY50" fmla="*/ 78883 h 128634"/>
                <a:gd name="connsiteX51" fmla="*/ 55560 w 132075"/>
                <a:gd name="connsiteY51" fmla="*/ 74692 h 128634"/>
                <a:gd name="connsiteX52" fmla="*/ 59652 w 132075"/>
                <a:gd name="connsiteY52" fmla="*/ 70592 h 128634"/>
                <a:gd name="connsiteX53" fmla="*/ 59847 w 132075"/>
                <a:gd name="connsiteY53" fmla="*/ 70596 h 128634"/>
                <a:gd name="connsiteX54" fmla="*/ 64038 w 132075"/>
                <a:gd name="connsiteY54" fmla="*/ 74594 h 128634"/>
                <a:gd name="connsiteX55" fmla="*/ 64038 w 132075"/>
                <a:gd name="connsiteY55" fmla="*/ 74787 h 128634"/>
                <a:gd name="connsiteX56" fmla="*/ 60037 w 132075"/>
                <a:gd name="connsiteY56" fmla="*/ 78883 h 128634"/>
                <a:gd name="connsiteX57" fmla="*/ 59751 w 132075"/>
                <a:gd name="connsiteY57" fmla="*/ 49546 h 128634"/>
                <a:gd name="connsiteX58" fmla="*/ 63942 w 132075"/>
                <a:gd name="connsiteY58" fmla="*/ 53737 h 128634"/>
                <a:gd name="connsiteX59" fmla="*/ 59752 w 132075"/>
                <a:gd name="connsiteY59" fmla="*/ 57929 h 128634"/>
                <a:gd name="connsiteX60" fmla="*/ 59656 w 132075"/>
                <a:gd name="connsiteY60" fmla="*/ 57928 h 128634"/>
                <a:gd name="connsiteX61" fmla="*/ 55370 w 132075"/>
                <a:gd name="connsiteY61" fmla="*/ 53737 h 128634"/>
                <a:gd name="connsiteX62" fmla="*/ 59901 w 132075"/>
                <a:gd name="connsiteY62" fmla="*/ 49511 h 128634"/>
                <a:gd name="connsiteX63" fmla="*/ 60323 w 132075"/>
                <a:gd name="connsiteY63" fmla="*/ 49546 h 128634"/>
                <a:gd name="connsiteX64" fmla="*/ 53465 w 132075"/>
                <a:gd name="connsiteY64" fmla="*/ 60119 h 128634"/>
                <a:gd name="connsiteX65" fmla="*/ 57656 w 132075"/>
                <a:gd name="connsiteY65" fmla="*/ 64405 h 128634"/>
                <a:gd name="connsiteX66" fmla="*/ 53372 w 132075"/>
                <a:gd name="connsiteY66" fmla="*/ 68501 h 128634"/>
                <a:gd name="connsiteX67" fmla="*/ 53370 w 132075"/>
                <a:gd name="connsiteY67" fmla="*/ 68501 h 128634"/>
                <a:gd name="connsiteX68" fmla="*/ 49179 w 132075"/>
                <a:gd name="connsiteY68" fmla="*/ 64502 h 128634"/>
                <a:gd name="connsiteX69" fmla="*/ 49179 w 132075"/>
                <a:gd name="connsiteY69" fmla="*/ 64310 h 128634"/>
                <a:gd name="connsiteX70" fmla="*/ 53521 w 132075"/>
                <a:gd name="connsiteY70" fmla="*/ 60081 h 128634"/>
                <a:gd name="connsiteX71" fmla="*/ 54036 w 132075"/>
                <a:gd name="connsiteY71" fmla="*/ 60119 h 12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132075" h="128634">
                  <a:moveTo>
                    <a:pt x="34605" y="100028"/>
                  </a:moveTo>
                  <a:cubicBezTo>
                    <a:pt x="36211" y="116780"/>
                    <a:pt x="50655" y="129339"/>
                    <a:pt x="67467" y="128603"/>
                  </a:cubicBezTo>
                  <a:lnTo>
                    <a:pt x="68895" y="128603"/>
                  </a:lnTo>
                  <a:cubicBezTo>
                    <a:pt x="72697" y="128496"/>
                    <a:pt x="76458" y="127789"/>
                    <a:pt x="80040" y="126508"/>
                  </a:cubicBezTo>
                  <a:cubicBezTo>
                    <a:pt x="83141" y="125342"/>
                    <a:pt x="86060" y="123738"/>
                    <a:pt x="88707" y="121745"/>
                  </a:cubicBezTo>
                  <a:cubicBezTo>
                    <a:pt x="89451" y="121232"/>
                    <a:pt x="90152" y="120659"/>
                    <a:pt x="90803" y="120031"/>
                  </a:cubicBezTo>
                  <a:cubicBezTo>
                    <a:pt x="92311" y="118746"/>
                    <a:pt x="93683" y="117309"/>
                    <a:pt x="94899" y="115745"/>
                  </a:cubicBezTo>
                  <a:cubicBezTo>
                    <a:pt x="98954" y="110526"/>
                    <a:pt x="101074" y="104063"/>
                    <a:pt x="100899" y="97457"/>
                  </a:cubicBezTo>
                  <a:cubicBezTo>
                    <a:pt x="100946" y="96600"/>
                    <a:pt x="100946" y="95741"/>
                    <a:pt x="100899" y="94885"/>
                  </a:cubicBezTo>
                  <a:cubicBezTo>
                    <a:pt x="103041" y="95642"/>
                    <a:pt x="105296" y="96028"/>
                    <a:pt x="107567" y="96028"/>
                  </a:cubicBezTo>
                  <a:lnTo>
                    <a:pt x="108234" y="96028"/>
                  </a:lnTo>
                  <a:cubicBezTo>
                    <a:pt x="122045" y="95456"/>
                    <a:pt x="132713" y="80502"/>
                    <a:pt x="132046" y="62595"/>
                  </a:cubicBezTo>
                  <a:cubicBezTo>
                    <a:pt x="131379" y="44688"/>
                    <a:pt x="120045" y="31163"/>
                    <a:pt x="106519" y="31163"/>
                  </a:cubicBezTo>
                  <a:lnTo>
                    <a:pt x="105852" y="31163"/>
                  </a:lnTo>
                  <a:cubicBezTo>
                    <a:pt x="103145" y="31252"/>
                    <a:pt x="100486" y="31900"/>
                    <a:pt x="98042" y="33068"/>
                  </a:cubicBezTo>
                  <a:cubicBezTo>
                    <a:pt x="98393" y="31151"/>
                    <a:pt x="98553" y="29205"/>
                    <a:pt x="98518" y="27257"/>
                  </a:cubicBezTo>
                  <a:cubicBezTo>
                    <a:pt x="98395" y="24897"/>
                    <a:pt x="97979" y="22562"/>
                    <a:pt x="97280" y="20304"/>
                  </a:cubicBezTo>
                  <a:cubicBezTo>
                    <a:pt x="94100" y="11857"/>
                    <a:pt x="87329" y="5260"/>
                    <a:pt x="78801" y="2302"/>
                  </a:cubicBezTo>
                  <a:cubicBezTo>
                    <a:pt x="74616" y="795"/>
                    <a:pt x="70201" y="22"/>
                    <a:pt x="65752" y="16"/>
                  </a:cubicBezTo>
                  <a:lnTo>
                    <a:pt x="64038" y="16"/>
                  </a:lnTo>
                  <a:cubicBezTo>
                    <a:pt x="47012" y="-523"/>
                    <a:pt x="32711" y="12717"/>
                    <a:pt x="31938" y="29734"/>
                  </a:cubicBezTo>
                  <a:cubicBezTo>
                    <a:pt x="32024" y="31904"/>
                    <a:pt x="32409" y="34051"/>
                    <a:pt x="33081" y="36116"/>
                  </a:cubicBezTo>
                  <a:cubicBezTo>
                    <a:pt x="30398" y="34859"/>
                    <a:pt x="27472" y="34209"/>
                    <a:pt x="24509" y="34211"/>
                  </a:cubicBezTo>
                  <a:lnTo>
                    <a:pt x="23842" y="34211"/>
                  </a:lnTo>
                  <a:cubicBezTo>
                    <a:pt x="10031" y="34782"/>
                    <a:pt x="-637" y="49736"/>
                    <a:pt x="30" y="67643"/>
                  </a:cubicBezTo>
                  <a:cubicBezTo>
                    <a:pt x="696" y="85550"/>
                    <a:pt x="12031" y="99076"/>
                    <a:pt x="25557" y="99076"/>
                  </a:cubicBezTo>
                  <a:lnTo>
                    <a:pt x="26223" y="99076"/>
                  </a:lnTo>
                  <a:cubicBezTo>
                    <a:pt x="29185" y="98961"/>
                    <a:pt x="32083" y="98179"/>
                    <a:pt x="34701" y="96790"/>
                  </a:cubicBezTo>
                  <a:cubicBezTo>
                    <a:pt x="34605" y="97742"/>
                    <a:pt x="34605" y="98790"/>
                    <a:pt x="34605" y="100028"/>
                  </a:cubicBezTo>
                  <a:close/>
                  <a:moveTo>
                    <a:pt x="83469" y="64786"/>
                  </a:moveTo>
                  <a:cubicBezTo>
                    <a:pt x="83366" y="67116"/>
                    <a:pt x="81419" y="68936"/>
                    <a:pt x="79087" y="68882"/>
                  </a:cubicBezTo>
                  <a:cubicBezTo>
                    <a:pt x="76775" y="68776"/>
                    <a:pt x="74986" y="66816"/>
                    <a:pt x="75092" y="64503"/>
                  </a:cubicBezTo>
                  <a:cubicBezTo>
                    <a:pt x="75198" y="62191"/>
                    <a:pt x="77158" y="60403"/>
                    <a:pt x="79470" y="60508"/>
                  </a:cubicBezTo>
                  <a:cubicBezTo>
                    <a:pt x="81743" y="60612"/>
                    <a:pt x="83518" y="62511"/>
                    <a:pt x="83469" y="64786"/>
                  </a:cubicBezTo>
                  <a:close/>
                  <a:moveTo>
                    <a:pt x="72229" y="49832"/>
                  </a:moveTo>
                  <a:lnTo>
                    <a:pt x="73467" y="49832"/>
                  </a:lnTo>
                  <a:cubicBezTo>
                    <a:pt x="75729" y="49778"/>
                    <a:pt x="77605" y="51568"/>
                    <a:pt x="77658" y="53830"/>
                  </a:cubicBezTo>
                  <a:cubicBezTo>
                    <a:pt x="77660" y="53894"/>
                    <a:pt x="77660" y="53958"/>
                    <a:pt x="77658" y="54023"/>
                  </a:cubicBezTo>
                  <a:cubicBezTo>
                    <a:pt x="77659" y="56337"/>
                    <a:pt x="75783" y="58214"/>
                    <a:pt x="73468" y="58215"/>
                  </a:cubicBezTo>
                  <a:cubicBezTo>
                    <a:pt x="73436" y="58215"/>
                    <a:pt x="73404" y="58214"/>
                    <a:pt x="73372" y="58214"/>
                  </a:cubicBezTo>
                  <a:lnTo>
                    <a:pt x="73372" y="58214"/>
                  </a:lnTo>
                  <a:cubicBezTo>
                    <a:pt x="71110" y="58202"/>
                    <a:pt x="69286" y="56359"/>
                    <a:pt x="69297" y="54097"/>
                  </a:cubicBezTo>
                  <a:cubicBezTo>
                    <a:pt x="69307" y="52181"/>
                    <a:pt x="70643" y="50528"/>
                    <a:pt x="72515" y="50117"/>
                  </a:cubicBezTo>
                  <a:close/>
                  <a:moveTo>
                    <a:pt x="72229" y="70596"/>
                  </a:moveTo>
                  <a:cubicBezTo>
                    <a:pt x="73290" y="70610"/>
                    <a:pt x="74308" y="71018"/>
                    <a:pt x="75087" y="71739"/>
                  </a:cubicBezTo>
                  <a:cubicBezTo>
                    <a:pt x="75982" y="72540"/>
                    <a:pt x="76501" y="73681"/>
                    <a:pt x="76515" y="74882"/>
                  </a:cubicBezTo>
                  <a:cubicBezTo>
                    <a:pt x="76614" y="75418"/>
                    <a:pt x="76614" y="75966"/>
                    <a:pt x="76515" y="76502"/>
                  </a:cubicBezTo>
                  <a:cubicBezTo>
                    <a:pt x="75828" y="78036"/>
                    <a:pt x="74291" y="79010"/>
                    <a:pt x="72610" y="78978"/>
                  </a:cubicBezTo>
                  <a:cubicBezTo>
                    <a:pt x="70296" y="78978"/>
                    <a:pt x="68419" y="77102"/>
                    <a:pt x="68419" y="74787"/>
                  </a:cubicBezTo>
                  <a:cubicBezTo>
                    <a:pt x="68419" y="72472"/>
                    <a:pt x="70296" y="70596"/>
                    <a:pt x="72610" y="70596"/>
                  </a:cubicBezTo>
                  <a:close/>
                  <a:moveTo>
                    <a:pt x="59751" y="78883"/>
                  </a:moveTo>
                  <a:cubicBezTo>
                    <a:pt x="57437" y="78883"/>
                    <a:pt x="55560" y="77006"/>
                    <a:pt x="55560" y="74692"/>
                  </a:cubicBezTo>
                  <a:cubicBezTo>
                    <a:pt x="55558" y="72430"/>
                    <a:pt x="57390" y="70594"/>
                    <a:pt x="59652" y="70592"/>
                  </a:cubicBezTo>
                  <a:cubicBezTo>
                    <a:pt x="59717" y="70592"/>
                    <a:pt x="59782" y="70593"/>
                    <a:pt x="59847" y="70596"/>
                  </a:cubicBezTo>
                  <a:cubicBezTo>
                    <a:pt x="62108" y="70543"/>
                    <a:pt x="63984" y="72333"/>
                    <a:pt x="64038" y="74594"/>
                  </a:cubicBezTo>
                  <a:cubicBezTo>
                    <a:pt x="64039" y="74659"/>
                    <a:pt x="64039" y="74723"/>
                    <a:pt x="64038" y="74787"/>
                  </a:cubicBezTo>
                  <a:cubicBezTo>
                    <a:pt x="63990" y="76992"/>
                    <a:pt x="62241" y="78783"/>
                    <a:pt x="60037" y="78883"/>
                  </a:cubicBezTo>
                  <a:close/>
                  <a:moveTo>
                    <a:pt x="59751" y="49546"/>
                  </a:moveTo>
                  <a:cubicBezTo>
                    <a:pt x="62045" y="49596"/>
                    <a:pt x="63892" y="51443"/>
                    <a:pt x="63942" y="53737"/>
                  </a:cubicBezTo>
                  <a:cubicBezTo>
                    <a:pt x="63943" y="56052"/>
                    <a:pt x="62067" y="57928"/>
                    <a:pt x="59752" y="57929"/>
                  </a:cubicBezTo>
                  <a:cubicBezTo>
                    <a:pt x="59720" y="57929"/>
                    <a:pt x="59688" y="57929"/>
                    <a:pt x="59656" y="57928"/>
                  </a:cubicBezTo>
                  <a:cubicBezTo>
                    <a:pt x="57326" y="57928"/>
                    <a:pt x="55422" y="56067"/>
                    <a:pt x="55370" y="53737"/>
                  </a:cubicBezTo>
                  <a:cubicBezTo>
                    <a:pt x="55454" y="51318"/>
                    <a:pt x="57483" y="49426"/>
                    <a:pt x="59901" y="49511"/>
                  </a:cubicBezTo>
                  <a:cubicBezTo>
                    <a:pt x="60042" y="49516"/>
                    <a:pt x="60183" y="49527"/>
                    <a:pt x="60323" y="49546"/>
                  </a:cubicBezTo>
                  <a:close/>
                  <a:moveTo>
                    <a:pt x="53465" y="60119"/>
                  </a:moveTo>
                  <a:cubicBezTo>
                    <a:pt x="55795" y="60170"/>
                    <a:pt x="57656" y="62074"/>
                    <a:pt x="57656" y="64405"/>
                  </a:cubicBezTo>
                  <a:cubicBezTo>
                    <a:pt x="57604" y="66719"/>
                    <a:pt x="55686" y="68553"/>
                    <a:pt x="53372" y="68501"/>
                  </a:cubicBezTo>
                  <a:cubicBezTo>
                    <a:pt x="53371" y="68501"/>
                    <a:pt x="53370" y="68501"/>
                    <a:pt x="53370" y="68501"/>
                  </a:cubicBezTo>
                  <a:cubicBezTo>
                    <a:pt x="51108" y="68554"/>
                    <a:pt x="49232" y="66764"/>
                    <a:pt x="49179" y="64502"/>
                  </a:cubicBezTo>
                  <a:cubicBezTo>
                    <a:pt x="49177" y="64438"/>
                    <a:pt x="49177" y="64374"/>
                    <a:pt x="49179" y="64310"/>
                  </a:cubicBezTo>
                  <a:cubicBezTo>
                    <a:pt x="49210" y="61943"/>
                    <a:pt x="51154" y="60049"/>
                    <a:pt x="53521" y="60081"/>
                  </a:cubicBezTo>
                  <a:cubicBezTo>
                    <a:pt x="53694" y="60083"/>
                    <a:pt x="53866" y="60096"/>
                    <a:pt x="54036" y="6011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3" name="Freihandform: Form 1357">
              <a:extLst>
                <a:ext uri="{FF2B5EF4-FFF2-40B4-BE49-F238E27FC236}">
                  <a16:creationId xmlns:a16="http://schemas.microsoft.com/office/drawing/2014/main" id="{7FBDFAC5-4A00-4A1C-BEF5-3A6166F1AB58}"/>
                </a:ext>
              </a:extLst>
            </p:cNvPr>
            <p:cNvSpPr/>
            <p:nvPr/>
          </p:nvSpPr>
          <p:spPr>
            <a:xfrm>
              <a:off x="4505039" y="3307175"/>
              <a:ext cx="29933" cy="46934"/>
            </a:xfrm>
            <a:custGeom>
              <a:avLst/>
              <a:gdLst>
                <a:gd name="connsiteX0" fmla="*/ 27623 w 29933"/>
                <a:gd name="connsiteY0" fmla="*/ 762 h 46934"/>
                <a:gd name="connsiteX1" fmla="*/ 8572 w 29933"/>
                <a:gd name="connsiteY1" fmla="*/ 19812 h 46934"/>
                <a:gd name="connsiteX2" fmla="*/ 0 w 29933"/>
                <a:gd name="connsiteY2" fmla="*/ 42005 h 46934"/>
                <a:gd name="connsiteX3" fmla="*/ 1524 w 29933"/>
                <a:gd name="connsiteY3" fmla="*/ 46863 h 46934"/>
                <a:gd name="connsiteX4" fmla="*/ 2858 w 29933"/>
                <a:gd name="connsiteY4" fmla="*/ 46863 h 46934"/>
                <a:gd name="connsiteX5" fmla="*/ 9335 w 29933"/>
                <a:gd name="connsiteY5" fmla="*/ 43339 h 46934"/>
                <a:gd name="connsiteX6" fmla="*/ 21812 w 29933"/>
                <a:gd name="connsiteY6" fmla="*/ 27337 h 46934"/>
                <a:gd name="connsiteX7" fmla="*/ 29909 w 29933"/>
                <a:gd name="connsiteY7" fmla="*/ 1619 h 46934"/>
                <a:gd name="connsiteX8" fmla="*/ 28099 w 29933"/>
                <a:gd name="connsiteY8" fmla="*/ 0 h 4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933" h="46934">
                  <a:moveTo>
                    <a:pt x="27623" y="762"/>
                  </a:moveTo>
                  <a:cubicBezTo>
                    <a:pt x="23432" y="762"/>
                    <a:pt x="15430" y="8858"/>
                    <a:pt x="8572" y="19812"/>
                  </a:cubicBezTo>
                  <a:cubicBezTo>
                    <a:pt x="4227" y="26545"/>
                    <a:pt x="1309" y="34099"/>
                    <a:pt x="0" y="42005"/>
                  </a:cubicBezTo>
                  <a:cubicBezTo>
                    <a:pt x="0" y="44387"/>
                    <a:pt x="0" y="46101"/>
                    <a:pt x="1524" y="46863"/>
                  </a:cubicBezTo>
                  <a:cubicBezTo>
                    <a:pt x="1963" y="46958"/>
                    <a:pt x="2418" y="46958"/>
                    <a:pt x="2858" y="46863"/>
                  </a:cubicBezTo>
                  <a:cubicBezTo>
                    <a:pt x="5342" y="46423"/>
                    <a:pt x="7615" y="45186"/>
                    <a:pt x="9335" y="43339"/>
                  </a:cubicBezTo>
                  <a:cubicBezTo>
                    <a:pt x="14280" y="38668"/>
                    <a:pt x="18488" y="33272"/>
                    <a:pt x="21812" y="27337"/>
                  </a:cubicBezTo>
                  <a:cubicBezTo>
                    <a:pt x="27377" y="19945"/>
                    <a:pt x="30235" y="10866"/>
                    <a:pt x="29909" y="1619"/>
                  </a:cubicBezTo>
                  <a:cubicBezTo>
                    <a:pt x="29262" y="1130"/>
                    <a:pt x="28656" y="589"/>
                    <a:pt x="28099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4" name="Freihandform: Form 1358">
              <a:extLst>
                <a:ext uri="{FF2B5EF4-FFF2-40B4-BE49-F238E27FC236}">
                  <a16:creationId xmlns:a16="http://schemas.microsoft.com/office/drawing/2014/main" id="{141889CF-EE03-48A8-9496-1CFC06DE3073}"/>
                </a:ext>
              </a:extLst>
            </p:cNvPr>
            <p:cNvSpPr/>
            <p:nvPr/>
          </p:nvSpPr>
          <p:spPr>
            <a:xfrm>
              <a:off x="4504649" y="3549395"/>
              <a:ext cx="59383" cy="46577"/>
            </a:xfrm>
            <a:custGeom>
              <a:avLst/>
              <a:gdLst>
                <a:gd name="connsiteX0" fmla="*/ 56873 w 59383"/>
                <a:gd name="connsiteY0" fmla="*/ 0 h 46577"/>
                <a:gd name="connsiteX1" fmla="*/ 24012 w 59383"/>
                <a:gd name="connsiteY1" fmla="*/ 15811 h 46577"/>
                <a:gd name="connsiteX2" fmla="*/ 3914 w 59383"/>
                <a:gd name="connsiteY2" fmla="*/ 36195 h 46577"/>
                <a:gd name="connsiteX3" fmla="*/ 2867 w 59383"/>
                <a:gd name="connsiteY3" fmla="*/ 37814 h 46577"/>
                <a:gd name="connsiteX4" fmla="*/ 104 w 59383"/>
                <a:gd name="connsiteY4" fmla="*/ 46101 h 46577"/>
                <a:gd name="connsiteX5" fmla="*/ 2486 w 59383"/>
                <a:gd name="connsiteY5" fmla="*/ 46577 h 46577"/>
                <a:gd name="connsiteX6" fmla="*/ 9629 w 59383"/>
                <a:gd name="connsiteY6" fmla="*/ 45148 h 46577"/>
                <a:gd name="connsiteX7" fmla="*/ 35442 w 59383"/>
                <a:gd name="connsiteY7" fmla="*/ 30766 h 46577"/>
                <a:gd name="connsiteX8" fmla="*/ 55445 w 59383"/>
                <a:gd name="connsiteY8" fmla="*/ 10382 h 46577"/>
                <a:gd name="connsiteX9" fmla="*/ 59255 w 59383"/>
                <a:gd name="connsiteY9" fmla="*/ 857 h 46577"/>
                <a:gd name="connsiteX10" fmla="*/ 56873 w 59383"/>
                <a:gd name="connsiteY10" fmla="*/ 0 h 4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9383" h="46577">
                  <a:moveTo>
                    <a:pt x="56873" y="0"/>
                  </a:moveTo>
                  <a:cubicBezTo>
                    <a:pt x="44663" y="2114"/>
                    <a:pt x="33284" y="7590"/>
                    <a:pt x="24012" y="15811"/>
                  </a:cubicBezTo>
                  <a:cubicBezTo>
                    <a:pt x="16285" y="21510"/>
                    <a:pt x="9503" y="28389"/>
                    <a:pt x="3914" y="36195"/>
                  </a:cubicBezTo>
                  <a:cubicBezTo>
                    <a:pt x="3914" y="36767"/>
                    <a:pt x="3248" y="37338"/>
                    <a:pt x="2867" y="37814"/>
                  </a:cubicBezTo>
                  <a:cubicBezTo>
                    <a:pt x="-372" y="43244"/>
                    <a:pt x="-86" y="45815"/>
                    <a:pt x="104" y="46101"/>
                  </a:cubicBezTo>
                  <a:cubicBezTo>
                    <a:pt x="295" y="46387"/>
                    <a:pt x="866" y="46577"/>
                    <a:pt x="2486" y="46577"/>
                  </a:cubicBezTo>
                  <a:cubicBezTo>
                    <a:pt x="4926" y="46467"/>
                    <a:pt x="7335" y="45985"/>
                    <a:pt x="9629" y="45148"/>
                  </a:cubicBezTo>
                  <a:cubicBezTo>
                    <a:pt x="18970" y="41815"/>
                    <a:pt x="27693" y="36955"/>
                    <a:pt x="35442" y="30766"/>
                  </a:cubicBezTo>
                  <a:cubicBezTo>
                    <a:pt x="43096" y="25015"/>
                    <a:pt x="49839" y="18143"/>
                    <a:pt x="55445" y="10382"/>
                  </a:cubicBezTo>
                  <a:cubicBezTo>
                    <a:pt x="59731" y="3905"/>
                    <a:pt x="59540" y="857"/>
                    <a:pt x="59255" y="857"/>
                  </a:cubicBezTo>
                  <a:cubicBezTo>
                    <a:pt x="58969" y="857"/>
                    <a:pt x="58588" y="0"/>
                    <a:pt x="56873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5" name="Freihandform: Form 1359">
              <a:extLst>
                <a:ext uri="{FF2B5EF4-FFF2-40B4-BE49-F238E27FC236}">
                  <a16:creationId xmlns:a16="http://schemas.microsoft.com/office/drawing/2014/main" id="{004AAEA8-5C90-46F7-BFBD-31CD7C4769DB}"/>
                </a:ext>
              </a:extLst>
            </p:cNvPr>
            <p:cNvSpPr/>
            <p:nvPr/>
          </p:nvSpPr>
          <p:spPr>
            <a:xfrm>
              <a:off x="4521590" y="3406928"/>
              <a:ext cx="132141" cy="128525"/>
            </a:xfrm>
            <a:custGeom>
              <a:avLst/>
              <a:gdLst>
                <a:gd name="connsiteX0" fmla="*/ 132038 w 132141"/>
                <a:gd name="connsiteY0" fmla="*/ 69696 h 128525"/>
                <a:gd name="connsiteX1" fmla="*/ 109464 w 132141"/>
                <a:gd name="connsiteY1" fmla="*/ 35502 h 128525"/>
                <a:gd name="connsiteX2" fmla="*/ 108035 w 132141"/>
                <a:gd name="connsiteY2" fmla="*/ 35502 h 128525"/>
                <a:gd name="connsiteX3" fmla="*/ 101463 w 132141"/>
                <a:gd name="connsiteY3" fmla="*/ 36645 h 128525"/>
                <a:gd name="connsiteX4" fmla="*/ 102606 w 132141"/>
                <a:gd name="connsiteY4" fmla="*/ 30834 h 128525"/>
                <a:gd name="connsiteX5" fmla="*/ 102606 w 132141"/>
                <a:gd name="connsiteY5" fmla="*/ 26643 h 128525"/>
                <a:gd name="connsiteX6" fmla="*/ 92510 w 132141"/>
                <a:gd name="connsiteY6" fmla="*/ 18833 h 128525"/>
                <a:gd name="connsiteX7" fmla="*/ 82985 w 132141"/>
                <a:gd name="connsiteY7" fmla="*/ 2736 h 128525"/>
                <a:gd name="connsiteX8" fmla="*/ 71459 w 132141"/>
                <a:gd name="connsiteY8" fmla="*/ 69 h 128525"/>
                <a:gd name="connsiteX9" fmla="*/ 68697 w 132141"/>
                <a:gd name="connsiteY9" fmla="*/ 69 h 128525"/>
                <a:gd name="connsiteX10" fmla="*/ 36407 w 132141"/>
                <a:gd name="connsiteY10" fmla="*/ 26167 h 128525"/>
                <a:gd name="connsiteX11" fmla="*/ 36407 w 132141"/>
                <a:gd name="connsiteY11" fmla="*/ 32644 h 128525"/>
                <a:gd name="connsiteX12" fmla="*/ 27359 w 132141"/>
                <a:gd name="connsiteY12" fmla="*/ 29787 h 128525"/>
                <a:gd name="connsiteX13" fmla="*/ 26025 w 132141"/>
                <a:gd name="connsiteY13" fmla="*/ 29787 h 128525"/>
                <a:gd name="connsiteX14" fmla="*/ 117 w 132141"/>
                <a:gd name="connsiteY14" fmla="*/ 60457 h 128525"/>
                <a:gd name="connsiteX15" fmla="*/ 3070 w 132141"/>
                <a:gd name="connsiteY15" fmla="*/ 78840 h 128525"/>
                <a:gd name="connsiteX16" fmla="*/ 8404 w 132141"/>
                <a:gd name="connsiteY16" fmla="*/ 87222 h 128525"/>
                <a:gd name="connsiteX17" fmla="*/ 22691 w 132141"/>
                <a:gd name="connsiteY17" fmla="*/ 94557 h 128525"/>
                <a:gd name="connsiteX18" fmla="*/ 24120 w 132141"/>
                <a:gd name="connsiteY18" fmla="*/ 94557 h 128525"/>
                <a:gd name="connsiteX19" fmla="*/ 31359 w 132141"/>
                <a:gd name="connsiteY19" fmla="*/ 93128 h 128525"/>
                <a:gd name="connsiteX20" fmla="*/ 31359 w 132141"/>
                <a:gd name="connsiteY20" fmla="*/ 96176 h 128525"/>
                <a:gd name="connsiteX21" fmla="*/ 62315 w 132141"/>
                <a:gd name="connsiteY21" fmla="*/ 128466 h 128525"/>
                <a:gd name="connsiteX22" fmla="*/ 64887 w 132141"/>
                <a:gd name="connsiteY22" fmla="*/ 128466 h 128525"/>
                <a:gd name="connsiteX23" fmla="*/ 98034 w 132141"/>
                <a:gd name="connsiteY23" fmla="*/ 100653 h 128525"/>
                <a:gd name="connsiteX24" fmla="*/ 98034 w 132141"/>
                <a:gd name="connsiteY24" fmla="*/ 98271 h 128525"/>
                <a:gd name="connsiteX25" fmla="*/ 105178 w 132141"/>
                <a:gd name="connsiteY25" fmla="*/ 100272 h 128525"/>
                <a:gd name="connsiteX26" fmla="*/ 106607 w 132141"/>
                <a:gd name="connsiteY26" fmla="*/ 100272 h 128525"/>
                <a:gd name="connsiteX27" fmla="*/ 132038 w 132141"/>
                <a:gd name="connsiteY27" fmla="*/ 69696 h 128525"/>
                <a:gd name="connsiteX28" fmla="*/ 78984 w 132141"/>
                <a:gd name="connsiteY28" fmla="*/ 54933 h 128525"/>
                <a:gd name="connsiteX29" fmla="*/ 74117 w 132141"/>
                <a:gd name="connsiteY29" fmla="*/ 58546 h 128525"/>
                <a:gd name="connsiteX30" fmla="*/ 70602 w 132141"/>
                <a:gd name="connsiteY30" fmla="*/ 55409 h 128525"/>
                <a:gd name="connsiteX31" fmla="*/ 70602 w 132141"/>
                <a:gd name="connsiteY31" fmla="*/ 53980 h 128525"/>
                <a:gd name="connsiteX32" fmla="*/ 75288 w 132141"/>
                <a:gd name="connsiteY32" fmla="*/ 50350 h 128525"/>
                <a:gd name="connsiteX33" fmla="*/ 75365 w 132141"/>
                <a:gd name="connsiteY33" fmla="*/ 50361 h 128525"/>
                <a:gd name="connsiteX34" fmla="*/ 77174 w 132141"/>
                <a:gd name="connsiteY34" fmla="*/ 51027 h 128525"/>
                <a:gd name="connsiteX35" fmla="*/ 78984 w 132141"/>
                <a:gd name="connsiteY35" fmla="*/ 54933 h 128525"/>
                <a:gd name="connsiteX36" fmla="*/ 61744 w 132141"/>
                <a:gd name="connsiteY36" fmla="*/ 48741 h 128525"/>
                <a:gd name="connsiteX37" fmla="*/ 61744 w 132141"/>
                <a:gd name="connsiteY37" fmla="*/ 48741 h 128525"/>
                <a:gd name="connsiteX38" fmla="*/ 65868 w 132141"/>
                <a:gd name="connsiteY38" fmla="*/ 52998 h 128525"/>
                <a:gd name="connsiteX39" fmla="*/ 61611 w 132141"/>
                <a:gd name="connsiteY39" fmla="*/ 57122 h 128525"/>
                <a:gd name="connsiteX40" fmla="*/ 60791 w 132141"/>
                <a:gd name="connsiteY40" fmla="*/ 57028 h 128525"/>
                <a:gd name="connsiteX41" fmla="*/ 57062 w 132141"/>
                <a:gd name="connsiteY41" fmla="*/ 52596 h 128525"/>
                <a:gd name="connsiteX42" fmla="*/ 57077 w 132141"/>
                <a:gd name="connsiteY42" fmla="*/ 52456 h 128525"/>
                <a:gd name="connsiteX43" fmla="*/ 57743 w 132141"/>
                <a:gd name="connsiteY43" fmla="*/ 50646 h 128525"/>
                <a:gd name="connsiteX44" fmla="*/ 62030 w 132141"/>
                <a:gd name="connsiteY44" fmla="*/ 48741 h 128525"/>
                <a:gd name="connsiteX45" fmla="*/ 53743 w 132141"/>
                <a:gd name="connsiteY45" fmla="*/ 66934 h 128525"/>
                <a:gd name="connsiteX46" fmla="*/ 50981 w 132141"/>
                <a:gd name="connsiteY46" fmla="*/ 65315 h 128525"/>
                <a:gd name="connsiteX47" fmla="*/ 50028 w 132141"/>
                <a:gd name="connsiteY47" fmla="*/ 62267 h 128525"/>
                <a:gd name="connsiteX48" fmla="*/ 54695 w 132141"/>
                <a:gd name="connsiteY48" fmla="*/ 58647 h 128525"/>
                <a:gd name="connsiteX49" fmla="*/ 58315 w 132141"/>
                <a:gd name="connsiteY49" fmla="*/ 61600 h 128525"/>
                <a:gd name="connsiteX50" fmla="*/ 58315 w 132141"/>
                <a:gd name="connsiteY50" fmla="*/ 63219 h 128525"/>
                <a:gd name="connsiteX51" fmla="*/ 54029 w 132141"/>
                <a:gd name="connsiteY51" fmla="*/ 66934 h 128525"/>
                <a:gd name="connsiteX52" fmla="*/ 63268 w 132141"/>
                <a:gd name="connsiteY52" fmla="*/ 74268 h 128525"/>
                <a:gd name="connsiteX53" fmla="*/ 58610 w 132141"/>
                <a:gd name="connsiteY53" fmla="*/ 78148 h 128525"/>
                <a:gd name="connsiteX54" fmla="*/ 54731 w 132141"/>
                <a:gd name="connsiteY54" fmla="*/ 73491 h 128525"/>
                <a:gd name="connsiteX55" fmla="*/ 59388 w 132141"/>
                <a:gd name="connsiteY55" fmla="*/ 69611 h 128525"/>
                <a:gd name="connsiteX56" fmla="*/ 59934 w 132141"/>
                <a:gd name="connsiteY56" fmla="*/ 69696 h 128525"/>
                <a:gd name="connsiteX57" fmla="*/ 63747 w 132141"/>
                <a:gd name="connsiteY57" fmla="*/ 74234 h 128525"/>
                <a:gd name="connsiteX58" fmla="*/ 63744 w 132141"/>
                <a:gd name="connsiteY58" fmla="*/ 74268 h 128525"/>
                <a:gd name="connsiteX59" fmla="*/ 75555 w 132141"/>
                <a:gd name="connsiteY59" fmla="*/ 75697 h 128525"/>
                <a:gd name="connsiteX60" fmla="*/ 70888 w 132141"/>
                <a:gd name="connsiteY60" fmla="*/ 79317 h 128525"/>
                <a:gd name="connsiteX61" fmla="*/ 67057 w 132141"/>
                <a:gd name="connsiteY61" fmla="*/ 74972 h 128525"/>
                <a:gd name="connsiteX62" fmla="*/ 67078 w 132141"/>
                <a:gd name="connsiteY62" fmla="*/ 74745 h 128525"/>
                <a:gd name="connsiteX63" fmla="*/ 72166 w 132141"/>
                <a:gd name="connsiteY63" fmla="*/ 71450 h 128525"/>
                <a:gd name="connsiteX64" fmla="*/ 75555 w 132141"/>
                <a:gd name="connsiteY64" fmla="*/ 75697 h 128525"/>
                <a:gd name="connsiteX65" fmla="*/ 83366 w 132141"/>
                <a:gd name="connsiteY65" fmla="*/ 66172 h 128525"/>
                <a:gd name="connsiteX66" fmla="*/ 78984 w 132141"/>
                <a:gd name="connsiteY66" fmla="*/ 69696 h 128525"/>
                <a:gd name="connsiteX67" fmla="*/ 75269 w 132141"/>
                <a:gd name="connsiteY67" fmla="*/ 65029 h 128525"/>
                <a:gd name="connsiteX68" fmla="*/ 79937 w 132141"/>
                <a:gd name="connsiteY68" fmla="*/ 61410 h 128525"/>
                <a:gd name="connsiteX69" fmla="*/ 83895 w 132141"/>
                <a:gd name="connsiteY69" fmla="*/ 65639 h 128525"/>
                <a:gd name="connsiteX70" fmla="*/ 83842 w 132141"/>
                <a:gd name="connsiteY70" fmla="*/ 66172 h 128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32141" h="128525">
                  <a:moveTo>
                    <a:pt x="132038" y="69696"/>
                  </a:moveTo>
                  <a:cubicBezTo>
                    <a:pt x="133277" y="51789"/>
                    <a:pt x="123180" y="36549"/>
                    <a:pt x="109464" y="35502"/>
                  </a:cubicBezTo>
                  <a:lnTo>
                    <a:pt x="108035" y="35502"/>
                  </a:lnTo>
                  <a:cubicBezTo>
                    <a:pt x="105795" y="35493"/>
                    <a:pt x="103570" y="35880"/>
                    <a:pt x="101463" y="36645"/>
                  </a:cubicBezTo>
                  <a:cubicBezTo>
                    <a:pt x="102035" y="34750"/>
                    <a:pt x="102418" y="32804"/>
                    <a:pt x="102606" y="30834"/>
                  </a:cubicBezTo>
                  <a:cubicBezTo>
                    <a:pt x="102750" y="29441"/>
                    <a:pt x="102750" y="28037"/>
                    <a:pt x="102606" y="26643"/>
                  </a:cubicBezTo>
                  <a:cubicBezTo>
                    <a:pt x="98864" y="24567"/>
                    <a:pt x="95460" y="21933"/>
                    <a:pt x="92510" y="18833"/>
                  </a:cubicBezTo>
                  <a:cubicBezTo>
                    <a:pt x="88007" y="14373"/>
                    <a:pt x="84727" y="8829"/>
                    <a:pt x="82985" y="2736"/>
                  </a:cubicBezTo>
                  <a:cubicBezTo>
                    <a:pt x="79305" y="1252"/>
                    <a:pt x="75417" y="352"/>
                    <a:pt x="71459" y="69"/>
                  </a:cubicBezTo>
                  <a:lnTo>
                    <a:pt x="68697" y="69"/>
                  </a:lnTo>
                  <a:cubicBezTo>
                    <a:pt x="52772" y="-993"/>
                    <a:pt x="38709" y="10373"/>
                    <a:pt x="36407" y="26167"/>
                  </a:cubicBezTo>
                  <a:cubicBezTo>
                    <a:pt x="36121" y="28317"/>
                    <a:pt x="36121" y="30495"/>
                    <a:pt x="36407" y="32644"/>
                  </a:cubicBezTo>
                  <a:cubicBezTo>
                    <a:pt x="33661" y="30986"/>
                    <a:pt x="30559" y="30007"/>
                    <a:pt x="27359" y="29787"/>
                  </a:cubicBezTo>
                  <a:lnTo>
                    <a:pt x="26025" y="29787"/>
                  </a:lnTo>
                  <a:cubicBezTo>
                    <a:pt x="12785" y="29787"/>
                    <a:pt x="1355" y="43122"/>
                    <a:pt x="117" y="60457"/>
                  </a:cubicBezTo>
                  <a:cubicBezTo>
                    <a:pt x="-365" y="66732"/>
                    <a:pt x="647" y="73032"/>
                    <a:pt x="3070" y="78840"/>
                  </a:cubicBezTo>
                  <a:cubicBezTo>
                    <a:pt x="4428" y="81881"/>
                    <a:pt x="6225" y="84705"/>
                    <a:pt x="8404" y="87222"/>
                  </a:cubicBezTo>
                  <a:cubicBezTo>
                    <a:pt x="12017" y="91451"/>
                    <a:pt x="17150" y="94086"/>
                    <a:pt x="22691" y="94557"/>
                  </a:cubicBezTo>
                  <a:lnTo>
                    <a:pt x="24120" y="94557"/>
                  </a:lnTo>
                  <a:cubicBezTo>
                    <a:pt x="26599" y="94514"/>
                    <a:pt x="29050" y="94031"/>
                    <a:pt x="31359" y="93128"/>
                  </a:cubicBezTo>
                  <a:cubicBezTo>
                    <a:pt x="31359" y="94176"/>
                    <a:pt x="31359" y="95128"/>
                    <a:pt x="31359" y="96176"/>
                  </a:cubicBezTo>
                  <a:cubicBezTo>
                    <a:pt x="31040" y="113622"/>
                    <a:pt x="44872" y="128049"/>
                    <a:pt x="62315" y="128466"/>
                  </a:cubicBezTo>
                  <a:lnTo>
                    <a:pt x="64887" y="128466"/>
                  </a:lnTo>
                  <a:cubicBezTo>
                    <a:pt x="81575" y="129485"/>
                    <a:pt x="96140" y="117264"/>
                    <a:pt x="98034" y="100653"/>
                  </a:cubicBezTo>
                  <a:cubicBezTo>
                    <a:pt x="98075" y="99859"/>
                    <a:pt x="98075" y="99065"/>
                    <a:pt x="98034" y="98271"/>
                  </a:cubicBezTo>
                  <a:cubicBezTo>
                    <a:pt x="100261" y="99400"/>
                    <a:pt x="102689" y="100079"/>
                    <a:pt x="105178" y="100272"/>
                  </a:cubicBezTo>
                  <a:lnTo>
                    <a:pt x="106607" y="100272"/>
                  </a:lnTo>
                  <a:cubicBezTo>
                    <a:pt x="119370" y="100081"/>
                    <a:pt x="130800" y="86746"/>
                    <a:pt x="132038" y="69696"/>
                  </a:cubicBezTo>
                  <a:close/>
                  <a:moveTo>
                    <a:pt x="78984" y="54933"/>
                  </a:moveTo>
                  <a:cubicBezTo>
                    <a:pt x="78638" y="57274"/>
                    <a:pt x="76459" y="58892"/>
                    <a:pt x="74117" y="58546"/>
                  </a:cubicBezTo>
                  <a:cubicBezTo>
                    <a:pt x="72424" y="58296"/>
                    <a:pt x="71043" y="57062"/>
                    <a:pt x="70602" y="55409"/>
                  </a:cubicBezTo>
                  <a:cubicBezTo>
                    <a:pt x="70555" y="54934"/>
                    <a:pt x="70555" y="54455"/>
                    <a:pt x="70602" y="53980"/>
                  </a:cubicBezTo>
                  <a:cubicBezTo>
                    <a:pt x="70894" y="51684"/>
                    <a:pt x="72991" y="50059"/>
                    <a:pt x="75288" y="50350"/>
                  </a:cubicBezTo>
                  <a:cubicBezTo>
                    <a:pt x="75313" y="50353"/>
                    <a:pt x="75339" y="50357"/>
                    <a:pt x="75365" y="50361"/>
                  </a:cubicBezTo>
                  <a:cubicBezTo>
                    <a:pt x="76022" y="50394"/>
                    <a:pt x="76653" y="50627"/>
                    <a:pt x="77174" y="51027"/>
                  </a:cubicBezTo>
                  <a:cubicBezTo>
                    <a:pt x="78505" y="51849"/>
                    <a:pt x="79218" y="53386"/>
                    <a:pt x="78984" y="54933"/>
                  </a:cubicBezTo>
                  <a:close/>
                  <a:moveTo>
                    <a:pt x="61744" y="48741"/>
                  </a:moveTo>
                  <a:lnTo>
                    <a:pt x="61744" y="48741"/>
                  </a:lnTo>
                  <a:cubicBezTo>
                    <a:pt x="64058" y="48778"/>
                    <a:pt x="65905" y="50684"/>
                    <a:pt x="65868" y="52998"/>
                  </a:cubicBezTo>
                  <a:cubicBezTo>
                    <a:pt x="65831" y="55313"/>
                    <a:pt x="63925" y="57159"/>
                    <a:pt x="61611" y="57122"/>
                  </a:cubicBezTo>
                  <a:cubicBezTo>
                    <a:pt x="61335" y="57118"/>
                    <a:pt x="61061" y="57086"/>
                    <a:pt x="60791" y="57028"/>
                  </a:cubicBezTo>
                  <a:cubicBezTo>
                    <a:pt x="58538" y="56834"/>
                    <a:pt x="56868" y="54850"/>
                    <a:pt x="57062" y="52596"/>
                  </a:cubicBezTo>
                  <a:cubicBezTo>
                    <a:pt x="57066" y="52549"/>
                    <a:pt x="57071" y="52503"/>
                    <a:pt x="57077" y="52456"/>
                  </a:cubicBezTo>
                  <a:cubicBezTo>
                    <a:pt x="57140" y="51806"/>
                    <a:pt x="57370" y="51182"/>
                    <a:pt x="57743" y="50646"/>
                  </a:cubicBezTo>
                  <a:cubicBezTo>
                    <a:pt x="58650" y="49196"/>
                    <a:pt x="60346" y="48443"/>
                    <a:pt x="62030" y="48741"/>
                  </a:cubicBezTo>
                  <a:close/>
                  <a:moveTo>
                    <a:pt x="53743" y="66934"/>
                  </a:moveTo>
                  <a:cubicBezTo>
                    <a:pt x="52651" y="66762"/>
                    <a:pt x="51664" y="66184"/>
                    <a:pt x="50981" y="65315"/>
                  </a:cubicBezTo>
                  <a:cubicBezTo>
                    <a:pt x="50232" y="64487"/>
                    <a:pt x="49884" y="63373"/>
                    <a:pt x="50028" y="62267"/>
                  </a:cubicBezTo>
                  <a:cubicBezTo>
                    <a:pt x="50325" y="59983"/>
                    <a:pt x="52409" y="58366"/>
                    <a:pt x="54695" y="58647"/>
                  </a:cubicBezTo>
                  <a:cubicBezTo>
                    <a:pt x="56389" y="58806"/>
                    <a:pt x="57820" y="59972"/>
                    <a:pt x="58315" y="61600"/>
                  </a:cubicBezTo>
                  <a:cubicBezTo>
                    <a:pt x="58407" y="62136"/>
                    <a:pt x="58407" y="62684"/>
                    <a:pt x="58315" y="63219"/>
                  </a:cubicBezTo>
                  <a:cubicBezTo>
                    <a:pt x="58027" y="65361"/>
                    <a:pt x="56190" y="66953"/>
                    <a:pt x="54029" y="66934"/>
                  </a:cubicBezTo>
                  <a:close/>
                  <a:moveTo>
                    <a:pt x="63268" y="74268"/>
                  </a:moveTo>
                  <a:cubicBezTo>
                    <a:pt x="63053" y="76626"/>
                    <a:pt x="60968" y="78363"/>
                    <a:pt x="58610" y="78148"/>
                  </a:cubicBezTo>
                  <a:cubicBezTo>
                    <a:pt x="56253" y="77933"/>
                    <a:pt x="54516" y="75848"/>
                    <a:pt x="54731" y="73491"/>
                  </a:cubicBezTo>
                  <a:cubicBezTo>
                    <a:pt x="54946" y="71133"/>
                    <a:pt x="57031" y="69396"/>
                    <a:pt x="59388" y="69611"/>
                  </a:cubicBezTo>
                  <a:cubicBezTo>
                    <a:pt x="59572" y="69628"/>
                    <a:pt x="59754" y="69656"/>
                    <a:pt x="59934" y="69696"/>
                  </a:cubicBezTo>
                  <a:cubicBezTo>
                    <a:pt x="62240" y="69896"/>
                    <a:pt x="63947" y="71928"/>
                    <a:pt x="63747" y="74234"/>
                  </a:cubicBezTo>
                  <a:cubicBezTo>
                    <a:pt x="63746" y="74245"/>
                    <a:pt x="63745" y="74257"/>
                    <a:pt x="63744" y="74268"/>
                  </a:cubicBezTo>
                  <a:close/>
                  <a:moveTo>
                    <a:pt x="75555" y="75697"/>
                  </a:moveTo>
                  <a:cubicBezTo>
                    <a:pt x="75258" y="77981"/>
                    <a:pt x="73174" y="79598"/>
                    <a:pt x="70888" y="79317"/>
                  </a:cubicBezTo>
                  <a:cubicBezTo>
                    <a:pt x="68630" y="79175"/>
                    <a:pt x="66915" y="77230"/>
                    <a:pt x="67057" y="74972"/>
                  </a:cubicBezTo>
                  <a:cubicBezTo>
                    <a:pt x="67062" y="74896"/>
                    <a:pt x="67069" y="74820"/>
                    <a:pt x="67078" y="74745"/>
                  </a:cubicBezTo>
                  <a:cubicBezTo>
                    <a:pt x="67573" y="72430"/>
                    <a:pt x="69851" y="70955"/>
                    <a:pt x="72166" y="71450"/>
                  </a:cubicBezTo>
                  <a:cubicBezTo>
                    <a:pt x="74163" y="71878"/>
                    <a:pt x="75582" y="73655"/>
                    <a:pt x="75555" y="75697"/>
                  </a:cubicBezTo>
                  <a:close/>
                  <a:moveTo>
                    <a:pt x="83366" y="66172"/>
                  </a:moveTo>
                  <a:cubicBezTo>
                    <a:pt x="82951" y="68253"/>
                    <a:pt x="81105" y="69737"/>
                    <a:pt x="78984" y="69696"/>
                  </a:cubicBezTo>
                  <a:cubicBezTo>
                    <a:pt x="76689" y="69399"/>
                    <a:pt x="75045" y="67333"/>
                    <a:pt x="75269" y="65029"/>
                  </a:cubicBezTo>
                  <a:cubicBezTo>
                    <a:pt x="75566" y="62745"/>
                    <a:pt x="77651" y="61129"/>
                    <a:pt x="79937" y="61410"/>
                  </a:cubicBezTo>
                  <a:cubicBezTo>
                    <a:pt x="82197" y="61485"/>
                    <a:pt x="83970" y="63378"/>
                    <a:pt x="83895" y="65639"/>
                  </a:cubicBezTo>
                  <a:cubicBezTo>
                    <a:pt x="83889" y="65817"/>
                    <a:pt x="83871" y="65996"/>
                    <a:pt x="83842" y="6617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6" name="Freihandform: Form 1360">
              <a:extLst>
                <a:ext uri="{FF2B5EF4-FFF2-40B4-BE49-F238E27FC236}">
                  <a16:creationId xmlns:a16="http://schemas.microsoft.com/office/drawing/2014/main" id="{4B57460D-9A8C-4124-B11D-70EC0870132D}"/>
                </a:ext>
              </a:extLst>
            </p:cNvPr>
            <p:cNvSpPr/>
            <p:nvPr/>
          </p:nvSpPr>
          <p:spPr>
            <a:xfrm>
              <a:off x="4578924" y="3296399"/>
              <a:ext cx="136492" cy="132896"/>
            </a:xfrm>
            <a:custGeom>
              <a:avLst/>
              <a:gdLst>
                <a:gd name="connsiteX0" fmla="*/ 37367 w 136492"/>
                <a:gd name="connsiteY0" fmla="*/ 37350 h 132896"/>
                <a:gd name="connsiteX1" fmla="*/ 34414 w 136492"/>
                <a:gd name="connsiteY1" fmla="*/ 38398 h 132896"/>
                <a:gd name="connsiteX2" fmla="*/ 21651 w 136492"/>
                <a:gd name="connsiteY2" fmla="*/ 40208 h 132896"/>
                <a:gd name="connsiteX3" fmla="*/ 9745 w 136492"/>
                <a:gd name="connsiteY3" fmla="*/ 38589 h 132896"/>
                <a:gd name="connsiteX4" fmla="*/ 220 w 136492"/>
                <a:gd name="connsiteY4" fmla="*/ 61544 h 132896"/>
                <a:gd name="connsiteX5" fmla="*/ 5649 w 136492"/>
                <a:gd name="connsiteY5" fmla="*/ 84975 h 132896"/>
                <a:gd name="connsiteX6" fmla="*/ 20794 w 136492"/>
                <a:gd name="connsiteY6" fmla="*/ 94500 h 132896"/>
                <a:gd name="connsiteX7" fmla="*/ 28223 w 136492"/>
                <a:gd name="connsiteY7" fmla="*/ 93452 h 132896"/>
                <a:gd name="connsiteX8" fmla="*/ 36415 w 136492"/>
                <a:gd name="connsiteY8" fmla="*/ 90214 h 132896"/>
                <a:gd name="connsiteX9" fmla="*/ 34891 w 136492"/>
                <a:gd name="connsiteY9" fmla="*/ 98882 h 132896"/>
                <a:gd name="connsiteX10" fmla="*/ 34891 w 136492"/>
                <a:gd name="connsiteY10" fmla="*/ 101739 h 132896"/>
                <a:gd name="connsiteX11" fmla="*/ 34891 w 136492"/>
                <a:gd name="connsiteY11" fmla="*/ 106311 h 132896"/>
                <a:gd name="connsiteX12" fmla="*/ 36605 w 136492"/>
                <a:gd name="connsiteY12" fmla="*/ 113264 h 132896"/>
                <a:gd name="connsiteX13" fmla="*/ 42511 w 136492"/>
                <a:gd name="connsiteY13" fmla="*/ 122789 h 132896"/>
                <a:gd name="connsiteX14" fmla="*/ 47749 w 136492"/>
                <a:gd name="connsiteY14" fmla="*/ 127171 h 132896"/>
                <a:gd name="connsiteX15" fmla="*/ 54226 w 136492"/>
                <a:gd name="connsiteY15" fmla="*/ 130600 h 132896"/>
                <a:gd name="connsiteX16" fmla="*/ 64609 w 136492"/>
                <a:gd name="connsiteY16" fmla="*/ 132886 h 132896"/>
                <a:gd name="connsiteX17" fmla="*/ 67180 w 136492"/>
                <a:gd name="connsiteY17" fmla="*/ 132886 h 132896"/>
                <a:gd name="connsiteX18" fmla="*/ 97851 w 136492"/>
                <a:gd name="connsiteY18" fmla="*/ 106311 h 132896"/>
                <a:gd name="connsiteX19" fmla="*/ 97851 w 136492"/>
                <a:gd name="connsiteY19" fmla="*/ 104025 h 132896"/>
                <a:gd name="connsiteX20" fmla="*/ 97851 w 136492"/>
                <a:gd name="connsiteY20" fmla="*/ 96024 h 132896"/>
                <a:gd name="connsiteX21" fmla="*/ 105090 w 136492"/>
                <a:gd name="connsiteY21" fmla="*/ 99453 h 132896"/>
                <a:gd name="connsiteX22" fmla="*/ 111281 w 136492"/>
                <a:gd name="connsiteY22" fmla="*/ 101168 h 132896"/>
                <a:gd name="connsiteX23" fmla="*/ 112519 w 136492"/>
                <a:gd name="connsiteY23" fmla="*/ 101168 h 132896"/>
                <a:gd name="connsiteX24" fmla="*/ 136332 w 136492"/>
                <a:gd name="connsiteY24" fmla="*/ 71736 h 132896"/>
                <a:gd name="connsiteX25" fmla="*/ 130903 w 136492"/>
                <a:gd name="connsiteY25" fmla="*/ 48780 h 132896"/>
                <a:gd name="connsiteX26" fmla="*/ 115758 w 136492"/>
                <a:gd name="connsiteY26" fmla="*/ 39255 h 132896"/>
                <a:gd name="connsiteX27" fmla="*/ 108900 w 136492"/>
                <a:gd name="connsiteY27" fmla="*/ 40208 h 132896"/>
                <a:gd name="connsiteX28" fmla="*/ 99375 w 136492"/>
                <a:gd name="connsiteY28" fmla="*/ 43446 h 132896"/>
                <a:gd name="connsiteX29" fmla="*/ 102328 w 136492"/>
                <a:gd name="connsiteY29" fmla="*/ 33921 h 132896"/>
                <a:gd name="connsiteX30" fmla="*/ 103376 w 136492"/>
                <a:gd name="connsiteY30" fmla="*/ 28683 h 132896"/>
                <a:gd name="connsiteX31" fmla="*/ 73467 w 136492"/>
                <a:gd name="connsiteY31" fmla="*/ 108 h 132896"/>
                <a:gd name="connsiteX32" fmla="*/ 70705 w 136492"/>
                <a:gd name="connsiteY32" fmla="*/ 108 h 132896"/>
                <a:gd name="connsiteX33" fmla="*/ 65752 w 136492"/>
                <a:gd name="connsiteY33" fmla="*/ 108 h 132896"/>
                <a:gd name="connsiteX34" fmla="*/ 59751 w 136492"/>
                <a:gd name="connsiteY34" fmla="*/ 19443 h 132896"/>
                <a:gd name="connsiteX35" fmla="*/ 41272 w 136492"/>
                <a:gd name="connsiteY35" fmla="*/ 35826 h 132896"/>
                <a:gd name="connsiteX36" fmla="*/ 54703 w 136492"/>
                <a:gd name="connsiteY36" fmla="*/ 68878 h 132896"/>
                <a:gd name="connsiteX37" fmla="*/ 50512 w 136492"/>
                <a:gd name="connsiteY37" fmla="*/ 63544 h 132896"/>
                <a:gd name="connsiteX38" fmla="*/ 55846 w 136492"/>
                <a:gd name="connsiteY38" fmla="*/ 59353 h 132896"/>
                <a:gd name="connsiteX39" fmla="*/ 59941 w 136492"/>
                <a:gd name="connsiteY39" fmla="*/ 64497 h 132896"/>
                <a:gd name="connsiteX40" fmla="*/ 55309 w 136492"/>
                <a:gd name="connsiteY40" fmla="*/ 69199 h 132896"/>
                <a:gd name="connsiteX41" fmla="*/ 54703 w 136492"/>
                <a:gd name="connsiteY41" fmla="*/ 69164 h 132896"/>
                <a:gd name="connsiteX42" fmla="*/ 65466 w 136492"/>
                <a:gd name="connsiteY42" fmla="*/ 77070 h 132896"/>
                <a:gd name="connsiteX43" fmla="*/ 60405 w 136492"/>
                <a:gd name="connsiteY43" fmla="*/ 81094 h 132896"/>
                <a:gd name="connsiteX44" fmla="*/ 60227 w 136492"/>
                <a:gd name="connsiteY44" fmla="*/ 81070 h 132896"/>
                <a:gd name="connsiteX45" fmla="*/ 56031 w 136492"/>
                <a:gd name="connsiteY45" fmla="*/ 75975 h 132896"/>
                <a:gd name="connsiteX46" fmla="*/ 56036 w 136492"/>
                <a:gd name="connsiteY46" fmla="*/ 75927 h 132896"/>
                <a:gd name="connsiteX47" fmla="*/ 61206 w 136492"/>
                <a:gd name="connsiteY47" fmla="*/ 71822 h 132896"/>
                <a:gd name="connsiteX48" fmla="*/ 61275 w 136492"/>
                <a:gd name="connsiteY48" fmla="*/ 71831 h 132896"/>
                <a:gd name="connsiteX49" fmla="*/ 65505 w 136492"/>
                <a:gd name="connsiteY49" fmla="*/ 77072 h 132896"/>
                <a:gd name="connsiteX50" fmla="*/ 65466 w 136492"/>
                <a:gd name="connsiteY50" fmla="*/ 77355 h 132896"/>
                <a:gd name="connsiteX51" fmla="*/ 68228 w 136492"/>
                <a:gd name="connsiteY51" fmla="*/ 53829 h 132896"/>
                <a:gd name="connsiteX52" fmla="*/ 62894 w 136492"/>
                <a:gd name="connsiteY52" fmla="*/ 57924 h 132896"/>
                <a:gd name="connsiteX53" fmla="*/ 58703 w 136492"/>
                <a:gd name="connsiteY53" fmla="*/ 52590 h 132896"/>
                <a:gd name="connsiteX54" fmla="*/ 64037 w 136492"/>
                <a:gd name="connsiteY54" fmla="*/ 48399 h 132896"/>
                <a:gd name="connsiteX55" fmla="*/ 68306 w 136492"/>
                <a:gd name="connsiteY55" fmla="*/ 53609 h 132896"/>
                <a:gd name="connsiteX56" fmla="*/ 68228 w 136492"/>
                <a:gd name="connsiteY56" fmla="*/ 54114 h 132896"/>
                <a:gd name="connsiteX57" fmla="*/ 78801 w 136492"/>
                <a:gd name="connsiteY57" fmla="*/ 78975 h 132896"/>
                <a:gd name="connsiteX58" fmla="*/ 73467 w 136492"/>
                <a:gd name="connsiteY58" fmla="*/ 83166 h 132896"/>
                <a:gd name="connsiteX59" fmla="*/ 69276 w 136492"/>
                <a:gd name="connsiteY59" fmla="*/ 77832 h 132896"/>
                <a:gd name="connsiteX60" fmla="*/ 74515 w 136492"/>
                <a:gd name="connsiteY60" fmla="*/ 73831 h 132896"/>
                <a:gd name="connsiteX61" fmla="*/ 78813 w 136492"/>
                <a:gd name="connsiteY61" fmla="*/ 78840 h 132896"/>
                <a:gd name="connsiteX62" fmla="*/ 78801 w 136492"/>
                <a:gd name="connsiteY62" fmla="*/ 78975 h 132896"/>
                <a:gd name="connsiteX63" fmla="*/ 87373 w 136492"/>
                <a:gd name="connsiteY63" fmla="*/ 68402 h 132896"/>
                <a:gd name="connsiteX64" fmla="*/ 82313 w 136492"/>
                <a:gd name="connsiteY64" fmla="*/ 72426 h 132896"/>
                <a:gd name="connsiteX65" fmla="*/ 82135 w 136492"/>
                <a:gd name="connsiteY65" fmla="*/ 72402 h 132896"/>
                <a:gd name="connsiteX66" fmla="*/ 77939 w 136492"/>
                <a:gd name="connsiteY66" fmla="*/ 67307 h 132896"/>
                <a:gd name="connsiteX67" fmla="*/ 77944 w 136492"/>
                <a:gd name="connsiteY67" fmla="*/ 67259 h 132896"/>
                <a:gd name="connsiteX68" fmla="*/ 83278 w 136492"/>
                <a:gd name="connsiteY68" fmla="*/ 63163 h 132896"/>
                <a:gd name="connsiteX69" fmla="*/ 87787 w 136492"/>
                <a:gd name="connsiteY69" fmla="*/ 67983 h 132896"/>
                <a:gd name="connsiteX70" fmla="*/ 87754 w 136492"/>
                <a:gd name="connsiteY70" fmla="*/ 68402 h 132896"/>
                <a:gd name="connsiteX71" fmla="*/ 78801 w 136492"/>
                <a:gd name="connsiteY71" fmla="*/ 50685 h 132896"/>
                <a:gd name="connsiteX72" fmla="*/ 82992 w 136492"/>
                <a:gd name="connsiteY72" fmla="*/ 55829 h 132896"/>
                <a:gd name="connsiteX73" fmla="*/ 77658 w 136492"/>
                <a:gd name="connsiteY73" fmla="*/ 59925 h 132896"/>
                <a:gd name="connsiteX74" fmla="*/ 73545 w 136492"/>
                <a:gd name="connsiteY74" fmla="*/ 54936 h 132896"/>
                <a:gd name="connsiteX75" fmla="*/ 73562 w 136492"/>
                <a:gd name="connsiteY75" fmla="*/ 54781 h 132896"/>
                <a:gd name="connsiteX76" fmla="*/ 78732 w 136492"/>
                <a:gd name="connsiteY76" fmla="*/ 50677 h 132896"/>
                <a:gd name="connsiteX77" fmla="*/ 78801 w 136492"/>
                <a:gd name="connsiteY77" fmla="*/ 50685 h 132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136492" h="132896">
                  <a:moveTo>
                    <a:pt x="37367" y="37350"/>
                  </a:moveTo>
                  <a:lnTo>
                    <a:pt x="34414" y="38398"/>
                  </a:lnTo>
                  <a:cubicBezTo>
                    <a:pt x="30259" y="39566"/>
                    <a:pt x="25967" y="40174"/>
                    <a:pt x="21651" y="40208"/>
                  </a:cubicBezTo>
                  <a:cubicBezTo>
                    <a:pt x="17627" y="40210"/>
                    <a:pt x="13622" y="39665"/>
                    <a:pt x="9745" y="38589"/>
                  </a:cubicBezTo>
                  <a:cubicBezTo>
                    <a:pt x="4001" y="44903"/>
                    <a:pt x="634" y="53018"/>
                    <a:pt x="220" y="61544"/>
                  </a:cubicBezTo>
                  <a:cubicBezTo>
                    <a:pt x="-687" y="69744"/>
                    <a:pt x="1228" y="78009"/>
                    <a:pt x="5649" y="84975"/>
                  </a:cubicBezTo>
                  <a:cubicBezTo>
                    <a:pt x="8895" y="90379"/>
                    <a:pt x="14518" y="93915"/>
                    <a:pt x="20794" y="94500"/>
                  </a:cubicBezTo>
                  <a:cubicBezTo>
                    <a:pt x="23316" y="94668"/>
                    <a:pt x="25846" y="94311"/>
                    <a:pt x="28223" y="93452"/>
                  </a:cubicBezTo>
                  <a:lnTo>
                    <a:pt x="36415" y="90214"/>
                  </a:lnTo>
                  <a:lnTo>
                    <a:pt x="34891" y="98882"/>
                  </a:lnTo>
                  <a:cubicBezTo>
                    <a:pt x="34804" y="99832"/>
                    <a:pt x="34804" y="100789"/>
                    <a:pt x="34891" y="101739"/>
                  </a:cubicBezTo>
                  <a:cubicBezTo>
                    <a:pt x="34748" y="103260"/>
                    <a:pt x="34748" y="104791"/>
                    <a:pt x="34891" y="106311"/>
                  </a:cubicBezTo>
                  <a:cubicBezTo>
                    <a:pt x="35122" y="108700"/>
                    <a:pt x="35700" y="111042"/>
                    <a:pt x="36605" y="113264"/>
                  </a:cubicBezTo>
                  <a:cubicBezTo>
                    <a:pt x="37926" y="116798"/>
                    <a:pt x="39933" y="120035"/>
                    <a:pt x="42511" y="122789"/>
                  </a:cubicBezTo>
                  <a:cubicBezTo>
                    <a:pt x="44079" y="124451"/>
                    <a:pt x="45837" y="125922"/>
                    <a:pt x="47749" y="127171"/>
                  </a:cubicBezTo>
                  <a:cubicBezTo>
                    <a:pt x="49793" y="128519"/>
                    <a:pt x="51962" y="129668"/>
                    <a:pt x="54226" y="130600"/>
                  </a:cubicBezTo>
                  <a:cubicBezTo>
                    <a:pt x="57561" y="131852"/>
                    <a:pt x="61057" y="132622"/>
                    <a:pt x="64609" y="132886"/>
                  </a:cubicBezTo>
                  <a:lnTo>
                    <a:pt x="67180" y="132886"/>
                  </a:lnTo>
                  <a:cubicBezTo>
                    <a:pt x="82736" y="133288"/>
                    <a:pt x="96034" y="121766"/>
                    <a:pt x="97851" y="106311"/>
                  </a:cubicBezTo>
                  <a:cubicBezTo>
                    <a:pt x="97900" y="105550"/>
                    <a:pt x="97900" y="104786"/>
                    <a:pt x="97851" y="104025"/>
                  </a:cubicBezTo>
                  <a:lnTo>
                    <a:pt x="97851" y="96024"/>
                  </a:lnTo>
                  <a:lnTo>
                    <a:pt x="105090" y="99453"/>
                  </a:lnTo>
                  <a:cubicBezTo>
                    <a:pt x="107036" y="100386"/>
                    <a:pt x="109132" y="100966"/>
                    <a:pt x="111281" y="101168"/>
                  </a:cubicBezTo>
                  <a:lnTo>
                    <a:pt x="112519" y="101168"/>
                  </a:lnTo>
                  <a:cubicBezTo>
                    <a:pt x="124711" y="101168"/>
                    <a:pt x="135189" y="88214"/>
                    <a:pt x="136332" y="71736"/>
                  </a:cubicBezTo>
                  <a:cubicBezTo>
                    <a:pt x="137085" y="63696"/>
                    <a:pt x="135178" y="55631"/>
                    <a:pt x="130903" y="48780"/>
                  </a:cubicBezTo>
                  <a:cubicBezTo>
                    <a:pt x="127613" y="43420"/>
                    <a:pt x="122014" y="39899"/>
                    <a:pt x="115758" y="39255"/>
                  </a:cubicBezTo>
                  <a:cubicBezTo>
                    <a:pt x="113433" y="39151"/>
                    <a:pt x="111109" y="39474"/>
                    <a:pt x="108900" y="40208"/>
                  </a:cubicBezTo>
                  <a:lnTo>
                    <a:pt x="99375" y="43446"/>
                  </a:lnTo>
                  <a:lnTo>
                    <a:pt x="102328" y="33921"/>
                  </a:lnTo>
                  <a:cubicBezTo>
                    <a:pt x="102921" y="32233"/>
                    <a:pt x="103274" y="30469"/>
                    <a:pt x="103376" y="28683"/>
                  </a:cubicBezTo>
                  <a:cubicBezTo>
                    <a:pt x="102710" y="12666"/>
                    <a:pt x="89498" y="42"/>
                    <a:pt x="73467" y="108"/>
                  </a:cubicBezTo>
                  <a:lnTo>
                    <a:pt x="70705" y="108"/>
                  </a:lnTo>
                  <a:cubicBezTo>
                    <a:pt x="69057" y="-36"/>
                    <a:pt x="67400" y="-36"/>
                    <a:pt x="65752" y="108"/>
                  </a:cubicBezTo>
                  <a:cubicBezTo>
                    <a:pt x="65499" y="6971"/>
                    <a:pt x="63429" y="13643"/>
                    <a:pt x="59751" y="19443"/>
                  </a:cubicBezTo>
                  <a:cubicBezTo>
                    <a:pt x="55311" y="26581"/>
                    <a:pt x="48890" y="32273"/>
                    <a:pt x="41272" y="35826"/>
                  </a:cubicBezTo>
                  <a:close/>
                  <a:moveTo>
                    <a:pt x="54703" y="68878"/>
                  </a:moveTo>
                  <a:cubicBezTo>
                    <a:pt x="52072" y="68562"/>
                    <a:pt x="50196" y="66174"/>
                    <a:pt x="50512" y="63544"/>
                  </a:cubicBezTo>
                  <a:cubicBezTo>
                    <a:pt x="50827" y="60914"/>
                    <a:pt x="53215" y="59037"/>
                    <a:pt x="55846" y="59353"/>
                  </a:cubicBezTo>
                  <a:cubicBezTo>
                    <a:pt x="58392" y="59652"/>
                    <a:pt x="60221" y="61948"/>
                    <a:pt x="59941" y="64497"/>
                  </a:cubicBezTo>
                  <a:cubicBezTo>
                    <a:pt x="59961" y="67074"/>
                    <a:pt x="57887" y="69179"/>
                    <a:pt x="55309" y="69199"/>
                  </a:cubicBezTo>
                  <a:cubicBezTo>
                    <a:pt x="55107" y="69200"/>
                    <a:pt x="54904" y="69189"/>
                    <a:pt x="54703" y="69164"/>
                  </a:cubicBezTo>
                  <a:close/>
                  <a:moveTo>
                    <a:pt x="65466" y="77070"/>
                  </a:moveTo>
                  <a:cubicBezTo>
                    <a:pt x="65180" y="79578"/>
                    <a:pt x="62914" y="81380"/>
                    <a:pt x="60405" y="81094"/>
                  </a:cubicBezTo>
                  <a:cubicBezTo>
                    <a:pt x="60346" y="81087"/>
                    <a:pt x="60286" y="81079"/>
                    <a:pt x="60227" y="81070"/>
                  </a:cubicBezTo>
                  <a:cubicBezTo>
                    <a:pt x="57662" y="80822"/>
                    <a:pt x="55783" y="78541"/>
                    <a:pt x="56031" y="75975"/>
                  </a:cubicBezTo>
                  <a:cubicBezTo>
                    <a:pt x="56033" y="75959"/>
                    <a:pt x="56035" y="75943"/>
                    <a:pt x="56036" y="75927"/>
                  </a:cubicBezTo>
                  <a:cubicBezTo>
                    <a:pt x="56330" y="73366"/>
                    <a:pt x="58645" y="71528"/>
                    <a:pt x="61206" y="71822"/>
                  </a:cubicBezTo>
                  <a:cubicBezTo>
                    <a:pt x="61229" y="71825"/>
                    <a:pt x="61252" y="71828"/>
                    <a:pt x="61275" y="71831"/>
                  </a:cubicBezTo>
                  <a:cubicBezTo>
                    <a:pt x="63890" y="72110"/>
                    <a:pt x="65784" y="74457"/>
                    <a:pt x="65505" y="77072"/>
                  </a:cubicBezTo>
                  <a:cubicBezTo>
                    <a:pt x="65495" y="77167"/>
                    <a:pt x="65482" y="77261"/>
                    <a:pt x="65466" y="77355"/>
                  </a:cubicBezTo>
                  <a:close/>
                  <a:moveTo>
                    <a:pt x="68228" y="53829"/>
                  </a:moveTo>
                  <a:cubicBezTo>
                    <a:pt x="67883" y="56430"/>
                    <a:pt x="65497" y="58262"/>
                    <a:pt x="62894" y="57924"/>
                  </a:cubicBezTo>
                  <a:cubicBezTo>
                    <a:pt x="60264" y="57609"/>
                    <a:pt x="58388" y="55221"/>
                    <a:pt x="58703" y="52590"/>
                  </a:cubicBezTo>
                  <a:cubicBezTo>
                    <a:pt x="59019" y="49960"/>
                    <a:pt x="61407" y="48084"/>
                    <a:pt x="64037" y="48399"/>
                  </a:cubicBezTo>
                  <a:cubicBezTo>
                    <a:pt x="66655" y="48659"/>
                    <a:pt x="68566" y="50992"/>
                    <a:pt x="68306" y="53609"/>
                  </a:cubicBezTo>
                  <a:cubicBezTo>
                    <a:pt x="68289" y="53779"/>
                    <a:pt x="68263" y="53947"/>
                    <a:pt x="68228" y="54114"/>
                  </a:cubicBezTo>
                  <a:close/>
                  <a:moveTo>
                    <a:pt x="78801" y="78975"/>
                  </a:moveTo>
                  <a:cubicBezTo>
                    <a:pt x="78485" y="81605"/>
                    <a:pt x="76097" y="83481"/>
                    <a:pt x="73467" y="83166"/>
                  </a:cubicBezTo>
                  <a:cubicBezTo>
                    <a:pt x="70837" y="82850"/>
                    <a:pt x="68960" y="80462"/>
                    <a:pt x="69276" y="77832"/>
                  </a:cubicBezTo>
                  <a:cubicBezTo>
                    <a:pt x="69621" y="75282"/>
                    <a:pt x="71964" y="73493"/>
                    <a:pt x="74515" y="73831"/>
                  </a:cubicBezTo>
                  <a:cubicBezTo>
                    <a:pt x="77085" y="74027"/>
                    <a:pt x="79009" y="76270"/>
                    <a:pt x="78813" y="78840"/>
                  </a:cubicBezTo>
                  <a:cubicBezTo>
                    <a:pt x="78810" y="78885"/>
                    <a:pt x="78806" y="78930"/>
                    <a:pt x="78801" y="78975"/>
                  </a:cubicBezTo>
                  <a:close/>
                  <a:moveTo>
                    <a:pt x="87373" y="68402"/>
                  </a:moveTo>
                  <a:cubicBezTo>
                    <a:pt x="87087" y="70911"/>
                    <a:pt x="84822" y="72712"/>
                    <a:pt x="82313" y="72426"/>
                  </a:cubicBezTo>
                  <a:cubicBezTo>
                    <a:pt x="82253" y="72419"/>
                    <a:pt x="82194" y="72411"/>
                    <a:pt x="82135" y="72402"/>
                  </a:cubicBezTo>
                  <a:cubicBezTo>
                    <a:pt x="79569" y="72154"/>
                    <a:pt x="77690" y="69873"/>
                    <a:pt x="77939" y="67307"/>
                  </a:cubicBezTo>
                  <a:cubicBezTo>
                    <a:pt x="77940" y="67291"/>
                    <a:pt x="77942" y="67275"/>
                    <a:pt x="77944" y="67259"/>
                  </a:cubicBezTo>
                  <a:cubicBezTo>
                    <a:pt x="78289" y="64657"/>
                    <a:pt x="80675" y="62825"/>
                    <a:pt x="83278" y="63163"/>
                  </a:cubicBezTo>
                  <a:cubicBezTo>
                    <a:pt x="85854" y="63249"/>
                    <a:pt x="87873" y="65407"/>
                    <a:pt x="87787" y="67983"/>
                  </a:cubicBezTo>
                  <a:cubicBezTo>
                    <a:pt x="87783" y="68123"/>
                    <a:pt x="87772" y="68263"/>
                    <a:pt x="87754" y="68402"/>
                  </a:cubicBezTo>
                  <a:close/>
                  <a:moveTo>
                    <a:pt x="78801" y="50685"/>
                  </a:moveTo>
                  <a:cubicBezTo>
                    <a:pt x="81359" y="50985"/>
                    <a:pt x="83215" y="53263"/>
                    <a:pt x="82992" y="55829"/>
                  </a:cubicBezTo>
                  <a:cubicBezTo>
                    <a:pt x="82646" y="58431"/>
                    <a:pt x="80261" y="60262"/>
                    <a:pt x="77658" y="59925"/>
                  </a:cubicBezTo>
                  <a:cubicBezTo>
                    <a:pt x="75145" y="59683"/>
                    <a:pt x="73303" y="57449"/>
                    <a:pt x="73545" y="54936"/>
                  </a:cubicBezTo>
                  <a:cubicBezTo>
                    <a:pt x="73550" y="54884"/>
                    <a:pt x="73556" y="54833"/>
                    <a:pt x="73562" y="54781"/>
                  </a:cubicBezTo>
                  <a:cubicBezTo>
                    <a:pt x="73856" y="52220"/>
                    <a:pt x="76171" y="50383"/>
                    <a:pt x="78732" y="50677"/>
                  </a:cubicBezTo>
                  <a:cubicBezTo>
                    <a:pt x="78755" y="50679"/>
                    <a:pt x="78778" y="50682"/>
                    <a:pt x="78801" y="5068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7" name="Freihandform: Form 1361">
              <a:extLst>
                <a:ext uri="{FF2B5EF4-FFF2-40B4-BE49-F238E27FC236}">
                  <a16:creationId xmlns:a16="http://schemas.microsoft.com/office/drawing/2014/main" id="{398595C3-7DF1-46FC-B272-A1A1D39FD909}"/>
                </a:ext>
              </a:extLst>
            </p:cNvPr>
            <p:cNvSpPr/>
            <p:nvPr/>
          </p:nvSpPr>
          <p:spPr>
            <a:xfrm>
              <a:off x="4527469" y="3200358"/>
              <a:ext cx="129509" cy="126724"/>
            </a:xfrm>
            <a:custGeom>
              <a:avLst/>
              <a:gdLst>
                <a:gd name="connsiteX0" fmla="*/ 6431 w 129509"/>
                <a:gd name="connsiteY0" fmla="*/ 92339 h 126724"/>
                <a:gd name="connsiteX1" fmla="*/ 11860 w 129509"/>
                <a:gd name="connsiteY1" fmla="*/ 99292 h 126724"/>
                <a:gd name="connsiteX2" fmla="*/ 15575 w 129509"/>
                <a:gd name="connsiteY2" fmla="*/ 102531 h 126724"/>
                <a:gd name="connsiteX3" fmla="*/ 29672 w 129509"/>
                <a:gd name="connsiteY3" fmla="*/ 107484 h 126724"/>
                <a:gd name="connsiteX4" fmla="*/ 35006 w 129509"/>
                <a:gd name="connsiteY4" fmla="*/ 106722 h 126724"/>
                <a:gd name="connsiteX5" fmla="*/ 42626 w 129509"/>
                <a:gd name="connsiteY5" fmla="*/ 102531 h 126724"/>
                <a:gd name="connsiteX6" fmla="*/ 43292 w 129509"/>
                <a:gd name="connsiteY6" fmla="*/ 105484 h 126724"/>
                <a:gd name="connsiteX7" fmla="*/ 59390 w 129509"/>
                <a:gd name="connsiteY7" fmla="*/ 123867 h 126724"/>
                <a:gd name="connsiteX8" fmla="*/ 65581 w 129509"/>
                <a:gd name="connsiteY8" fmla="*/ 125867 h 126724"/>
                <a:gd name="connsiteX9" fmla="*/ 73010 w 129509"/>
                <a:gd name="connsiteY9" fmla="*/ 126724 h 126724"/>
                <a:gd name="connsiteX10" fmla="*/ 83107 w 129509"/>
                <a:gd name="connsiteY10" fmla="*/ 125296 h 126724"/>
                <a:gd name="connsiteX11" fmla="*/ 83107 w 129509"/>
                <a:gd name="connsiteY11" fmla="*/ 125296 h 126724"/>
                <a:gd name="connsiteX12" fmla="*/ 86250 w 129509"/>
                <a:gd name="connsiteY12" fmla="*/ 124248 h 126724"/>
                <a:gd name="connsiteX13" fmla="*/ 91108 w 129509"/>
                <a:gd name="connsiteY13" fmla="*/ 121867 h 126724"/>
                <a:gd name="connsiteX14" fmla="*/ 107015 w 129509"/>
                <a:gd name="connsiteY14" fmla="*/ 99007 h 126724"/>
                <a:gd name="connsiteX15" fmla="*/ 107015 w 129509"/>
                <a:gd name="connsiteY15" fmla="*/ 93482 h 126724"/>
                <a:gd name="connsiteX16" fmla="*/ 106253 w 129509"/>
                <a:gd name="connsiteY16" fmla="*/ 88529 h 126724"/>
                <a:gd name="connsiteX17" fmla="*/ 106253 w 129509"/>
                <a:gd name="connsiteY17" fmla="*/ 87481 h 126724"/>
                <a:gd name="connsiteX18" fmla="*/ 105491 w 129509"/>
                <a:gd name="connsiteY18" fmla="*/ 85100 h 126724"/>
                <a:gd name="connsiteX19" fmla="*/ 107396 w 129509"/>
                <a:gd name="connsiteY19" fmla="*/ 85100 h 126724"/>
                <a:gd name="connsiteX20" fmla="*/ 112825 w 129509"/>
                <a:gd name="connsiteY20" fmla="*/ 84338 h 126724"/>
                <a:gd name="connsiteX21" fmla="*/ 127874 w 129509"/>
                <a:gd name="connsiteY21" fmla="*/ 46238 h 126724"/>
                <a:gd name="connsiteX22" fmla="*/ 100728 w 129509"/>
                <a:gd name="connsiteY22" fmla="*/ 20997 h 126724"/>
                <a:gd name="connsiteX23" fmla="*/ 95299 w 129509"/>
                <a:gd name="connsiteY23" fmla="*/ 21759 h 126724"/>
                <a:gd name="connsiteX24" fmla="*/ 88155 w 129509"/>
                <a:gd name="connsiteY24" fmla="*/ 25569 h 126724"/>
                <a:gd name="connsiteX25" fmla="*/ 87203 w 129509"/>
                <a:gd name="connsiteY25" fmla="*/ 19759 h 126724"/>
                <a:gd name="connsiteX26" fmla="*/ 58056 w 129509"/>
                <a:gd name="connsiteY26" fmla="*/ 42 h 126724"/>
                <a:gd name="connsiteX27" fmla="*/ 47483 w 129509"/>
                <a:gd name="connsiteY27" fmla="*/ 1566 h 126724"/>
                <a:gd name="connsiteX28" fmla="*/ 23576 w 129509"/>
                <a:gd name="connsiteY28" fmla="*/ 38142 h 126724"/>
                <a:gd name="connsiteX29" fmla="*/ 26147 w 129509"/>
                <a:gd name="connsiteY29" fmla="*/ 44143 h 126724"/>
                <a:gd name="connsiteX30" fmla="*/ 22147 w 129509"/>
                <a:gd name="connsiteY30" fmla="*/ 44143 h 126724"/>
                <a:gd name="connsiteX31" fmla="*/ 16718 w 129509"/>
                <a:gd name="connsiteY31" fmla="*/ 44905 h 126724"/>
                <a:gd name="connsiteX32" fmla="*/ 3192 w 129509"/>
                <a:gd name="connsiteY32" fmla="*/ 57001 h 126724"/>
                <a:gd name="connsiteX33" fmla="*/ 1668 w 129509"/>
                <a:gd name="connsiteY33" fmla="*/ 83005 h 126724"/>
                <a:gd name="connsiteX34" fmla="*/ 6431 w 129509"/>
                <a:gd name="connsiteY34" fmla="*/ 92339 h 126724"/>
                <a:gd name="connsiteX35" fmla="*/ 74725 w 129509"/>
                <a:gd name="connsiteY35" fmla="*/ 76242 h 126724"/>
                <a:gd name="connsiteX36" fmla="*/ 69581 w 129509"/>
                <a:gd name="connsiteY36" fmla="*/ 73194 h 126724"/>
                <a:gd name="connsiteX37" fmla="*/ 72779 w 129509"/>
                <a:gd name="connsiteY37" fmla="*/ 68204 h 126724"/>
                <a:gd name="connsiteX38" fmla="*/ 73106 w 129509"/>
                <a:gd name="connsiteY38" fmla="*/ 68146 h 126724"/>
                <a:gd name="connsiteX39" fmla="*/ 78118 w 129509"/>
                <a:gd name="connsiteY39" fmla="*/ 71048 h 126724"/>
                <a:gd name="connsiteX40" fmla="*/ 78154 w 129509"/>
                <a:gd name="connsiteY40" fmla="*/ 71194 h 126724"/>
                <a:gd name="connsiteX41" fmla="*/ 74973 w 129509"/>
                <a:gd name="connsiteY41" fmla="*/ 76194 h 126724"/>
                <a:gd name="connsiteX42" fmla="*/ 74725 w 129509"/>
                <a:gd name="connsiteY42" fmla="*/ 76242 h 126724"/>
                <a:gd name="connsiteX43" fmla="*/ 76725 w 129509"/>
                <a:gd name="connsiteY43" fmla="*/ 56525 h 126724"/>
                <a:gd name="connsiteX44" fmla="*/ 81802 w 129509"/>
                <a:gd name="connsiteY44" fmla="*/ 59313 h 126724"/>
                <a:gd name="connsiteX45" fmla="*/ 81869 w 129509"/>
                <a:gd name="connsiteY45" fmla="*/ 59573 h 126724"/>
                <a:gd name="connsiteX46" fmla="*/ 78753 w 129509"/>
                <a:gd name="connsiteY46" fmla="*/ 64615 h 126724"/>
                <a:gd name="connsiteX47" fmla="*/ 78725 w 129509"/>
                <a:gd name="connsiteY47" fmla="*/ 64621 h 126724"/>
                <a:gd name="connsiteX48" fmla="*/ 73582 w 129509"/>
                <a:gd name="connsiteY48" fmla="*/ 61573 h 126724"/>
                <a:gd name="connsiteX49" fmla="*/ 76698 w 129509"/>
                <a:gd name="connsiteY49" fmla="*/ 56531 h 126724"/>
                <a:gd name="connsiteX50" fmla="*/ 76725 w 129509"/>
                <a:gd name="connsiteY50" fmla="*/ 56525 h 126724"/>
                <a:gd name="connsiteX51" fmla="*/ 68629 w 129509"/>
                <a:gd name="connsiteY51" fmla="*/ 47667 h 126724"/>
                <a:gd name="connsiteX52" fmla="*/ 73754 w 129509"/>
                <a:gd name="connsiteY52" fmla="*/ 50643 h 126724"/>
                <a:gd name="connsiteX53" fmla="*/ 73772 w 129509"/>
                <a:gd name="connsiteY53" fmla="*/ 50715 h 126724"/>
                <a:gd name="connsiteX54" fmla="*/ 70534 w 129509"/>
                <a:gd name="connsiteY54" fmla="*/ 55763 h 126724"/>
                <a:gd name="connsiteX55" fmla="*/ 65147 w 129509"/>
                <a:gd name="connsiteY55" fmla="*/ 53292 h 126724"/>
                <a:gd name="connsiteX56" fmla="*/ 67618 w 129509"/>
                <a:gd name="connsiteY56" fmla="*/ 47905 h 126724"/>
                <a:gd name="connsiteX57" fmla="*/ 68629 w 129509"/>
                <a:gd name="connsiteY57" fmla="*/ 47667 h 126724"/>
                <a:gd name="connsiteX58" fmla="*/ 65771 w 129509"/>
                <a:gd name="connsiteY58" fmla="*/ 74146 h 126724"/>
                <a:gd name="connsiteX59" fmla="*/ 62083 w 129509"/>
                <a:gd name="connsiteY59" fmla="*/ 78957 h 126724"/>
                <a:gd name="connsiteX60" fmla="*/ 57485 w 129509"/>
                <a:gd name="connsiteY60" fmla="*/ 76147 h 126724"/>
                <a:gd name="connsiteX61" fmla="*/ 60723 w 129509"/>
                <a:gd name="connsiteY61" fmla="*/ 71098 h 126724"/>
                <a:gd name="connsiteX62" fmla="*/ 65751 w 129509"/>
                <a:gd name="connsiteY62" fmla="*/ 73974 h 126724"/>
                <a:gd name="connsiteX63" fmla="*/ 65771 w 129509"/>
                <a:gd name="connsiteY63" fmla="*/ 74051 h 126724"/>
                <a:gd name="connsiteX64" fmla="*/ 56246 w 129509"/>
                <a:gd name="connsiteY64" fmla="*/ 50715 h 126724"/>
                <a:gd name="connsiteX65" fmla="*/ 61259 w 129509"/>
                <a:gd name="connsiteY65" fmla="*/ 53618 h 126724"/>
                <a:gd name="connsiteX66" fmla="*/ 61295 w 129509"/>
                <a:gd name="connsiteY66" fmla="*/ 53763 h 126724"/>
                <a:gd name="connsiteX67" fmla="*/ 58179 w 129509"/>
                <a:gd name="connsiteY67" fmla="*/ 58805 h 126724"/>
                <a:gd name="connsiteX68" fmla="*/ 58151 w 129509"/>
                <a:gd name="connsiteY68" fmla="*/ 58811 h 126724"/>
                <a:gd name="connsiteX69" fmla="*/ 52764 w 129509"/>
                <a:gd name="connsiteY69" fmla="*/ 56340 h 126724"/>
                <a:gd name="connsiteX70" fmla="*/ 55235 w 129509"/>
                <a:gd name="connsiteY70" fmla="*/ 50953 h 126724"/>
                <a:gd name="connsiteX71" fmla="*/ 56246 w 129509"/>
                <a:gd name="connsiteY71" fmla="*/ 50715 h 126724"/>
                <a:gd name="connsiteX72" fmla="*/ 52627 w 129509"/>
                <a:gd name="connsiteY72" fmla="*/ 62431 h 126724"/>
                <a:gd name="connsiteX73" fmla="*/ 57770 w 129509"/>
                <a:gd name="connsiteY73" fmla="*/ 65574 h 126724"/>
                <a:gd name="connsiteX74" fmla="*/ 54239 w 129509"/>
                <a:gd name="connsiteY74" fmla="*/ 70501 h 126724"/>
                <a:gd name="connsiteX75" fmla="*/ 54056 w 129509"/>
                <a:gd name="connsiteY75" fmla="*/ 70527 h 126724"/>
                <a:gd name="connsiteX76" fmla="*/ 49007 w 129509"/>
                <a:gd name="connsiteY76" fmla="*/ 67384 h 126724"/>
                <a:gd name="connsiteX77" fmla="*/ 52151 w 129509"/>
                <a:gd name="connsiteY77" fmla="*/ 62335 h 126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129509" h="126724">
                  <a:moveTo>
                    <a:pt x="6431" y="92339"/>
                  </a:moveTo>
                  <a:cubicBezTo>
                    <a:pt x="7953" y="94867"/>
                    <a:pt x="9776" y="97202"/>
                    <a:pt x="11860" y="99292"/>
                  </a:cubicBezTo>
                  <a:cubicBezTo>
                    <a:pt x="12983" y="100497"/>
                    <a:pt x="14228" y="101583"/>
                    <a:pt x="15575" y="102531"/>
                  </a:cubicBezTo>
                  <a:cubicBezTo>
                    <a:pt x="19633" y="105628"/>
                    <a:pt x="24568" y="107362"/>
                    <a:pt x="29672" y="107484"/>
                  </a:cubicBezTo>
                  <a:cubicBezTo>
                    <a:pt x="31475" y="107456"/>
                    <a:pt x="33267" y="107200"/>
                    <a:pt x="35006" y="106722"/>
                  </a:cubicBezTo>
                  <a:cubicBezTo>
                    <a:pt x="37835" y="105931"/>
                    <a:pt x="40443" y="104497"/>
                    <a:pt x="42626" y="102531"/>
                  </a:cubicBezTo>
                  <a:cubicBezTo>
                    <a:pt x="42792" y="103527"/>
                    <a:pt x="43015" y="104513"/>
                    <a:pt x="43292" y="105484"/>
                  </a:cubicBezTo>
                  <a:cubicBezTo>
                    <a:pt x="45695" y="113680"/>
                    <a:pt x="51582" y="120403"/>
                    <a:pt x="59390" y="123867"/>
                  </a:cubicBezTo>
                  <a:cubicBezTo>
                    <a:pt x="61379" y="124746"/>
                    <a:pt x="63454" y="125416"/>
                    <a:pt x="65581" y="125867"/>
                  </a:cubicBezTo>
                  <a:cubicBezTo>
                    <a:pt x="68015" y="126445"/>
                    <a:pt x="70509" y="126733"/>
                    <a:pt x="73010" y="126724"/>
                  </a:cubicBezTo>
                  <a:cubicBezTo>
                    <a:pt x="76425" y="126711"/>
                    <a:pt x="79822" y="126230"/>
                    <a:pt x="83107" y="125296"/>
                  </a:cubicBezTo>
                  <a:lnTo>
                    <a:pt x="83107" y="125296"/>
                  </a:lnTo>
                  <a:lnTo>
                    <a:pt x="86250" y="124248"/>
                  </a:lnTo>
                  <a:cubicBezTo>
                    <a:pt x="87924" y="123570"/>
                    <a:pt x="89547" y="122774"/>
                    <a:pt x="91108" y="121867"/>
                  </a:cubicBezTo>
                  <a:cubicBezTo>
                    <a:pt x="99602" y="117053"/>
                    <a:pt x="105453" y="108644"/>
                    <a:pt x="107015" y="99007"/>
                  </a:cubicBezTo>
                  <a:cubicBezTo>
                    <a:pt x="107207" y="97170"/>
                    <a:pt x="107207" y="95319"/>
                    <a:pt x="107015" y="93482"/>
                  </a:cubicBezTo>
                  <a:cubicBezTo>
                    <a:pt x="106894" y="91813"/>
                    <a:pt x="106639" y="90157"/>
                    <a:pt x="106253" y="88529"/>
                  </a:cubicBezTo>
                  <a:lnTo>
                    <a:pt x="106253" y="87481"/>
                  </a:lnTo>
                  <a:cubicBezTo>
                    <a:pt x="106056" y="86670"/>
                    <a:pt x="105801" y="85875"/>
                    <a:pt x="105491" y="85100"/>
                  </a:cubicBezTo>
                  <a:lnTo>
                    <a:pt x="107396" y="85100"/>
                  </a:lnTo>
                  <a:cubicBezTo>
                    <a:pt x="109231" y="85087"/>
                    <a:pt x="111057" y="84831"/>
                    <a:pt x="112825" y="84338"/>
                  </a:cubicBezTo>
                  <a:cubicBezTo>
                    <a:pt x="126160" y="80528"/>
                    <a:pt x="132827" y="63478"/>
                    <a:pt x="127874" y="46238"/>
                  </a:cubicBezTo>
                  <a:cubicBezTo>
                    <a:pt x="125222" y="32847"/>
                    <a:pt x="114277" y="22669"/>
                    <a:pt x="100728" y="20997"/>
                  </a:cubicBezTo>
                  <a:cubicBezTo>
                    <a:pt x="98893" y="21016"/>
                    <a:pt x="97068" y="21272"/>
                    <a:pt x="95299" y="21759"/>
                  </a:cubicBezTo>
                  <a:cubicBezTo>
                    <a:pt x="92682" y="22526"/>
                    <a:pt x="90250" y="23823"/>
                    <a:pt x="88155" y="25569"/>
                  </a:cubicBezTo>
                  <a:cubicBezTo>
                    <a:pt x="88078" y="23600"/>
                    <a:pt x="87758" y="21649"/>
                    <a:pt x="87203" y="19759"/>
                  </a:cubicBezTo>
                  <a:cubicBezTo>
                    <a:pt x="82998" y="7401"/>
                    <a:pt x="71091" y="-654"/>
                    <a:pt x="58056" y="42"/>
                  </a:cubicBezTo>
                  <a:cubicBezTo>
                    <a:pt x="54478" y="51"/>
                    <a:pt x="50919" y="564"/>
                    <a:pt x="47483" y="1566"/>
                  </a:cubicBezTo>
                  <a:cubicBezTo>
                    <a:pt x="30801" y="5093"/>
                    <a:pt x="20111" y="21446"/>
                    <a:pt x="23576" y="38142"/>
                  </a:cubicBezTo>
                  <a:cubicBezTo>
                    <a:pt x="24194" y="40236"/>
                    <a:pt x="25058" y="42250"/>
                    <a:pt x="26147" y="44143"/>
                  </a:cubicBezTo>
                  <a:cubicBezTo>
                    <a:pt x="24818" y="44002"/>
                    <a:pt x="23477" y="44002"/>
                    <a:pt x="22147" y="44143"/>
                  </a:cubicBezTo>
                  <a:cubicBezTo>
                    <a:pt x="20312" y="44162"/>
                    <a:pt x="18487" y="44418"/>
                    <a:pt x="16718" y="44905"/>
                  </a:cubicBezTo>
                  <a:cubicBezTo>
                    <a:pt x="10698" y="46836"/>
                    <a:pt x="5781" y="51233"/>
                    <a:pt x="3192" y="57001"/>
                  </a:cubicBezTo>
                  <a:cubicBezTo>
                    <a:pt x="-455" y="65197"/>
                    <a:pt x="-996" y="74439"/>
                    <a:pt x="1668" y="83005"/>
                  </a:cubicBezTo>
                  <a:cubicBezTo>
                    <a:pt x="2845" y="86309"/>
                    <a:pt x="4445" y="89447"/>
                    <a:pt x="6431" y="92339"/>
                  </a:cubicBezTo>
                  <a:close/>
                  <a:moveTo>
                    <a:pt x="74725" y="76242"/>
                  </a:moveTo>
                  <a:cubicBezTo>
                    <a:pt x="72468" y="76787"/>
                    <a:pt x="70187" y="75435"/>
                    <a:pt x="69581" y="73194"/>
                  </a:cubicBezTo>
                  <a:cubicBezTo>
                    <a:pt x="69086" y="70933"/>
                    <a:pt x="70518" y="68698"/>
                    <a:pt x="72779" y="68204"/>
                  </a:cubicBezTo>
                  <a:cubicBezTo>
                    <a:pt x="72887" y="68180"/>
                    <a:pt x="72996" y="68161"/>
                    <a:pt x="73106" y="68146"/>
                  </a:cubicBezTo>
                  <a:cubicBezTo>
                    <a:pt x="75291" y="67563"/>
                    <a:pt x="77536" y="68863"/>
                    <a:pt x="78118" y="71048"/>
                  </a:cubicBezTo>
                  <a:cubicBezTo>
                    <a:pt x="78131" y="71097"/>
                    <a:pt x="78143" y="71145"/>
                    <a:pt x="78154" y="71194"/>
                  </a:cubicBezTo>
                  <a:cubicBezTo>
                    <a:pt x="78656" y="73453"/>
                    <a:pt x="77232" y="75692"/>
                    <a:pt x="74973" y="76194"/>
                  </a:cubicBezTo>
                  <a:cubicBezTo>
                    <a:pt x="74891" y="76213"/>
                    <a:pt x="74808" y="76228"/>
                    <a:pt x="74725" y="76242"/>
                  </a:cubicBezTo>
                  <a:close/>
                  <a:moveTo>
                    <a:pt x="76725" y="56525"/>
                  </a:moveTo>
                  <a:cubicBezTo>
                    <a:pt x="78897" y="55893"/>
                    <a:pt x="81170" y="57141"/>
                    <a:pt x="81802" y="59313"/>
                  </a:cubicBezTo>
                  <a:cubicBezTo>
                    <a:pt x="81827" y="59399"/>
                    <a:pt x="81849" y="59486"/>
                    <a:pt x="81869" y="59573"/>
                  </a:cubicBezTo>
                  <a:cubicBezTo>
                    <a:pt x="82401" y="61826"/>
                    <a:pt x="81006" y="64083"/>
                    <a:pt x="78753" y="64615"/>
                  </a:cubicBezTo>
                  <a:cubicBezTo>
                    <a:pt x="78744" y="64617"/>
                    <a:pt x="78735" y="64619"/>
                    <a:pt x="78725" y="64621"/>
                  </a:cubicBezTo>
                  <a:cubicBezTo>
                    <a:pt x="76468" y="65166"/>
                    <a:pt x="74188" y="63815"/>
                    <a:pt x="73582" y="61573"/>
                  </a:cubicBezTo>
                  <a:cubicBezTo>
                    <a:pt x="73050" y="59321"/>
                    <a:pt x="74445" y="57063"/>
                    <a:pt x="76698" y="56531"/>
                  </a:cubicBezTo>
                  <a:cubicBezTo>
                    <a:pt x="76707" y="56529"/>
                    <a:pt x="76716" y="56527"/>
                    <a:pt x="76725" y="56525"/>
                  </a:cubicBezTo>
                  <a:close/>
                  <a:moveTo>
                    <a:pt x="68629" y="47667"/>
                  </a:moveTo>
                  <a:cubicBezTo>
                    <a:pt x="70866" y="47073"/>
                    <a:pt x="73161" y="48406"/>
                    <a:pt x="73754" y="50643"/>
                  </a:cubicBezTo>
                  <a:cubicBezTo>
                    <a:pt x="73760" y="50667"/>
                    <a:pt x="73767" y="50691"/>
                    <a:pt x="73772" y="50715"/>
                  </a:cubicBezTo>
                  <a:cubicBezTo>
                    <a:pt x="74194" y="52988"/>
                    <a:pt x="72776" y="55199"/>
                    <a:pt x="70534" y="55763"/>
                  </a:cubicBezTo>
                  <a:cubicBezTo>
                    <a:pt x="68364" y="56568"/>
                    <a:pt x="65952" y="55462"/>
                    <a:pt x="65147" y="53292"/>
                  </a:cubicBezTo>
                  <a:cubicBezTo>
                    <a:pt x="64341" y="51122"/>
                    <a:pt x="65447" y="48710"/>
                    <a:pt x="67618" y="47905"/>
                  </a:cubicBezTo>
                  <a:cubicBezTo>
                    <a:pt x="67943" y="47784"/>
                    <a:pt x="68283" y="47704"/>
                    <a:pt x="68629" y="47667"/>
                  </a:cubicBezTo>
                  <a:close/>
                  <a:moveTo>
                    <a:pt x="65771" y="74146"/>
                  </a:moveTo>
                  <a:cubicBezTo>
                    <a:pt x="66081" y="76493"/>
                    <a:pt x="64430" y="78647"/>
                    <a:pt x="62083" y="78957"/>
                  </a:cubicBezTo>
                  <a:cubicBezTo>
                    <a:pt x="60079" y="79221"/>
                    <a:pt x="58163" y="78050"/>
                    <a:pt x="57485" y="76147"/>
                  </a:cubicBezTo>
                  <a:cubicBezTo>
                    <a:pt x="57011" y="73863"/>
                    <a:pt x="58450" y="71620"/>
                    <a:pt x="60723" y="71098"/>
                  </a:cubicBezTo>
                  <a:cubicBezTo>
                    <a:pt x="62906" y="70504"/>
                    <a:pt x="65157" y="71791"/>
                    <a:pt x="65751" y="73974"/>
                  </a:cubicBezTo>
                  <a:cubicBezTo>
                    <a:pt x="65758" y="74000"/>
                    <a:pt x="65765" y="74025"/>
                    <a:pt x="65771" y="74051"/>
                  </a:cubicBezTo>
                  <a:close/>
                  <a:moveTo>
                    <a:pt x="56246" y="50715"/>
                  </a:moveTo>
                  <a:cubicBezTo>
                    <a:pt x="58432" y="50132"/>
                    <a:pt x="60676" y="51432"/>
                    <a:pt x="61259" y="53618"/>
                  </a:cubicBezTo>
                  <a:cubicBezTo>
                    <a:pt x="61272" y="53666"/>
                    <a:pt x="61284" y="53714"/>
                    <a:pt x="61295" y="53763"/>
                  </a:cubicBezTo>
                  <a:cubicBezTo>
                    <a:pt x="61827" y="56015"/>
                    <a:pt x="60432" y="58273"/>
                    <a:pt x="58179" y="58805"/>
                  </a:cubicBezTo>
                  <a:cubicBezTo>
                    <a:pt x="58170" y="58807"/>
                    <a:pt x="58161" y="58809"/>
                    <a:pt x="58151" y="58811"/>
                  </a:cubicBezTo>
                  <a:cubicBezTo>
                    <a:pt x="55981" y="59616"/>
                    <a:pt x="53569" y="58510"/>
                    <a:pt x="52764" y="56340"/>
                  </a:cubicBezTo>
                  <a:cubicBezTo>
                    <a:pt x="51959" y="54170"/>
                    <a:pt x="53065" y="51758"/>
                    <a:pt x="55235" y="50953"/>
                  </a:cubicBezTo>
                  <a:cubicBezTo>
                    <a:pt x="55561" y="50832"/>
                    <a:pt x="55901" y="50752"/>
                    <a:pt x="56246" y="50715"/>
                  </a:cubicBezTo>
                  <a:close/>
                  <a:moveTo>
                    <a:pt x="52627" y="62431"/>
                  </a:moveTo>
                  <a:cubicBezTo>
                    <a:pt x="54904" y="61945"/>
                    <a:pt x="57164" y="63326"/>
                    <a:pt x="57770" y="65574"/>
                  </a:cubicBezTo>
                  <a:cubicBezTo>
                    <a:pt x="58156" y="67909"/>
                    <a:pt x="56575" y="70115"/>
                    <a:pt x="54239" y="70501"/>
                  </a:cubicBezTo>
                  <a:cubicBezTo>
                    <a:pt x="54178" y="70511"/>
                    <a:pt x="54117" y="70519"/>
                    <a:pt x="54056" y="70527"/>
                  </a:cubicBezTo>
                  <a:cubicBezTo>
                    <a:pt x="51794" y="71053"/>
                    <a:pt x="49534" y="69646"/>
                    <a:pt x="49007" y="67384"/>
                  </a:cubicBezTo>
                  <a:cubicBezTo>
                    <a:pt x="48481" y="65121"/>
                    <a:pt x="49889" y="62861"/>
                    <a:pt x="52151" y="623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8" name="Freihandform: Form 1362">
              <a:extLst>
                <a:ext uri="{FF2B5EF4-FFF2-40B4-BE49-F238E27FC236}">
                  <a16:creationId xmlns:a16="http://schemas.microsoft.com/office/drawing/2014/main" id="{C05C6AE3-15C3-4837-919C-462AC6220DD8}"/>
                </a:ext>
              </a:extLst>
            </p:cNvPr>
            <p:cNvSpPr/>
            <p:nvPr/>
          </p:nvSpPr>
          <p:spPr>
            <a:xfrm>
              <a:off x="4644485" y="3415962"/>
              <a:ext cx="134874" cy="232207"/>
            </a:xfrm>
            <a:custGeom>
              <a:avLst/>
              <a:gdLst>
                <a:gd name="connsiteX0" fmla="*/ 69818 w 134874"/>
                <a:gd name="connsiteY0" fmla="*/ 1893 h 232207"/>
                <a:gd name="connsiteX1" fmla="*/ 66999 w 134874"/>
                <a:gd name="connsiteY1" fmla="*/ 51 h 232207"/>
                <a:gd name="connsiteX2" fmla="*/ 66866 w 134874"/>
                <a:gd name="connsiteY2" fmla="*/ 83 h 232207"/>
                <a:gd name="connsiteX3" fmla="*/ 64960 w 134874"/>
                <a:gd name="connsiteY3" fmla="*/ 1893 h 232207"/>
                <a:gd name="connsiteX4" fmla="*/ 0 w 134874"/>
                <a:gd name="connsiteY4" fmla="*/ 164770 h 232207"/>
                <a:gd name="connsiteX5" fmla="*/ 67437 w 134874"/>
                <a:gd name="connsiteY5" fmla="*/ 232207 h 232207"/>
                <a:gd name="connsiteX6" fmla="*/ 134874 w 134874"/>
                <a:gd name="connsiteY6" fmla="*/ 164770 h 232207"/>
                <a:gd name="connsiteX7" fmla="*/ 69818 w 134874"/>
                <a:gd name="connsiteY7" fmla="*/ 1893 h 232207"/>
                <a:gd name="connsiteX8" fmla="*/ 59531 w 134874"/>
                <a:gd name="connsiteY8" fmla="*/ 96571 h 232207"/>
                <a:gd name="connsiteX9" fmla="*/ 57341 w 134874"/>
                <a:gd name="connsiteY9" fmla="*/ 104763 h 232207"/>
                <a:gd name="connsiteX10" fmla="*/ 46958 w 134874"/>
                <a:gd name="connsiteY10" fmla="*/ 163818 h 232207"/>
                <a:gd name="connsiteX11" fmla="*/ 33052 w 134874"/>
                <a:gd name="connsiteY11" fmla="*/ 180296 h 232207"/>
                <a:gd name="connsiteX12" fmla="*/ 19050 w 134874"/>
                <a:gd name="connsiteY12" fmla="*/ 166294 h 232207"/>
                <a:gd name="connsiteX13" fmla="*/ 43148 w 134874"/>
                <a:gd name="connsiteY13" fmla="*/ 106954 h 232207"/>
                <a:gd name="connsiteX14" fmla="*/ 52673 w 134874"/>
                <a:gd name="connsiteY14" fmla="*/ 93047 h 232207"/>
                <a:gd name="connsiteX15" fmla="*/ 57829 w 134874"/>
                <a:gd name="connsiteY15" fmla="*/ 92037 h 232207"/>
                <a:gd name="connsiteX16" fmla="*/ 57912 w 134874"/>
                <a:gd name="connsiteY16" fmla="*/ 92095 h 232207"/>
                <a:gd name="connsiteX17" fmla="*/ 58960 w 134874"/>
                <a:gd name="connsiteY17" fmla="*/ 93047 h 232207"/>
                <a:gd name="connsiteX18" fmla="*/ 59531 w 134874"/>
                <a:gd name="connsiteY18" fmla="*/ 96571 h 232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4874" h="232207">
                  <a:moveTo>
                    <a:pt x="69818" y="1893"/>
                  </a:moveTo>
                  <a:cubicBezTo>
                    <a:pt x="69548" y="606"/>
                    <a:pt x="68286" y="-219"/>
                    <a:pt x="66999" y="51"/>
                  </a:cubicBezTo>
                  <a:cubicBezTo>
                    <a:pt x="66954" y="61"/>
                    <a:pt x="66910" y="71"/>
                    <a:pt x="66866" y="83"/>
                  </a:cubicBezTo>
                  <a:cubicBezTo>
                    <a:pt x="65936" y="272"/>
                    <a:pt x="65197" y="975"/>
                    <a:pt x="64960" y="1893"/>
                  </a:cubicBezTo>
                  <a:cubicBezTo>
                    <a:pt x="54388" y="87618"/>
                    <a:pt x="0" y="105144"/>
                    <a:pt x="0" y="164770"/>
                  </a:cubicBezTo>
                  <a:cubicBezTo>
                    <a:pt x="0" y="202015"/>
                    <a:pt x="30193" y="232207"/>
                    <a:pt x="67437" y="232207"/>
                  </a:cubicBezTo>
                  <a:cubicBezTo>
                    <a:pt x="104681" y="232207"/>
                    <a:pt x="134874" y="202015"/>
                    <a:pt x="134874" y="164770"/>
                  </a:cubicBezTo>
                  <a:cubicBezTo>
                    <a:pt x="134874" y="105239"/>
                    <a:pt x="80486" y="87523"/>
                    <a:pt x="69818" y="1893"/>
                  </a:cubicBezTo>
                  <a:close/>
                  <a:moveTo>
                    <a:pt x="59531" y="96571"/>
                  </a:moveTo>
                  <a:cubicBezTo>
                    <a:pt x="58865" y="99238"/>
                    <a:pt x="58102" y="101905"/>
                    <a:pt x="57341" y="104763"/>
                  </a:cubicBezTo>
                  <a:cubicBezTo>
                    <a:pt x="51078" y="123851"/>
                    <a:pt x="47582" y="143738"/>
                    <a:pt x="46958" y="163818"/>
                  </a:cubicBezTo>
                  <a:cubicBezTo>
                    <a:pt x="46958" y="176010"/>
                    <a:pt x="39815" y="180296"/>
                    <a:pt x="33052" y="180296"/>
                  </a:cubicBezTo>
                  <a:cubicBezTo>
                    <a:pt x="25319" y="180296"/>
                    <a:pt x="19050" y="174027"/>
                    <a:pt x="19050" y="166294"/>
                  </a:cubicBezTo>
                  <a:cubicBezTo>
                    <a:pt x="19050" y="139720"/>
                    <a:pt x="31909" y="122384"/>
                    <a:pt x="43148" y="106954"/>
                  </a:cubicBezTo>
                  <a:cubicBezTo>
                    <a:pt x="46554" y="102480"/>
                    <a:pt x="49733" y="97839"/>
                    <a:pt x="52673" y="93047"/>
                  </a:cubicBezTo>
                  <a:cubicBezTo>
                    <a:pt x="53818" y="91345"/>
                    <a:pt x="56126" y="90892"/>
                    <a:pt x="57829" y="92037"/>
                  </a:cubicBezTo>
                  <a:cubicBezTo>
                    <a:pt x="57857" y="92056"/>
                    <a:pt x="57884" y="92075"/>
                    <a:pt x="57912" y="92095"/>
                  </a:cubicBezTo>
                  <a:cubicBezTo>
                    <a:pt x="58324" y="92336"/>
                    <a:pt x="58681" y="92660"/>
                    <a:pt x="58960" y="93047"/>
                  </a:cubicBezTo>
                  <a:cubicBezTo>
                    <a:pt x="59757" y="94040"/>
                    <a:pt x="59974" y="95378"/>
                    <a:pt x="59531" y="9657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19" name="Grafik 3">
            <a:extLst>
              <a:ext uri="{FF2B5EF4-FFF2-40B4-BE49-F238E27FC236}">
                <a16:creationId xmlns:a16="http://schemas.microsoft.com/office/drawing/2014/main" id="{9C9D20E5-2EED-4962-8744-A71DB8AD37C7}"/>
              </a:ext>
            </a:extLst>
          </p:cNvPr>
          <p:cNvGrpSpPr/>
          <p:nvPr/>
        </p:nvGrpSpPr>
        <p:grpSpPr>
          <a:xfrm>
            <a:off x="9933294" y="2264655"/>
            <a:ext cx="451451" cy="582711"/>
            <a:chOff x="907868" y="2202045"/>
            <a:chExt cx="384715" cy="496571"/>
          </a:xfrm>
          <a:solidFill>
            <a:srgbClr val="808080"/>
          </a:solidFill>
        </p:grpSpPr>
        <p:sp>
          <p:nvSpPr>
            <p:cNvPr id="220" name="Freihandform: Form 585">
              <a:extLst>
                <a:ext uri="{FF2B5EF4-FFF2-40B4-BE49-F238E27FC236}">
                  <a16:creationId xmlns:a16="http://schemas.microsoft.com/office/drawing/2014/main" id="{C03173A0-3D81-4A51-957A-32EDA4BEF79A}"/>
                </a:ext>
              </a:extLst>
            </p:cNvPr>
            <p:cNvSpPr/>
            <p:nvPr/>
          </p:nvSpPr>
          <p:spPr>
            <a:xfrm>
              <a:off x="953772" y="2215974"/>
              <a:ext cx="132050" cy="139742"/>
            </a:xfrm>
            <a:custGeom>
              <a:avLst/>
              <a:gdLst>
                <a:gd name="connsiteX0" fmla="*/ 17370 w 132050"/>
                <a:gd name="connsiteY0" fmla="*/ 105358 h 139742"/>
                <a:gd name="connsiteX1" fmla="*/ 23275 w 132050"/>
                <a:gd name="connsiteY1" fmla="*/ 104786 h 139742"/>
                <a:gd name="connsiteX2" fmla="*/ 25276 w 132050"/>
                <a:gd name="connsiteY2" fmla="*/ 104786 h 139742"/>
                <a:gd name="connsiteX3" fmla="*/ 36706 w 132050"/>
                <a:gd name="connsiteY3" fmla="*/ 106024 h 139742"/>
                <a:gd name="connsiteX4" fmla="*/ 37658 w 132050"/>
                <a:gd name="connsiteY4" fmla="*/ 106024 h 139742"/>
                <a:gd name="connsiteX5" fmla="*/ 70900 w 132050"/>
                <a:gd name="connsiteY5" fmla="*/ 138505 h 139742"/>
                <a:gd name="connsiteX6" fmla="*/ 78425 w 132050"/>
                <a:gd name="connsiteY6" fmla="*/ 139743 h 139742"/>
                <a:gd name="connsiteX7" fmla="*/ 109667 w 132050"/>
                <a:gd name="connsiteY7" fmla="*/ 106120 h 139742"/>
                <a:gd name="connsiteX8" fmla="*/ 109667 w 132050"/>
                <a:gd name="connsiteY8" fmla="*/ 103357 h 139742"/>
                <a:gd name="connsiteX9" fmla="*/ 117668 w 132050"/>
                <a:gd name="connsiteY9" fmla="*/ 104596 h 139742"/>
                <a:gd name="connsiteX10" fmla="*/ 119764 w 132050"/>
                <a:gd name="connsiteY10" fmla="*/ 104596 h 139742"/>
                <a:gd name="connsiteX11" fmla="*/ 122526 w 132050"/>
                <a:gd name="connsiteY11" fmla="*/ 101643 h 139742"/>
                <a:gd name="connsiteX12" fmla="*/ 132051 w 132050"/>
                <a:gd name="connsiteY12" fmla="*/ 94118 h 139742"/>
                <a:gd name="connsiteX13" fmla="*/ 125002 w 132050"/>
                <a:gd name="connsiteY13" fmla="*/ 78878 h 139742"/>
                <a:gd name="connsiteX14" fmla="*/ 126145 w 132050"/>
                <a:gd name="connsiteY14" fmla="*/ 45731 h 139742"/>
                <a:gd name="connsiteX15" fmla="*/ 129479 w 132050"/>
                <a:gd name="connsiteY15" fmla="*/ 39159 h 139742"/>
                <a:gd name="connsiteX16" fmla="*/ 106524 w 132050"/>
                <a:gd name="connsiteY16" fmla="*/ 36206 h 139742"/>
                <a:gd name="connsiteX17" fmla="*/ 106524 w 132050"/>
                <a:gd name="connsiteY17" fmla="*/ 29824 h 139742"/>
                <a:gd name="connsiteX18" fmla="*/ 69376 w 132050"/>
                <a:gd name="connsiteY18" fmla="*/ 202 h 139742"/>
                <a:gd name="connsiteX19" fmla="*/ 34705 w 132050"/>
                <a:gd name="connsiteY19" fmla="*/ 32491 h 139742"/>
                <a:gd name="connsiteX20" fmla="*/ 35944 w 132050"/>
                <a:gd name="connsiteY20" fmla="*/ 39540 h 139742"/>
                <a:gd name="connsiteX21" fmla="*/ 25847 w 132050"/>
                <a:gd name="connsiteY21" fmla="*/ 37444 h 139742"/>
                <a:gd name="connsiteX22" fmla="*/ 34 w 132050"/>
                <a:gd name="connsiteY22" fmla="*/ 73735 h 139742"/>
                <a:gd name="connsiteX23" fmla="*/ 17370 w 132050"/>
                <a:gd name="connsiteY23" fmla="*/ 105358 h 139742"/>
                <a:gd name="connsiteX24" fmla="*/ 90712 w 132050"/>
                <a:gd name="connsiteY24" fmla="*/ 70496 h 139742"/>
                <a:gd name="connsiteX25" fmla="*/ 86240 w 132050"/>
                <a:gd name="connsiteY25" fmla="*/ 74977 h 139742"/>
                <a:gd name="connsiteX26" fmla="*/ 86045 w 132050"/>
                <a:gd name="connsiteY26" fmla="*/ 74973 h 139742"/>
                <a:gd name="connsiteX27" fmla="*/ 80863 w 132050"/>
                <a:gd name="connsiteY27" fmla="*/ 71107 h 139742"/>
                <a:gd name="connsiteX28" fmla="*/ 84729 w 132050"/>
                <a:gd name="connsiteY28" fmla="*/ 65924 h 139742"/>
                <a:gd name="connsiteX29" fmla="*/ 86045 w 132050"/>
                <a:gd name="connsiteY29" fmla="*/ 65924 h 139742"/>
                <a:gd name="connsiteX30" fmla="*/ 90712 w 132050"/>
                <a:gd name="connsiteY30" fmla="*/ 70496 h 139742"/>
                <a:gd name="connsiteX31" fmla="*/ 79854 w 132050"/>
                <a:gd name="connsiteY31" fmla="*/ 54304 h 139742"/>
                <a:gd name="connsiteX32" fmla="*/ 84426 w 132050"/>
                <a:gd name="connsiteY32" fmla="*/ 58876 h 139742"/>
                <a:gd name="connsiteX33" fmla="*/ 79953 w 132050"/>
                <a:gd name="connsiteY33" fmla="*/ 63356 h 139742"/>
                <a:gd name="connsiteX34" fmla="*/ 79759 w 132050"/>
                <a:gd name="connsiteY34" fmla="*/ 63352 h 139742"/>
                <a:gd name="connsiteX35" fmla="*/ 75187 w 132050"/>
                <a:gd name="connsiteY35" fmla="*/ 58973 h 139742"/>
                <a:gd name="connsiteX36" fmla="*/ 75187 w 132050"/>
                <a:gd name="connsiteY36" fmla="*/ 58780 h 139742"/>
                <a:gd name="connsiteX37" fmla="*/ 79852 w 132050"/>
                <a:gd name="connsiteY37" fmla="*/ 54303 h 139742"/>
                <a:gd name="connsiteX38" fmla="*/ 79854 w 132050"/>
                <a:gd name="connsiteY38" fmla="*/ 54304 h 139742"/>
                <a:gd name="connsiteX39" fmla="*/ 78806 w 132050"/>
                <a:gd name="connsiteY39" fmla="*/ 77164 h 139742"/>
                <a:gd name="connsiteX40" fmla="*/ 83472 w 132050"/>
                <a:gd name="connsiteY40" fmla="*/ 81639 h 139742"/>
                <a:gd name="connsiteX41" fmla="*/ 83473 w 132050"/>
                <a:gd name="connsiteY41" fmla="*/ 81736 h 139742"/>
                <a:gd name="connsiteX42" fmla="*/ 78711 w 132050"/>
                <a:gd name="connsiteY42" fmla="*/ 86498 h 139742"/>
                <a:gd name="connsiteX43" fmla="*/ 73948 w 132050"/>
                <a:gd name="connsiteY43" fmla="*/ 81736 h 139742"/>
                <a:gd name="connsiteX44" fmla="*/ 78312 w 132050"/>
                <a:gd name="connsiteY44" fmla="*/ 77149 h 139742"/>
                <a:gd name="connsiteX45" fmla="*/ 78806 w 132050"/>
                <a:gd name="connsiteY45" fmla="*/ 77164 h 139742"/>
                <a:gd name="connsiteX46" fmla="*/ 65281 w 132050"/>
                <a:gd name="connsiteY46" fmla="*/ 86117 h 139742"/>
                <a:gd name="connsiteX47" fmla="*/ 60518 w 132050"/>
                <a:gd name="connsiteY47" fmla="*/ 81355 h 139742"/>
                <a:gd name="connsiteX48" fmla="*/ 65281 w 132050"/>
                <a:gd name="connsiteY48" fmla="*/ 76592 h 139742"/>
                <a:gd name="connsiteX49" fmla="*/ 70043 w 132050"/>
                <a:gd name="connsiteY49" fmla="*/ 81355 h 139742"/>
                <a:gd name="connsiteX50" fmla="*/ 65281 w 132050"/>
                <a:gd name="connsiteY50" fmla="*/ 86117 h 139742"/>
                <a:gd name="connsiteX51" fmla="*/ 65281 w 132050"/>
                <a:gd name="connsiteY51" fmla="*/ 54208 h 139742"/>
                <a:gd name="connsiteX52" fmla="*/ 69948 w 132050"/>
                <a:gd name="connsiteY52" fmla="*/ 58780 h 139742"/>
                <a:gd name="connsiteX53" fmla="*/ 65475 w 132050"/>
                <a:gd name="connsiteY53" fmla="*/ 63261 h 139742"/>
                <a:gd name="connsiteX54" fmla="*/ 65281 w 132050"/>
                <a:gd name="connsiteY54" fmla="*/ 63257 h 139742"/>
                <a:gd name="connsiteX55" fmla="*/ 60614 w 132050"/>
                <a:gd name="connsiteY55" fmla="*/ 58781 h 139742"/>
                <a:gd name="connsiteX56" fmla="*/ 60613 w 132050"/>
                <a:gd name="connsiteY56" fmla="*/ 58685 h 139742"/>
                <a:gd name="connsiteX57" fmla="*/ 65463 w 132050"/>
                <a:gd name="connsiteY57" fmla="*/ 54208 h 139742"/>
                <a:gd name="connsiteX58" fmla="*/ 65471 w 132050"/>
                <a:gd name="connsiteY58" fmla="*/ 54208 h 139742"/>
                <a:gd name="connsiteX59" fmla="*/ 58899 w 132050"/>
                <a:gd name="connsiteY59" fmla="*/ 65734 h 139742"/>
                <a:gd name="connsiteX60" fmla="*/ 63471 w 132050"/>
                <a:gd name="connsiteY60" fmla="*/ 70113 h 139742"/>
                <a:gd name="connsiteX61" fmla="*/ 63471 w 132050"/>
                <a:gd name="connsiteY61" fmla="*/ 70306 h 139742"/>
                <a:gd name="connsiteX62" fmla="*/ 58806 w 132050"/>
                <a:gd name="connsiteY62" fmla="*/ 74782 h 139742"/>
                <a:gd name="connsiteX63" fmla="*/ 58804 w 132050"/>
                <a:gd name="connsiteY63" fmla="*/ 74782 h 139742"/>
                <a:gd name="connsiteX64" fmla="*/ 54232 w 132050"/>
                <a:gd name="connsiteY64" fmla="*/ 70403 h 139742"/>
                <a:gd name="connsiteX65" fmla="*/ 54232 w 132050"/>
                <a:gd name="connsiteY65" fmla="*/ 70210 h 139742"/>
                <a:gd name="connsiteX66" fmla="*/ 58897 w 132050"/>
                <a:gd name="connsiteY66" fmla="*/ 65733 h 139742"/>
                <a:gd name="connsiteX67" fmla="*/ 58899 w 132050"/>
                <a:gd name="connsiteY67" fmla="*/ 65734 h 139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32050" h="139742">
                  <a:moveTo>
                    <a:pt x="17370" y="105358"/>
                  </a:moveTo>
                  <a:cubicBezTo>
                    <a:pt x="19328" y="105068"/>
                    <a:pt x="21299" y="104877"/>
                    <a:pt x="23275" y="104786"/>
                  </a:cubicBezTo>
                  <a:lnTo>
                    <a:pt x="25276" y="104786"/>
                  </a:lnTo>
                  <a:cubicBezTo>
                    <a:pt x="29118" y="104801"/>
                    <a:pt x="32949" y="105216"/>
                    <a:pt x="36706" y="106024"/>
                  </a:cubicBezTo>
                  <a:lnTo>
                    <a:pt x="37658" y="106024"/>
                  </a:lnTo>
                  <a:cubicBezTo>
                    <a:pt x="54110" y="109470"/>
                    <a:pt x="67074" y="122137"/>
                    <a:pt x="70900" y="138505"/>
                  </a:cubicBezTo>
                  <a:cubicBezTo>
                    <a:pt x="73448" y="138622"/>
                    <a:pt x="75974" y="139038"/>
                    <a:pt x="78425" y="139743"/>
                  </a:cubicBezTo>
                  <a:cubicBezTo>
                    <a:pt x="95973" y="138313"/>
                    <a:pt x="109528" y="123725"/>
                    <a:pt x="109667" y="106120"/>
                  </a:cubicBezTo>
                  <a:cubicBezTo>
                    <a:pt x="109766" y="105201"/>
                    <a:pt x="109766" y="104275"/>
                    <a:pt x="109667" y="103357"/>
                  </a:cubicBezTo>
                  <a:cubicBezTo>
                    <a:pt x="112238" y="104247"/>
                    <a:pt x="114948" y="104666"/>
                    <a:pt x="117668" y="104596"/>
                  </a:cubicBezTo>
                  <a:lnTo>
                    <a:pt x="119764" y="104596"/>
                  </a:lnTo>
                  <a:cubicBezTo>
                    <a:pt x="120716" y="103548"/>
                    <a:pt x="121573" y="102500"/>
                    <a:pt x="122526" y="101643"/>
                  </a:cubicBezTo>
                  <a:cubicBezTo>
                    <a:pt x="125234" y="98594"/>
                    <a:pt x="128458" y="96047"/>
                    <a:pt x="132051" y="94118"/>
                  </a:cubicBezTo>
                  <a:cubicBezTo>
                    <a:pt x="128910" y="89443"/>
                    <a:pt x="126531" y="84299"/>
                    <a:pt x="125002" y="78878"/>
                  </a:cubicBezTo>
                  <a:cubicBezTo>
                    <a:pt x="121734" y="68003"/>
                    <a:pt x="122136" y="56355"/>
                    <a:pt x="126145" y="45731"/>
                  </a:cubicBezTo>
                  <a:cubicBezTo>
                    <a:pt x="127045" y="43439"/>
                    <a:pt x="128161" y="41238"/>
                    <a:pt x="129479" y="39159"/>
                  </a:cubicBezTo>
                  <a:cubicBezTo>
                    <a:pt x="123062" y="33772"/>
                    <a:pt x="114095" y="32619"/>
                    <a:pt x="106524" y="36206"/>
                  </a:cubicBezTo>
                  <a:cubicBezTo>
                    <a:pt x="106762" y="34085"/>
                    <a:pt x="106762" y="31945"/>
                    <a:pt x="106524" y="29824"/>
                  </a:cubicBezTo>
                  <a:cubicBezTo>
                    <a:pt x="104383" y="11421"/>
                    <a:pt x="87794" y="-1807"/>
                    <a:pt x="69376" y="202"/>
                  </a:cubicBezTo>
                  <a:cubicBezTo>
                    <a:pt x="50950" y="-284"/>
                    <a:pt x="35530" y="14077"/>
                    <a:pt x="34705" y="32491"/>
                  </a:cubicBezTo>
                  <a:cubicBezTo>
                    <a:pt x="34776" y="34888"/>
                    <a:pt x="35193" y="37262"/>
                    <a:pt x="35944" y="39540"/>
                  </a:cubicBezTo>
                  <a:cubicBezTo>
                    <a:pt x="32812" y="37992"/>
                    <a:pt x="29336" y="37270"/>
                    <a:pt x="25847" y="37444"/>
                  </a:cubicBezTo>
                  <a:cubicBezTo>
                    <a:pt x="11274" y="38016"/>
                    <a:pt x="-728" y="54208"/>
                    <a:pt x="34" y="73735"/>
                  </a:cubicBezTo>
                  <a:cubicBezTo>
                    <a:pt x="-71" y="86571"/>
                    <a:pt x="6492" y="98543"/>
                    <a:pt x="17370" y="105358"/>
                  </a:cubicBezTo>
                  <a:close/>
                  <a:moveTo>
                    <a:pt x="90712" y="70496"/>
                  </a:moveTo>
                  <a:cubicBezTo>
                    <a:pt x="90715" y="72968"/>
                    <a:pt x="88712" y="74975"/>
                    <a:pt x="86240" y="74977"/>
                  </a:cubicBezTo>
                  <a:cubicBezTo>
                    <a:pt x="86175" y="74977"/>
                    <a:pt x="86110" y="74976"/>
                    <a:pt x="86045" y="74973"/>
                  </a:cubicBezTo>
                  <a:cubicBezTo>
                    <a:pt x="83546" y="75336"/>
                    <a:pt x="81226" y="73605"/>
                    <a:pt x="80863" y="71107"/>
                  </a:cubicBezTo>
                  <a:cubicBezTo>
                    <a:pt x="80499" y="68608"/>
                    <a:pt x="82230" y="66288"/>
                    <a:pt x="84729" y="65924"/>
                  </a:cubicBezTo>
                  <a:cubicBezTo>
                    <a:pt x="85165" y="65861"/>
                    <a:pt x="85609" y="65861"/>
                    <a:pt x="86045" y="65924"/>
                  </a:cubicBezTo>
                  <a:cubicBezTo>
                    <a:pt x="88586" y="65923"/>
                    <a:pt x="90661" y="67956"/>
                    <a:pt x="90712" y="70496"/>
                  </a:cubicBezTo>
                  <a:close/>
                  <a:moveTo>
                    <a:pt x="79854" y="54304"/>
                  </a:moveTo>
                  <a:cubicBezTo>
                    <a:pt x="82379" y="54304"/>
                    <a:pt x="84426" y="56350"/>
                    <a:pt x="84426" y="58876"/>
                  </a:cubicBezTo>
                  <a:cubicBezTo>
                    <a:pt x="84428" y="61348"/>
                    <a:pt x="82426" y="63354"/>
                    <a:pt x="79953" y="63356"/>
                  </a:cubicBezTo>
                  <a:cubicBezTo>
                    <a:pt x="79888" y="63356"/>
                    <a:pt x="79823" y="63355"/>
                    <a:pt x="79759" y="63352"/>
                  </a:cubicBezTo>
                  <a:cubicBezTo>
                    <a:pt x="77287" y="63405"/>
                    <a:pt x="75240" y="61445"/>
                    <a:pt x="75187" y="58973"/>
                  </a:cubicBezTo>
                  <a:cubicBezTo>
                    <a:pt x="75185" y="58909"/>
                    <a:pt x="75185" y="58844"/>
                    <a:pt x="75187" y="58780"/>
                  </a:cubicBezTo>
                  <a:cubicBezTo>
                    <a:pt x="75239" y="56256"/>
                    <a:pt x="77327" y="54251"/>
                    <a:pt x="79852" y="54303"/>
                  </a:cubicBezTo>
                  <a:cubicBezTo>
                    <a:pt x="79853" y="54303"/>
                    <a:pt x="79853" y="54303"/>
                    <a:pt x="79854" y="54304"/>
                  </a:cubicBezTo>
                  <a:close/>
                  <a:moveTo>
                    <a:pt x="78806" y="77164"/>
                  </a:moveTo>
                  <a:cubicBezTo>
                    <a:pt x="81331" y="77111"/>
                    <a:pt x="83420" y="79115"/>
                    <a:pt x="83472" y="81639"/>
                  </a:cubicBezTo>
                  <a:cubicBezTo>
                    <a:pt x="83473" y="81671"/>
                    <a:pt x="83473" y="81703"/>
                    <a:pt x="83473" y="81736"/>
                  </a:cubicBezTo>
                  <a:cubicBezTo>
                    <a:pt x="83473" y="84366"/>
                    <a:pt x="81341" y="86498"/>
                    <a:pt x="78711" y="86498"/>
                  </a:cubicBezTo>
                  <a:cubicBezTo>
                    <a:pt x="76081" y="86498"/>
                    <a:pt x="73948" y="84366"/>
                    <a:pt x="73948" y="81736"/>
                  </a:cubicBezTo>
                  <a:cubicBezTo>
                    <a:pt x="73887" y="79264"/>
                    <a:pt x="75840" y="77210"/>
                    <a:pt x="78312" y="77149"/>
                  </a:cubicBezTo>
                  <a:cubicBezTo>
                    <a:pt x="78477" y="77144"/>
                    <a:pt x="78642" y="77149"/>
                    <a:pt x="78806" y="77164"/>
                  </a:cubicBezTo>
                  <a:close/>
                  <a:moveTo>
                    <a:pt x="65281" y="86117"/>
                  </a:moveTo>
                  <a:cubicBezTo>
                    <a:pt x="62650" y="86117"/>
                    <a:pt x="60518" y="83985"/>
                    <a:pt x="60518" y="81355"/>
                  </a:cubicBezTo>
                  <a:cubicBezTo>
                    <a:pt x="60518" y="78724"/>
                    <a:pt x="62650" y="76592"/>
                    <a:pt x="65281" y="76592"/>
                  </a:cubicBezTo>
                  <a:cubicBezTo>
                    <a:pt x="67911" y="76592"/>
                    <a:pt x="70043" y="78724"/>
                    <a:pt x="70043" y="81355"/>
                  </a:cubicBezTo>
                  <a:cubicBezTo>
                    <a:pt x="70043" y="83985"/>
                    <a:pt x="67911" y="86117"/>
                    <a:pt x="65281" y="86117"/>
                  </a:cubicBezTo>
                  <a:close/>
                  <a:moveTo>
                    <a:pt x="65281" y="54208"/>
                  </a:moveTo>
                  <a:cubicBezTo>
                    <a:pt x="67822" y="54208"/>
                    <a:pt x="69896" y="56240"/>
                    <a:pt x="69948" y="58780"/>
                  </a:cubicBezTo>
                  <a:cubicBezTo>
                    <a:pt x="69950" y="61253"/>
                    <a:pt x="67948" y="63259"/>
                    <a:pt x="65475" y="63261"/>
                  </a:cubicBezTo>
                  <a:cubicBezTo>
                    <a:pt x="65410" y="63261"/>
                    <a:pt x="65345" y="63260"/>
                    <a:pt x="65281" y="63257"/>
                  </a:cubicBezTo>
                  <a:cubicBezTo>
                    <a:pt x="62756" y="63310"/>
                    <a:pt x="60667" y="61306"/>
                    <a:pt x="60614" y="58781"/>
                  </a:cubicBezTo>
                  <a:cubicBezTo>
                    <a:pt x="60614" y="58749"/>
                    <a:pt x="60613" y="58717"/>
                    <a:pt x="60613" y="58685"/>
                  </a:cubicBezTo>
                  <a:cubicBezTo>
                    <a:pt x="60716" y="56109"/>
                    <a:pt x="62888" y="54105"/>
                    <a:pt x="65463" y="54208"/>
                  </a:cubicBezTo>
                  <a:cubicBezTo>
                    <a:pt x="65466" y="54208"/>
                    <a:pt x="65469" y="54208"/>
                    <a:pt x="65471" y="54208"/>
                  </a:cubicBezTo>
                  <a:close/>
                  <a:moveTo>
                    <a:pt x="58899" y="65734"/>
                  </a:moveTo>
                  <a:cubicBezTo>
                    <a:pt x="61371" y="65680"/>
                    <a:pt x="63418" y="67641"/>
                    <a:pt x="63471" y="70113"/>
                  </a:cubicBezTo>
                  <a:cubicBezTo>
                    <a:pt x="63472" y="70177"/>
                    <a:pt x="63472" y="70241"/>
                    <a:pt x="63471" y="70306"/>
                  </a:cubicBezTo>
                  <a:cubicBezTo>
                    <a:pt x="63419" y="72830"/>
                    <a:pt x="61330" y="74834"/>
                    <a:pt x="58806" y="74782"/>
                  </a:cubicBezTo>
                  <a:cubicBezTo>
                    <a:pt x="58805" y="74782"/>
                    <a:pt x="58804" y="74782"/>
                    <a:pt x="58804" y="74782"/>
                  </a:cubicBezTo>
                  <a:cubicBezTo>
                    <a:pt x="56332" y="74835"/>
                    <a:pt x="54285" y="72875"/>
                    <a:pt x="54232" y="70403"/>
                  </a:cubicBezTo>
                  <a:cubicBezTo>
                    <a:pt x="54230" y="70339"/>
                    <a:pt x="54230" y="70274"/>
                    <a:pt x="54232" y="70210"/>
                  </a:cubicBezTo>
                  <a:cubicBezTo>
                    <a:pt x="54284" y="67686"/>
                    <a:pt x="56372" y="65681"/>
                    <a:pt x="58897" y="65733"/>
                  </a:cubicBezTo>
                  <a:cubicBezTo>
                    <a:pt x="58898" y="65733"/>
                    <a:pt x="58898" y="65733"/>
                    <a:pt x="58899" y="657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1" name="Freihandform: Form 586">
              <a:extLst>
                <a:ext uri="{FF2B5EF4-FFF2-40B4-BE49-F238E27FC236}">
                  <a16:creationId xmlns:a16="http://schemas.microsoft.com/office/drawing/2014/main" id="{7A88E82B-C304-4E31-A61D-79CDC3C20657}"/>
                </a:ext>
              </a:extLst>
            </p:cNvPr>
            <p:cNvSpPr/>
            <p:nvPr/>
          </p:nvSpPr>
          <p:spPr>
            <a:xfrm>
              <a:off x="965236" y="2327999"/>
              <a:ext cx="165428" cy="370617"/>
            </a:xfrm>
            <a:custGeom>
              <a:avLst/>
              <a:gdLst>
                <a:gd name="connsiteX0" fmla="*/ 88868 w 165428"/>
                <a:gd name="connsiteY0" fmla="*/ 310229 h 370617"/>
                <a:gd name="connsiteX1" fmla="*/ 86582 w 165428"/>
                <a:gd name="connsiteY1" fmla="*/ 304610 h 370617"/>
                <a:gd name="connsiteX2" fmla="*/ 43815 w 165428"/>
                <a:gd name="connsiteY2" fmla="*/ 335471 h 370617"/>
                <a:gd name="connsiteX3" fmla="*/ 89630 w 165428"/>
                <a:gd name="connsiteY3" fmla="*/ 211645 h 370617"/>
                <a:gd name="connsiteX4" fmla="*/ 115538 w 165428"/>
                <a:gd name="connsiteY4" fmla="*/ 197930 h 370617"/>
                <a:gd name="connsiteX5" fmla="*/ 113538 w 165428"/>
                <a:gd name="connsiteY5" fmla="*/ 195072 h 370617"/>
                <a:gd name="connsiteX6" fmla="*/ 110014 w 165428"/>
                <a:gd name="connsiteY6" fmla="*/ 188595 h 370617"/>
                <a:gd name="connsiteX7" fmla="*/ 95155 w 165428"/>
                <a:gd name="connsiteY7" fmla="*/ 196215 h 370617"/>
                <a:gd name="connsiteX8" fmla="*/ 105537 w 165428"/>
                <a:gd name="connsiteY8" fmla="*/ 167640 h 370617"/>
                <a:gd name="connsiteX9" fmla="*/ 105537 w 165428"/>
                <a:gd name="connsiteY9" fmla="*/ 162497 h 370617"/>
                <a:gd name="connsiteX10" fmla="*/ 117253 w 165428"/>
                <a:gd name="connsiteY10" fmla="*/ 132588 h 370617"/>
                <a:gd name="connsiteX11" fmla="*/ 119348 w 165428"/>
                <a:gd name="connsiteY11" fmla="*/ 130302 h 370617"/>
                <a:gd name="connsiteX12" fmla="*/ 125063 w 165428"/>
                <a:gd name="connsiteY12" fmla="*/ 114776 h 370617"/>
                <a:gd name="connsiteX13" fmla="*/ 126492 w 165428"/>
                <a:gd name="connsiteY13" fmla="*/ 111062 h 370617"/>
                <a:gd name="connsiteX14" fmla="*/ 165354 w 165428"/>
                <a:gd name="connsiteY14" fmla="*/ 6858 h 370617"/>
                <a:gd name="connsiteX15" fmla="*/ 165354 w 165428"/>
                <a:gd name="connsiteY15" fmla="*/ 5048 h 370617"/>
                <a:gd name="connsiteX16" fmla="*/ 161925 w 165428"/>
                <a:gd name="connsiteY16" fmla="*/ 0 h 370617"/>
                <a:gd name="connsiteX17" fmla="*/ 161925 w 165428"/>
                <a:gd name="connsiteY17" fmla="*/ 0 h 370617"/>
                <a:gd name="connsiteX18" fmla="*/ 156972 w 165428"/>
                <a:gd name="connsiteY18" fmla="*/ 857 h 370617"/>
                <a:gd name="connsiteX19" fmla="*/ 155258 w 165428"/>
                <a:gd name="connsiteY19" fmla="*/ 3239 h 370617"/>
                <a:gd name="connsiteX20" fmla="*/ 121920 w 165428"/>
                <a:gd name="connsiteY20" fmla="*/ 92488 h 370617"/>
                <a:gd name="connsiteX21" fmla="*/ 110871 w 165428"/>
                <a:gd name="connsiteY21" fmla="*/ 49339 h 370617"/>
                <a:gd name="connsiteX22" fmla="*/ 101346 w 165428"/>
                <a:gd name="connsiteY22" fmla="*/ 52673 h 370617"/>
                <a:gd name="connsiteX23" fmla="*/ 101346 w 165428"/>
                <a:gd name="connsiteY23" fmla="*/ 52673 h 370617"/>
                <a:gd name="connsiteX24" fmla="*/ 116205 w 165428"/>
                <a:gd name="connsiteY24" fmla="*/ 110966 h 370617"/>
                <a:gd name="connsiteX25" fmla="*/ 70961 w 165428"/>
                <a:gd name="connsiteY25" fmla="*/ 232696 h 370617"/>
                <a:gd name="connsiteX26" fmla="*/ 58198 w 165428"/>
                <a:gd name="connsiteY26" fmla="*/ 191262 h 370617"/>
                <a:gd name="connsiteX27" fmla="*/ 43815 w 165428"/>
                <a:gd name="connsiteY27" fmla="*/ 146209 h 370617"/>
                <a:gd name="connsiteX28" fmla="*/ 34290 w 165428"/>
                <a:gd name="connsiteY28" fmla="*/ 151067 h 370617"/>
                <a:gd name="connsiteX29" fmla="*/ 64484 w 165428"/>
                <a:gd name="connsiteY29" fmla="*/ 247841 h 370617"/>
                <a:gd name="connsiteX30" fmla="*/ 65151 w 165428"/>
                <a:gd name="connsiteY30" fmla="*/ 249079 h 370617"/>
                <a:gd name="connsiteX31" fmla="*/ 44482 w 165428"/>
                <a:gd name="connsiteY31" fmla="*/ 302705 h 370617"/>
                <a:gd name="connsiteX32" fmla="*/ 9906 w 165428"/>
                <a:gd name="connsiteY32" fmla="*/ 240602 h 370617"/>
                <a:gd name="connsiteX33" fmla="*/ 2000 w 165428"/>
                <a:gd name="connsiteY33" fmla="*/ 244792 h 370617"/>
                <a:gd name="connsiteX34" fmla="*/ 0 w 165428"/>
                <a:gd name="connsiteY34" fmla="*/ 244792 h 370617"/>
                <a:gd name="connsiteX35" fmla="*/ 39529 w 165428"/>
                <a:gd name="connsiteY35" fmla="*/ 315563 h 370617"/>
                <a:gd name="connsiteX36" fmla="*/ 22288 w 165428"/>
                <a:gd name="connsiteY36" fmla="*/ 363950 h 370617"/>
                <a:gd name="connsiteX37" fmla="*/ 26003 w 165428"/>
                <a:gd name="connsiteY37" fmla="*/ 370618 h 370617"/>
                <a:gd name="connsiteX38" fmla="*/ 27432 w 165428"/>
                <a:gd name="connsiteY38" fmla="*/ 370618 h 370617"/>
                <a:gd name="connsiteX39" fmla="*/ 32671 w 165428"/>
                <a:gd name="connsiteY39" fmla="*/ 366713 h 370617"/>
                <a:gd name="connsiteX40" fmla="*/ 37529 w 165428"/>
                <a:gd name="connsiteY40" fmla="*/ 352520 h 370617"/>
                <a:gd name="connsiteX41" fmla="*/ 39053 w 165428"/>
                <a:gd name="connsiteY41" fmla="*/ 351758 h 370617"/>
                <a:gd name="connsiteX42" fmla="*/ 92869 w 165428"/>
                <a:gd name="connsiteY42" fmla="*/ 313087 h 370617"/>
                <a:gd name="connsiteX43" fmla="*/ 88868 w 165428"/>
                <a:gd name="connsiteY43" fmla="*/ 310229 h 370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65428" h="370617">
                  <a:moveTo>
                    <a:pt x="88868" y="310229"/>
                  </a:moveTo>
                  <a:cubicBezTo>
                    <a:pt x="87645" y="308579"/>
                    <a:pt x="86859" y="306645"/>
                    <a:pt x="86582" y="304610"/>
                  </a:cubicBezTo>
                  <a:lnTo>
                    <a:pt x="43815" y="335471"/>
                  </a:lnTo>
                  <a:cubicBezTo>
                    <a:pt x="54483" y="306038"/>
                    <a:pt x="71628" y="259842"/>
                    <a:pt x="89630" y="211645"/>
                  </a:cubicBezTo>
                  <a:lnTo>
                    <a:pt x="115538" y="197930"/>
                  </a:lnTo>
                  <a:lnTo>
                    <a:pt x="113538" y="195072"/>
                  </a:lnTo>
                  <a:cubicBezTo>
                    <a:pt x="112195" y="193009"/>
                    <a:pt x="111017" y="190843"/>
                    <a:pt x="110014" y="188595"/>
                  </a:cubicBezTo>
                  <a:lnTo>
                    <a:pt x="95155" y="196215"/>
                  </a:lnTo>
                  <a:lnTo>
                    <a:pt x="105537" y="167640"/>
                  </a:lnTo>
                  <a:cubicBezTo>
                    <a:pt x="105537" y="165925"/>
                    <a:pt x="105537" y="164211"/>
                    <a:pt x="105537" y="162497"/>
                  </a:cubicBezTo>
                  <a:cubicBezTo>
                    <a:pt x="106201" y="151543"/>
                    <a:pt x="110301" y="141078"/>
                    <a:pt x="117253" y="132588"/>
                  </a:cubicBezTo>
                  <a:lnTo>
                    <a:pt x="119348" y="130302"/>
                  </a:lnTo>
                  <a:cubicBezTo>
                    <a:pt x="121253" y="125063"/>
                    <a:pt x="123253" y="119824"/>
                    <a:pt x="125063" y="114776"/>
                  </a:cubicBezTo>
                  <a:cubicBezTo>
                    <a:pt x="126028" y="113786"/>
                    <a:pt x="126545" y="112443"/>
                    <a:pt x="126492" y="111062"/>
                  </a:cubicBezTo>
                  <a:cubicBezTo>
                    <a:pt x="148019" y="53149"/>
                    <a:pt x="164592" y="8096"/>
                    <a:pt x="165354" y="6858"/>
                  </a:cubicBezTo>
                  <a:cubicBezTo>
                    <a:pt x="165453" y="6259"/>
                    <a:pt x="165453" y="5647"/>
                    <a:pt x="165354" y="5048"/>
                  </a:cubicBezTo>
                  <a:cubicBezTo>
                    <a:pt x="164103" y="3442"/>
                    <a:pt x="162957" y="1755"/>
                    <a:pt x="161925" y="0"/>
                  </a:cubicBezTo>
                  <a:lnTo>
                    <a:pt x="161925" y="0"/>
                  </a:lnTo>
                  <a:cubicBezTo>
                    <a:pt x="160313" y="477"/>
                    <a:pt x="158651" y="765"/>
                    <a:pt x="156972" y="857"/>
                  </a:cubicBezTo>
                  <a:cubicBezTo>
                    <a:pt x="156196" y="1482"/>
                    <a:pt x="155604" y="2305"/>
                    <a:pt x="155258" y="3239"/>
                  </a:cubicBezTo>
                  <a:cubicBezTo>
                    <a:pt x="153543" y="7715"/>
                    <a:pt x="139922" y="44291"/>
                    <a:pt x="121920" y="92488"/>
                  </a:cubicBezTo>
                  <a:lnTo>
                    <a:pt x="110871" y="49339"/>
                  </a:lnTo>
                  <a:cubicBezTo>
                    <a:pt x="108076" y="51331"/>
                    <a:pt x="104773" y="52488"/>
                    <a:pt x="101346" y="52673"/>
                  </a:cubicBezTo>
                  <a:lnTo>
                    <a:pt x="101346" y="52673"/>
                  </a:lnTo>
                  <a:lnTo>
                    <a:pt x="116205" y="110966"/>
                  </a:lnTo>
                  <a:cubicBezTo>
                    <a:pt x="101917" y="149066"/>
                    <a:pt x="85820" y="192691"/>
                    <a:pt x="70961" y="232696"/>
                  </a:cubicBezTo>
                  <a:cubicBezTo>
                    <a:pt x="67818" y="222409"/>
                    <a:pt x="63056" y="206883"/>
                    <a:pt x="58198" y="191262"/>
                  </a:cubicBezTo>
                  <a:cubicBezTo>
                    <a:pt x="50959" y="167926"/>
                    <a:pt x="46577" y="154305"/>
                    <a:pt x="43815" y="146209"/>
                  </a:cubicBezTo>
                  <a:cubicBezTo>
                    <a:pt x="40838" y="148190"/>
                    <a:pt x="37642" y="149821"/>
                    <a:pt x="34290" y="151067"/>
                  </a:cubicBezTo>
                  <a:cubicBezTo>
                    <a:pt x="41148" y="171641"/>
                    <a:pt x="55245" y="217742"/>
                    <a:pt x="64484" y="247841"/>
                  </a:cubicBezTo>
                  <a:cubicBezTo>
                    <a:pt x="64649" y="248282"/>
                    <a:pt x="64873" y="248698"/>
                    <a:pt x="65151" y="249079"/>
                  </a:cubicBezTo>
                  <a:lnTo>
                    <a:pt x="44482" y="302705"/>
                  </a:lnTo>
                  <a:lnTo>
                    <a:pt x="9906" y="240602"/>
                  </a:lnTo>
                  <a:cubicBezTo>
                    <a:pt x="7736" y="242740"/>
                    <a:pt x="4988" y="244196"/>
                    <a:pt x="2000" y="244792"/>
                  </a:cubicBezTo>
                  <a:lnTo>
                    <a:pt x="0" y="244792"/>
                  </a:lnTo>
                  <a:lnTo>
                    <a:pt x="39529" y="315563"/>
                  </a:lnTo>
                  <a:cubicBezTo>
                    <a:pt x="30004" y="342043"/>
                    <a:pt x="23336" y="360236"/>
                    <a:pt x="22288" y="363950"/>
                  </a:cubicBezTo>
                  <a:cubicBezTo>
                    <a:pt x="21492" y="366815"/>
                    <a:pt x="23148" y="369787"/>
                    <a:pt x="26003" y="370618"/>
                  </a:cubicBezTo>
                  <a:lnTo>
                    <a:pt x="27432" y="370618"/>
                  </a:lnTo>
                  <a:cubicBezTo>
                    <a:pt x="29854" y="370630"/>
                    <a:pt x="31991" y="369037"/>
                    <a:pt x="32671" y="366713"/>
                  </a:cubicBezTo>
                  <a:cubicBezTo>
                    <a:pt x="33147" y="364998"/>
                    <a:pt x="34862" y="360045"/>
                    <a:pt x="37529" y="352520"/>
                  </a:cubicBezTo>
                  <a:cubicBezTo>
                    <a:pt x="38080" y="352364"/>
                    <a:pt x="38597" y="352105"/>
                    <a:pt x="39053" y="351758"/>
                  </a:cubicBezTo>
                  <a:lnTo>
                    <a:pt x="92869" y="313087"/>
                  </a:lnTo>
                  <a:cubicBezTo>
                    <a:pt x="91336" y="312450"/>
                    <a:pt x="89968" y="311473"/>
                    <a:pt x="88868" y="31022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2" name="Freihandform: Form 587">
              <a:extLst>
                <a:ext uri="{FF2B5EF4-FFF2-40B4-BE49-F238E27FC236}">
                  <a16:creationId xmlns:a16="http://schemas.microsoft.com/office/drawing/2014/main" id="{F205E86A-3301-4E6A-B7A8-731FB6CD189C}"/>
                </a:ext>
              </a:extLst>
            </p:cNvPr>
            <p:cNvSpPr/>
            <p:nvPr/>
          </p:nvSpPr>
          <p:spPr>
            <a:xfrm>
              <a:off x="941993" y="2473827"/>
              <a:ext cx="30198" cy="88392"/>
            </a:xfrm>
            <a:custGeom>
              <a:avLst/>
              <a:gdLst>
                <a:gd name="connsiteX0" fmla="*/ 27434 w 30198"/>
                <a:gd name="connsiteY0" fmla="*/ 84487 h 88392"/>
                <a:gd name="connsiteX1" fmla="*/ 27434 w 30198"/>
                <a:gd name="connsiteY1" fmla="*/ 41815 h 88392"/>
                <a:gd name="connsiteX2" fmla="*/ 7241 w 30198"/>
                <a:gd name="connsiteY2" fmla="*/ 0 h 88392"/>
                <a:gd name="connsiteX3" fmla="*/ 6955 w 30198"/>
                <a:gd name="connsiteY3" fmla="*/ 0 h 88392"/>
                <a:gd name="connsiteX4" fmla="*/ 2383 w 30198"/>
                <a:gd name="connsiteY4" fmla="*/ 46577 h 88392"/>
                <a:gd name="connsiteX5" fmla="*/ 11051 w 30198"/>
                <a:gd name="connsiteY5" fmla="*/ 75152 h 88392"/>
                <a:gd name="connsiteX6" fmla="*/ 22672 w 30198"/>
                <a:gd name="connsiteY6" fmla="*/ 88392 h 88392"/>
                <a:gd name="connsiteX7" fmla="*/ 23053 w 30198"/>
                <a:gd name="connsiteY7" fmla="*/ 88392 h 88392"/>
                <a:gd name="connsiteX8" fmla="*/ 27434 w 30198"/>
                <a:gd name="connsiteY8" fmla="*/ 84487 h 88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198" h="88392">
                  <a:moveTo>
                    <a:pt x="27434" y="84487"/>
                  </a:moveTo>
                  <a:cubicBezTo>
                    <a:pt x="31120" y="70501"/>
                    <a:pt x="31120" y="55800"/>
                    <a:pt x="27434" y="41815"/>
                  </a:cubicBezTo>
                  <a:cubicBezTo>
                    <a:pt x="23053" y="18288"/>
                    <a:pt x="14194" y="0"/>
                    <a:pt x="7241" y="0"/>
                  </a:cubicBezTo>
                  <a:lnTo>
                    <a:pt x="6955" y="0"/>
                  </a:lnTo>
                  <a:cubicBezTo>
                    <a:pt x="-93" y="1333"/>
                    <a:pt x="-2093" y="22193"/>
                    <a:pt x="2383" y="46577"/>
                  </a:cubicBezTo>
                  <a:cubicBezTo>
                    <a:pt x="4129" y="56412"/>
                    <a:pt x="7039" y="66005"/>
                    <a:pt x="11051" y="75152"/>
                  </a:cubicBezTo>
                  <a:cubicBezTo>
                    <a:pt x="14766" y="83344"/>
                    <a:pt x="18957" y="88392"/>
                    <a:pt x="22672" y="88392"/>
                  </a:cubicBezTo>
                  <a:lnTo>
                    <a:pt x="23053" y="88392"/>
                  </a:lnTo>
                  <a:cubicBezTo>
                    <a:pt x="25068" y="87894"/>
                    <a:pt x="26708" y="86432"/>
                    <a:pt x="27434" y="8448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3" name="Freihandform: Form 588">
              <a:extLst>
                <a:ext uri="{FF2B5EF4-FFF2-40B4-BE49-F238E27FC236}">
                  <a16:creationId xmlns:a16="http://schemas.microsoft.com/office/drawing/2014/main" id="{F42078D5-E433-4F61-B28D-2DFEEAE8061D}"/>
                </a:ext>
              </a:extLst>
            </p:cNvPr>
            <p:cNvSpPr/>
            <p:nvPr/>
          </p:nvSpPr>
          <p:spPr>
            <a:xfrm>
              <a:off x="907868" y="2331411"/>
              <a:ext cx="143596" cy="139957"/>
            </a:xfrm>
            <a:custGeom>
              <a:avLst/>
              <a:gdLst>
                <a:gd name="connsiteX0" fmla="*/ 38128 w 143596"/>
                <a:gd name="connsiteY0" fmla="*/ 108793 h 139957"/>
                <a:gd name="connsiteX1" fmla="*/ 73370 w 143596"/>
                <a:gd name="connsiteY1" fmla="*/ 139940 h 139957"/>
                <a:gd name="connsiteX2" fmla="*/ 74894 w 143596"/>
                <a:gd name="connsiteY2" fmla="*/ 139940 h 139957"/>
                <a:gd name="connsiteX3" fmla="*/ 86991 w 143596"/>
                <a:gd name="connsiteY3" fmla="*/ 137368 h 139957"/>
                <a:gd name="connsiteX4" fmla="*/ 96516 w 143596"/>
                <a:gd name="connsiteY4" fmla="*/ 132224 h 139957"/>
                <a:gd name="connsiteX5" fmla="*/ 98802 w 143596"/>
                <a:gd name="connsiteY5" fmla="*/ 130415 h 139957"/>
                <a:gd name="connsiteX6" fmla="*/ 103279 w 143596"/>
                <a:gd name="connsiteY6" fmla="*/ 125652 h 139957"/>
                <a:gd name="connsiteX7" fmla="*/ 109756 w 143596"/>
                <a:gd name="connsiteY7" fmla="*/ 105745 h 139957"/>
                <a:gd name="connsiteX8" fmla="*/ 109756 w 143596"/>
                <a:gd name="connsiteY8" fmla="*/ 102983 h 139957"/>
                <a:gd name="connsiteX9" fmla="*/ 116899 w 143596"/>
                <a:gd name="connsiteY9" fmla="*/ 104221 h 139957"/>
                <a:gd name="connsiteX10" fmla="*/ 117661 w 143596"/>
                <a:gd name="connsiteY10" fmla="*/ 104221 h 139957"/>
                <a:gd name="connsiteX11" fmla="*/ 143569 w 143596"/>
                <a:gd name="connsiteY11" fmla="*/ 67931 h 139957"/>
                <a:gd name="connsiteX12" fmla="*/ 115852 w 143596"/>
                <a:gd name="connsiteY12" fmla="*/ 33641 h 139957"/>
                <a:gd name="connsiteX13" fmla="*/ 114328 w 143596"/>
                <a:gd name="connsiteY13" fmla="*/ 33641 h 139957"/>
                <a:gd name="connsiteX14" fmla="*/ 105850 w 143596"/>
                <a:gd name="connsiteY14" fmla="*/ 35736 h 139957"/>
                <a:gd name="connsiteX15" fmla="*/ 106422 w 143596"/>
                <a:gd name="connsiteY15" fmla="*/ 29354 h 139957"/>
                <a:gd name="connsiteX16" fmla="*/ 104993 w 143596"/>
                <a:gd name="connsiteY16" fmla="*/ 21830 h 139957"/>
                <a:gd name="connsiteX17" fmla="*/ 85753 w 143596"/>
                <a:gd name="connsiteY17" fmla="*/ 2494 h 139957"/>
                <a:gd name="connsiteX18" fmla="*/ 71560 w 143596"/>
                <a:gd name="connsiteY18" fmla="*/ 17 h 139957"/>
                <a:gd name="connsiteX19" fmla="*/ 69655 w 143596"/>
                <a:gd name="connsiteY19" fmla="*/ 17 h 139957"/>
                <a:gd name="connsiteX20" fmla="*/ 34794 w 143596"/>
                <a:gd name="connsiteY20" fmla="*/ 32593 h 139957"/>
                <a:gd name="connsiteX21" fmla="*/ 35937 w 143596"/>
                <a:gd name="connsiteY21" fmla="*/ 39641 h 139957"/>
                <a:gd name="connsiteX22" fmla="*/ 26412 w 143596"/>
                <a:gd name="connsiteY22" fmla="*/ 37451 h 139957"/>
                <a:gd name="connsiteX23" fmla="*/ 25936 w 143596"/>
                <a:gd name="connsiteY23" fmla="*/ 37451 h 139957"/>
                <a:gd name="connsiteX24" fmla="*/ 28 w 143596"/>
                <a:gd name="connsiteY24" fmla="*/ 73550 h 139957"/>
                <a:gd name="connsiteX25" fmla="*/ 27745 w 143596"/>
                <a:gd name="connsiteY25" fmla="*/ 107745 h 139957"/>
                <a:gd name="connsiteX26" fmla="*/ 28603 w 143596"/>
                <a:gd name="connsiteY26" fmla="*/ 107745 h 139957"/>
                <a:gd name="connsiteX27" fmla="*/ 38128 w 143596"/>
                <a:gd name="connsiteY27" fmla="*/ 105269 h 139957"/>
                <a:gd name="connsiteX28" fmla="*/ 91182 w 143596"/>
                <a:gd name="connsiteY28" fmla="*/ 70693 h 139957"/>
                <a:gd name="connsiteX29" fmla="*/ 86419 w 143596"/>
                <a:gd name="connsiteY29" fmla="*/ 75455 h 139957"/>
                <a:gd name="connsiteX30" fmla="*/ 81657 w 143596"/>
                <a:gd name="connsiteY30" fmla="*/ 70693 h 139957"/>
                <a:gd name="connsiteX31" fmla="*/ 86419 w 143596"/>
                <a:gd name="connsiteY31" fmla="*/ 65930 h 139957"/>
                <a:gd name="connsiteX32" fmla="*/ 91182 w 143596"/>
                <a:gd name="connsiteY32" fmla="*/ 70693 h 139957"/>
                <a:gd name="connsiteX33" fmla="*/ 78514 w 143596"/>
                <a:gd name="connsiteY33" fmla="*/ 54310 h 139957"/>
                <a:gd name="connsiteX34" fmla="*/ 79847 w 143596"/>
                <a:gd name="connsiteY34" fmla="*/ 54310 h 139957"/>
                <a:gd name="connsiteX35" fmla="*/ 84514 w 143596"/>
                <a:gd name="connsiteY35" fmla="*/ 58882 h 139957"/>
                <a:gd name="connsiteX36" fmla="*/ 79849 w 143596"/>
                <a:gd name="connsiteY36" fmla="*/ 63359 h 139957"/>
                <a:gd name="connsiteX37" fmla="*/ 79847 w 143596"/>
                <a:gd name="connsiteY37" fmla="*/ 63359 h 139957"/>
                <a:gd name="connsiteX38" fmla="*/ 79847 w 143596"/>
                <a:gd name="connsiteY38" fmla="*/ 63359 h 139957"/>
                <a:gd name="connsiteX39" fmla="*/ 75561 w 143596"/>
                <a:gd name="connsiteY39" fmla="*/ 58787 h 139957"/>
                <a:gd name="connsiteX40" fmla="*/ 78514 w 143596"/>
                <a:gd name="connsiteY40" fmla="*/ 54310 h 139957"/>
                <a:gd name="connsiteX41" fmla="*/ 78514 w 143596"/>
                <a:gd name="connsiteY41" fmla="*/ 76884 h 139957"/>
                <a:gd name="connsiteX42" fmla="*/ 81562 w 143596"/>
                <a:gd name="connsiteY42" fmla="*/ 78122 h 139957"/>
                <a:gd name="connsiteX43" fmla="*/ 83086 w 143596"/>
                <a:gd name="connsiteY43" fmla="*/ 81456 h 139957"/>
                <a:gd name="connsiteX44" fmla="*/ 83086 w 143596"/>
                <a:gd name="connsiteY44" fmla="*/ 83361 h 139957"/>
                <a:gd name="connsiteX45" fmla="*/ 78799 w 143596"/>
                <a:gd name="connsiteY45" fmla="*/ 86028 h 139957"/>
                <a:gd name="connsiteX46" fmla="*/ 74037 w 143596"/>
                <a:gd name="connsiteY46" fmla="*/ 81266 h 139957"/>
                <a:gd name="connsiteX47" fmla="*/ 78799 w 143596"/>
                <a:gd name="connsiteY47" fmla="*/ 76503 h 139957"/>
                <a:gd name="connsiteX48" fmla="*/ 64893 w 143596"/>
                <a:gd name="connsiteY48" fmla="*/ 86409 h 139957"/>
                <a:gd name="connsiteX49" fmla="*/ 60418 w 143596"/>
                <a:gd name="connsiteY49" fmla="*/ 81742 h 139957"/>
                <a:gd name="connsiteX50" fmla="*/ 65085 w 143596"/>
                <a:gd name="connsiteY50" fmla="*/ 77267 h 139957"/>
                <a:gd name="connsiteX51" fmla="*/ 69560 w 143596"/>
                <a:gd name="connsiteY51" fmla="*/ 81932 h 139957"/>
                <a:gd name="connsiteX52" fmla="*/ 65274 w 143596"/>
                <a:gd name="connsiteY52" fmla="*/ 85933 h 139957"/>
                <a:gd name="connsiteX53" fmla="*/ 64893 w 143596"/>
                <a:gd name="connsiteY53" fmla="*/ 54500 h 139957"/>
                <a:gd name="connsiteX54" fmla="*/ 69465 w 143596"/>
                <a:gd name="connsiteY54" fmla="*/ 59072 h 139957"/>
                <a:gd name="connsiteX55" fmla="*/ 64702 w 143596"/>
                <a:gd name="connsiteY55" fmla="*/ 63835 h 139957"/>
                <a:gd name="connsiteX56" fmla="*/ 59940 w 143596"/>
                <a:gd name="connsiteY56" fmla="*/ 59072 h 139957"/>
                <a:gd name="connsiteX57" fmla="*/ 63864 w 143596"/>
                <a:gd name="connsiteY57" fmla="*/ 53933 h 139957"/>
                <a:gd name="connsiteX58" fmla="*/ 65560 w 143596"/>
                <a:gd name="connsiteY58" fmla="*/ 54024 h 139957"/>
                <a:gd name="connsiteX59" fmla="*/ 58035 w 143596"/>
                <a:gd name="connsiteY59" fmla="*/ 66026 h 139957"/>
                <a:gd name="connsiteX60" fmla="*/ 62701 w 143596"/>
                <a:gd name="connsiteY60" fmla="*/ 70501 h 139957"/>
                <a:gd name="connsiteX61" fmla="*/ 62702 w 143596"/>
                <a:gd name="connsiteY61" fmla="*/ 70598 h 139957"/>
                <a:gd name="connsiteX62" fmla="*/ 58035 w 143596"/>
                <a:gd name="connsiteY62" fmla="*/ 75074 h 139957"/>
                <a:gd name="connsiteX63" fmla="*/ 52852 w 143596"/>
                <a:gd name="connsiteY63" fmla="*/ 71208 h 139957"/>
                <a:gd name="connsiteX64" fmla="*/ 56718 w 143596"/>
                <a:gd name="connsiteY64" fmla="*/ 66026 h 139957"/>
                <a:gd name="connsiteX65" fmla="*/ 58035 w 143596"/>
                <a:gd name="connsiteY65" fmla="*/ 66026 h 139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143596" h="139957">
                  <a:moveTo>
                    <a:pt x="38128" y="108793"/>
                  </a:moveTo>
                  <a:cubicBezTo>
                    <a:pt x="39782" y="126865"/>
                    <a:pt x="55231" y="140519"/>
                    <a:pt x="73370" y="139940"/>
                  </a:cubicBezTo>
                  <a:lnTo>
                    <a:pt x="74894" y="139940"/>
                  </a:lnTo>
                  <a:cubicBezTo>
                    <a:pt x="79037" y="139732"/>
                    <a:pt x="83121" y="138864"/>
                    <a:pt x="86991" y="137368"/>
                  </a:cubicBezTo>
                  <a:cubicBezTo>
                    <a:pt x="90406" y="136142"/>
                    <a:pt x="93617" y="134408"/>
                    <a:pt x="96516" y="132224"/>
                  </a:cubicBezTo>
                  <a:lnTo>
                    <a:pt x="98802" y="130415"/>
                  </a:lnTo>
                  <a:cubicBezTo>
                    <a:pt x="100438" y="128969"/>
                    <a:pt x="101937" y="127374"/>
                    <a:pt x="103279" y="125652"/>
                  </a:cubicBezTo>
                  <a:cubicBezTo>
                    <a:pt x="107705" y="119981"/>
                    <a:pt x="109998" y="112935"/>
                    <a:pt x="109756" y="105745"/>
                  </a:cubicBezTo>
                  <a:cubicBezTo>
                    <a:pt x="109803" y="104825"/>
                    <a:pt x="109803" y="103903"/>
                    <a:pt x="109756" y="102983"/>
                  </a:cubicBezTo>
                  <a:cubicBezTo>
                    <a:pt x="112042" y="103825"/>
                    <a:pt x="114463" y="104244"/>
                    <a:pt x="116899" y="104221"/>
                  </a:cubicBezTo>
                  <a:lnTo>
                    <a:pt x="117661" y="104221"/>
                  </a:lnTo>
                  <a:cubicBezTo>
                    <a:pt x="132711" y="103649"/>
                    <a:pt x="144236" y="87362"/>
                    <a:pt x="143569" y="67931"/>
                  </a:cubicBezTo>
                  <a:cubicBezTo>
                    <a:pt x="142903" y="48500"/>
                    <a:pt x="130520" y="33641"/>
                    <a:pt x="115852" y="33641"/>
                  </a:cubicBezTo>
                  <a:lnTo>
                    <a:pt x="114328" y="33641"/>
                  </a:lnTo>
                  <a:cubicBezTo>
                    <a:pt x="111389" y="33760"/>
                    <a:pt x="108506" y="34473"/>
                    <a:pt x="105850" y="35736"/>
                  </a:cubicBezTo>
                  <a:cubicBezTo>
                    <a:pt x="106327" y="33644"/>
                    <a:pt x="106520" y="31498"/>
                    <a:pt x="106422" y="29354"/>
                  </a:cubicBezTo>
                  <a:cubicBezTo>
                    <a:pt x="106334" y="26788"/>
                    <a:pt x="105852" y="24250"/>
                    <a:pt x="104993" y="21830"/>
                  </a:cubicBezTo>
                  <a:cubicBezTo>
                    <a:pt x="101728" y="12873"/>
                    <a:pt x="94693" y="5803"/>
                    <a:pt x="85753" y="2494"/>
                  </a:cubicBezTo>
                  <a:cubicBezTo>
                    <a:pt x="81206" y="832"/>
                    <a:pt x="76401" y="-6"/>
                    <a:pt x="71560" y="17"/>
                  </a:cubicBezTo>
                  <a:lnTo>
                    <a:pt x="69655" y="17"/>
                  </a:lnTo>
                  <a:cubicBezTo>
                    <a:pt x="51049" y="-572"/>
                    <a:pt x="35466" y="13989"/>
                    <a:pt x="34794" y="32593"/>
                  </a:cubicBezTo>
                  <a:cubicBezTo>
                    <a:pt x="34879" y="34981"/>
                    <a:pt x="35263" y="37349"/>
                    <a:pt x="35937" y="39641"/>
                  </a:cubicBezTo>
                  <a:cubicBezTo>
                    <a:pt x="32984" y="38157"/>
                    <a:pt x="29717" y="37405"/>
                    <a:pt x="26412" y="37451"/>
                  </a:cubicBezTo>
                  <a:lnTo>
                    <a:pt x="25936" y="37451"/>
                  </a:lnTo>
                  <a:cubicBezTo>
                    <a:pt x="10886" y="37832"/>
                    <a:pt x="-639" y="54024"/>
                    <a:pt x="28" y="73550"/>
                  </a:cubicBezTo>
                  <a:cubicBezTo>
                    <a:pt x="694" y="93077"/>
                    <a:pt x="13077" y="107745"/>
                    <a:pt x="27745" y="107745"/>
                  </a:cubicBezTo>
                  <a:lnTo>
                    <a:pt x="28603" y="107745"/>
                  </a:lnTo>
                  <a:cubicBezTo>
                    <a:pt x="31935" y="107734"/>
                    <a:pt x="35211" y="106882"/>
                    <a:pt x="38128" y="105269"/>
                  </a:cubicBezTo>
                  <a:close/>
                  <a:moveTo>
                    <a:pt x="91182" y="70693"/>
                  </a:moveTo>
                  <a:cubicBezTo>
                    <a:pt x="91182" y="73323"/>
                    <a:pt x="89050" y="75455"/>
                    <a:pt x="86419" y="75455"/>
                  </a:cubicBezTo>
                  <a:cubicBezTo>
                    <a:pt x="83789" y="75455"/>
                    <a:pt x="81657" y="73323"/>
                    <a:pt x="81657" y="70693"/>
                  </a:cubicBezTo>
                  <a:cubicBezTo>
                    <a:pt x="81657" y="68063"/>
                    <a:pt x="83789" y="65930"/>
                    <a:pt x="86419" y="65930"/>
                  </a:cubicBezTo>
                  <a:cubicBezTo>
                    <a:pt x="89050" y="65930"/>
                    <a:pt x="91182" y="68063"/>
                    <a:pt x="91182" y="70693"/>
                  </a:cubicBezTo>
                  <a:close/>
                  <a:moveTo>
                    <a:pt x="78514" y="54310"/>
                  </a:moveTo>
                  <a:lnTo>
                    <a:pt x="79847" y="54310"/>
                  </a:lnTo>
                  <a:cubicBezTo>
                    <a:pt x="82388" y="54309"/>
                    <a:pt x="84462" y="56341"/>
                    <a:pt x="84514" y="58882"/>
                  </a:cubicBezTo>
                  <a:cubicBezTo>
                    <a:pt x="84462" y="61406"/>
                    <a:pt x="82374" y="63411"/>
                    <a:pt x="79849" y="63359"/>
                  </a:cubicBezTo>
                  <a:cubicBezTo>
                    <a:pt x="79848" y="63359"/>
                    <a:pt x="79848" y="63359"/>
                    <a:pt x="79847" y="63359"/>
                  </a:cubicBezTo>
                  <a:lnTo>
                    <a:pt x="79847" y="63359"/>
                  </a:lnTo>
                  <a:cubicBezTo>
                    <a:pt x="77455" y="63163"/>
                    <a:pt x="75602" y="61186"/>
                    <a:pt x="75561" y="58787"/>
                  </a:cubicBezTo>
                  <a:cubicBezTo>
                    <a:pt x="75475" y="56813"/>
                    <a:pt x="76666" y="55007"/>
                    <a:pt x="78514" y="54310"/>
                  </a:cubicBezTo>
                  <a:close/>
                  <a:moveTo>
                    <a:pt x="78514" y="76884"/>
                  </a:moveTo>
                  <a:cubicBezTo>
                    <a:pt x="79652" y="76885"/>
                    <a:pt x="80745" y="77329"/>
                    <a:pt x="81562" y="78122"/>
                  </a:cubicBezTo>
                  <a:cubicBezTo>
                    <a:pt x="82512" y="78972"/>
                    <a:pt x="83065" y="80181"/>
                    <a:pt x="83086" y="81456"/>
                  </a:cubicBezTo>
                  <a:cubicBezTo>
                    <a:pt x="83184" y="82087"/>
                    <a:pt x="83184" y="82730"/>
                    <a:pt x="83086" y="83361"/>
                  </a:cubicBezTo>
                  <a:cubicBezTo>
                    <a:pt x="82267" y="84981"/>
                    <a:pt x="80614" y="86009"/>
                    <a:pt x="78799" y="86028"/>
                  </a:cubicBezTo>
                  <a:cubicBezTo>
                    <a:pt x="76169" y="86028"/>
                    <a:pt x="74037" y="83896"/>
                    <a:pt x="74037" y="81266"/>
                  </a:cubicBezTo>
                  <a:cubicBezTo>
                    <a:pt x="74037" y="78635"/>
                    <a:pt x="76169" y="76503"/>
                    <a:pt x="78799" y="76503"/>
                  </a:cubicBezTo>
                  <a:close/>
                  <a:moveTo>
                    <a:pt x="64893" y="86409"/>
                  </a:moveTo>
                  <a:cubicBezTo>
                    <a:pt x="62368" y="86356"/>
                    <a:pt x="60365" y="84266"/>
                    <a:pt x="60418" y="81742"/>
                  </a:cubicBezTo>
                  <a:cubicBezTo>
                    <a:pt x="60471" y="79217"/>
                    <a:pt x="62561" y="77214"/>
                    <a:pt x="65085" y="77267"/>
                  </a:cubicBezTo>
                  <a:cubicBezTo>
                    <a:pt x="67609" y="77320"/>
                    <a:pt x="69612" y="79409"/>
                    <a:pt x="69560" y="81932"/>
                  </a:cubicBezTo>
                  <a:cubicBezTo>
                    <a:pt x="69287" y="84127"/>
                    <a:pt x="67482" y="85811"/>
                    <a:pt x="65274" y="85933"/>
                  </a:cubicBezTo>
                  <a:close/>
                  <a:moveTo>
                    <a:pt x="64893" y="54500"/>
                  </a:moveTo>
                  <a:cubicBezTo>
                    <a:pt x="67418" y="54500"/>
                    <a:pt x="69465" y="56547"/>
                    <a:pt x="69465" y="59072"/>
                  </a:cubicBezTo>
                  <a:cubicBezTo>
                    <a:pt x="69465" y="61702"/>
                    <a:pt x="67333" y="63835"/>
                    <a:pt x="64702" y="63835"/>
                  </a:cubicBezTo>
                  <a:cubicBezTo>
                    <a:pt x="62072" y="63835"/>
                    <a:pt x="59940" y="61702"/>
                    <a:pt x="59940" y="59072"/>
                  </a:cubicBezTo>
                  <a:cubicBezTo>
                    <a:pt x="59604" y="56570"/>
                    <a:pt x="61361" y="54269"/>
                    <a:pt x="63864" y="53933"/>
                  </a:cubicBezTo>
                  <a:cubicBezTo>
                    <a:pt x="64430" y="53857"/>
                    <a:pt x="65005" y="53888"/>
                    <a:pt x="65560" y="54024"/>
                  </a:cubicBezTo>
                  <a:close/>
                  <a:moveTo>
                    <a:pt x="58035" y="66026"/>
                  </a:moveTo>
                  <a:cubicBezTo>
                    <a:pt x="60559" y="65973"/>
                    <a:pt x="62648" y="67977"/>
                    <a:pt x="62701" y="70501"/>
                  </a:cubicBezTo>
                  <a:cubicBezTo>
                    <a:pt x="62702" y="70533"/>
                    <a:pt x="62702" y="70565"/>
                    <a:pt x="62702" y="70598"/>
                  </a:cubicBezTo>
                  <a:cubicBezTo>
                    <a:pt x="62600" y="73100"/>
                    <a:pt x="60540" y="75076"/>
                    <a:pt x="58035" y="75074"/>
                  </a:cubicBezTo>
                  <a:cubicBezTo>
                    <a:pt x="55536" y="75438"/>
                    <a:pt x="53216" y="73707"/>
                    <a:pt x="52852" y="71208"/>
                  </a:cubicBezTo>
                  <a:cubicBezTo>
                    <a:pt x="52489" y="68709"/>
                    <a:pt x="54220" y="66389"/>
                    <a:pt x="56718" y="66026"/>
                  </a:cubicBezTo>
                  <a:cubicBezTo>
                    <a:pt x="57155" y="65962"/>
                    <a:pt x="57598" y="65962"/>
                    <a:pt x="58035" y="660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4" name="Freihandform: Form 589">
              <a:extLst>
                <a:ext uri="{FF2B5EF4-FFF2-40B4-BE49-F238E27FC236}">
                  <a16:creationId xmlns:a16="http://schemas.microsoft.com/office/drawing/2014/main" id="{C8471964-6A55-40DE-AE20-8A5108908776}"/>
                </a:ext>
              </a:extLst>
            </p:cNvPr>
            <p:cNvSpPr/>
            <p:nvPr/>
          </p:nvSpPr>
          <p:spPr>
            <a:xfrm>
              <a:off x="1062772" y="2318664"/>
              <a:ext cx="32991" cy="50977"/>
            </a:xfrm>
            <a:custGeom>
              <a:avLst/>
              <a:gdLst>
                <a:gd name="connsiteX0" fmla="*/ 30194 w 32991"/>
                <a:gd name="connsiteY0" fmla="*/ 381 h 50977"/>
                <a:gd name="connsiteX1" fmla="*/ 9525 w 32991"/>
                <a:gd name="connsiteY1" fmla="*/ 21527 h 50977"/>
                <a:gd name="connsiteX2" fmla="*/ 0 w 32991"/>
                <a:gd name="connsiteY2" fmla="*/ 45625 h 50977"/>
                <a:gd name="connsiteX3" fmla="*/ 1715 w 32991"/>
                <a:gd name="connsiteY3" fmla="*/ 50864 h 50977"/>
                <a:gd name="connsiteX4" fmla="*/ 3143 w 32991"/>
                <a:gd name="connsiteY4" fmla="*/ 50864 h 50977"/>
                <a:gd name="connsiteX5" fmla="*/ 10192 w 32991"/>
                <a:gd name="connsiteY5" fmla="*/ 47054 h 50977"/>
                <a:gd name="connsiteX6" fmla="*/ 23717 w 32991"/>
                <a:gd name="connsiteY6" fmla="*/ 29718 h 50977"/>
                <a:gd name="connsiteX7" fmla="*/ 32480 w 32991"/>
                <a:gd name="connsiteY7" fmla="*/ 1715 h 50977"/>
                <a:gd name="connsiteX8" fmla="*/ 30480 w 32991"/>
                <a:gd name="connsiteY8" fmla="*/ 0 h 50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991" h="50977">
                  <a:moveTo>
                    <a:pt x="30194" y="381"/>
                  </a:moveTo>
                  <a:cubicBezTo>
                    <a:pt x="25622" y="381"/>
                    <a:pt x="16955" y="9144"/>
                    <a:pt x="9525" y="21527"/>
                  </a:cubicBezTo>
                  <a:cubicBezTo>
                    <a:pt x="4731" y="28821"/>
                    <a:pt x="1488" y="37024"/>
                    <a:pt x="0" y="45625"/>
                  </a:cubicBezTo>
                  <a:cubicBezTo>
                    <a:pt x="0" y="48196"/>
                    <a:pt x="0" y="50102"/>
                    <a:pt x="1715" y="50864"/>
                  </a:cubicBezTo>
                  <a:cubicBezTo>
                    <a:pt x="2179" y="51016"/>
                    <a:pt x="2679" y="51016"/>
                    <a:pt x="3143" y="50864"/>
                  </a:cubicBezTo>
                  <a:cubicBezTo>
                    <a:pt x="5836" y="50370"/>
                    <a:pt x="8304" y="49036"/>
                    <a:pt x="10192" y="47054"/>
                  </a:cubicBezTo>
                  <a:cubicBezTo>
                    <a:pt x="15527" y="41970"/>
                    <a:pt x="20084" y="36129"/>
                    <a:pt x="23717" y="29718"/>
                  </a:cubicBezTo>
                  <a:cubicBezTo>
                    <a:pt x="30861" y="17621"/>
                    <a:pt x="34385" y="6096"/>
                    <a:pt x="32480" y="1715"/>
                  </a:cubicBezTo>
                  <a:lnTo>
                    <a:pt x="3048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5" name="Freihandform: Form 590">
              <a:extLst>
                <a:ext uri="{FF2B5EF4-FFF2-40B4-BE49-F238E27FC236}">
                  <a16:creationId xmlns:a16="http://schemas.microsoft.com/office/drawing/2014/main" id="{F2EA7E2A-CD93-4D3B-AF6E-D6ED4128E476}"/>
                </a:ext>
              </a:extLst>
            </p:cNvPr>
            <p:cNvSpPr/>
            <p:nvPr/>
          </p:nvSpPr>
          <p:spPr>
            <a:xfrm>
              <a:off x="1062483" y="2581650"/>
              <a:ext cx="64623" cy="50379"/>
            </a:xfrm>
            <a:custGeom>
              <a:avLst/>
              <a:gdLst>
                <a:gd name="connsiteX0" fmla="*/ 61820 w 64623"/>
                <a:gd name="connsiteY0" fmla="*/ 0 h 50379"/>
                <a:gd name="connsiteX1" fmla="*/ 26387 w 64623"/>
                <a:gd name="connsiteY1" fmla="*/ 17145 h 50379"/>
                <a:gd name="connsiteX2" fmla="*/ 4289 w 64623"/>
                <a:gd name="connsiteY2" fmla="*/ 39529 h 50379"/>
                <a:gd name="connsiteX3" fmla="*/ 3242 w 64623"/>
                <a:gd name="connsiteY3" fmla="*/ 41243 h 50379"/>
                <a:gd name="connsiteX4" fmla="*/ 98 w 64623"/>
                <a:gd name="connsiteY4" fmla="*/ 50197 h 50379"/>
                <a:gd name="connsiteX5" fmla="*/ 2765 w 64623"/>
                <a:gd name="connsiteY5" fmla="*/ 50197 h 50379"/>
                <a:gd name="connsiteX6" fmla="*/ 10481 w 64623"/>
                <a:gd name="connsiteY6" fmla="*/ 48768 h 50379"/>
                <a:gd name="connsiteX7" fmla="*/ 39056 w 64623"/>
                <a:gd name="connsiteY7" fmla="*/ 33052 h 50379"/>
                <a:gd name="connsiteX8" fmla="*/ 60296 w 64623"/>
                <a:gd name="connsiteY8" fmla="*/ 10954 h 50379"/>
                <a:gd name="connsiteX9" fmla="*/ 64487 w 64623"/>
                <a:gd name="connsiteY9" fmla="*/ 286 h 50379"/>
                <a:gd name="connsiteX10" fmla="*/ 61820 w 64623"/>
                <a:gd name="connsiteY10" fmla="*/ 0 h 5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4623" h="50379">
                  <a:moveTo>
                    <a:pt x="61820" y="0"/>
                  </a:moveTo>
                  <a:cubicBezTo>
                    <a:pt x="48649" y="2323"/>
                    <a:pt x="36382" y="8259"/>
                    <a:pt x="26387" y="17145"/>
                  </a:cubicBezTo>
                  <a:cubicBezTo>
                    <a:pt x="17876" y="23382"/>
                    <a:pt x="10416" y="30938"/>
                    <a:pt x="4289" y="39529"/>
                  </a:cubicBezTo>
                  <a:cubicBezTo>
                    <a:pt x="3906" y="40079"/>
                    <a:pt x="3556" y="40651"/>
                    <a:pt x="3242" y="41243"/>
                  </a:cubicBezTo>
                  <a:cubicBezTo>
                    <a:pt x="-378" y="47054"/>
                    <a:pt x="-92" y="49911"/>
                    <a:pt x="98" y="50197"/>
                  </a:cubicBezTo>
                  <a:cubicBezTo>
                    <a:pt x="971" y="50441"/>
                    <a:pt x="1893" y="50441"/>
                    <a:pt x="2765" y="50197"/>
                  </a:cubicBezTo>
                  <a:cubicBezTo>
                    <a:pt x="5392" y="50094"/>
                    <a:pt x="7991" y="49613"/>
                    <a:pt x="10481" y="48768"/>
                  </a:cubicBezTo>
                  <a:cubicBezTo>
                    <a:pt x="20825" y="45180"/>
                    <a:pt x="30486" y="39866"/>
                    <a:pt x="39056" y="33052"/>
                  </a:cubicBezTo>
                  <a:cubicBezTo>
                    <a:pt x="47224" y="26815"/>
                    <a:pt x="54388" y="19363"/>
                    <a:pt x="60296" y="10954"/>
                  </a:cubicBezTo>
                  <a:cubicBezTo>
                    <a:pt x="65059" y="3905"/>
                    <a:pt x="64773" y="572"/>
                    <a:pt x="64487" y="286"/>
                  </a:cubicBezTo>
                  <a:cubicBezTo>
                    <a:pt x="64202" y="0"/>
                    <a:pt x="63725" y="0"/>
                    <a:pt x="6182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6" name="Freihandform: Form 591">
              <a:extLst>
                <a:ext uri="{FF2B5EF4-FFF2-40B4-BE49-F238E27FC236}">
                  <a16:creationId xmlns:a16="http://schemas.microsoft.com/office/drawing/2014/main" id="{621307A9-6E6C-4EB3-B6AC-643FEC9196BC}"/>
                </a:ext>
              </a:extLst>
            </p:cNvPr>
            <p:cNvSpPr/>
            <p:nvPr/>
          </p:nvSpPr>
          <p:spPr>
            <a:xfrm>
              <a:off x="1081096" y="2426412"/>
              <a:ext cx="143536" cy="140316"/>
            </a:xfrm>
            <a:custGeom>
              <a:avLst/>
              <a:gdLst>
                <a:gd name="connsiteX0" fmla="*/ 143411 w 143536"/>
                <a:gd name="connsiteY0" fmla="*/ 75799 h 140316"/>
                <a:gd name="connsiteX1" fmla="*/ 118836 w 143536"/>
                <a:gd name="connsiteY1" fmla="*/ 38652 h 140316"/>
                <a:gd name="connsiteX2" fmla="*/ 117312 w 143536"/>
                <a:gd name="connsiteY2" fmla="*/ 38652 h 140316"/>
                <a:gd name="connsiteX3" fmla="*/ 110169 w 143536"/>
                <a:gd name="connsiteY3" fmla="*/ 39890 h 140316"/>
                <a:gd name="connsiteX4" fmla="*/ 111407 w 143536"/>
                <a:gd name="connsiteY4" fmla="*/ 33604 h 140316"/>
                <a:gd name="connsiteX5" fmla="*/ 111407 w 143536"/>
                <a:gd name="connsiteY5" fmla="*/ 28936 h 140316"/>
                <a:gd name="connsiteX6" fmla="*/ 100358 w 143536"/>
                <a:gd name="connsiteY6" fmla="*/ 20554 h 140316"/>
                <a:gd name="connsiteX7" fmla="*/ 90357 w 143536"/>
                <a:gd name="connsiteY7" fmla="*/ 3028 h 140316"/>
                <a:gd name="connsiteX8" fmla="*/ 77784 w 143536"/>
                <a:gd name="connsiteY8" fmla="*/ 76 h 140316"/>
                <a:gd name="connsiteX9" fmla="*/ 74450 w 143536"/>
                <a:gd name="connsiteY9" fmla="*/ 76 h 140316"/>
                <a:gd name="connsiteX10" fmla="*/ 39303 w 143536"/>
                <a:gd name="connsiteY10" fmla="*/ 28651 h 140316"/>
                <a:gd name="connsiteX11" fmla="*/ 39779 w 143536"/>
                <a:gd name="connsiteY11" fmla="*/ 35794 h 140316"/>
                <a:gd name="connsiteX12" fmla="*/ 30254 w 143536"/>
                <a:gd name="connsiteY12" fmla="*/ 32556 h 140316"/>
                <a:gd name="connsiteX13" fmla="*/ 28730 w 143536"/>
                <a:gd name="connsiteY13" fmla="*/ 32556 h 140316"/>
                <a:gd name="connsiteX14" fmla="*/ 155 w 143536"/>
                <a:gd name="connsiteY14" fmla="*/ 65798 h 140316"/>
                <a:gd name="connsiteX15" fmla="*/ 3393 w 143536"/>
                <a:gd name="connsiteY15" fmla="*/ 85801 h 140316"/>
                <a:gd name="connsiteX16" fmla="*/ 9108 w 143536"/>
                <a:gd name="connsiteY16" fmla="*/ 95326 h 140316"/>
                <a:gd name="connsiteX17" fmla="*/ 24729 w 143536"/>
                <a:gd name="connsiteY17" fmla="*/ 103327 h 140316"/>
                <a:gd name="connsiteX18" fmla="*/ 26825 w 143536"/>
                <a:gd name="connsiteY18" fmla="*/ 103327 h 140316"/>
                <a:gd name="connsiteX19" fmla="*/ 34635 w 143536"/>
                <a:gd name="connsiteY19" fmla="*/ 101898 h 140316"/>
                <a:gd name="connsiteX20" fmla="*/ 34635 w 143536"/>
                <a:gd name="connsiteY20" fmla="*/ 105232 h 140316"/>
                <a:gd name="connsiteX21" fmla="*/ 68259 w 143536"/>
                <a:gd name="connsiteY21" fmla="*/ 140284 h 140316"/>
                <a:gd name="connsiteX22" fmla="*/ 71116 w 143536"/>
                <a:gd name="connsiteY22" fmla="*/ 140284 h 140316"/>
                <a:gd name="connsiteX23" fmla="*/ 106549 w 143536"/>
                <a:gd name="connsiteY23" fmla="*/ 110280 h 140316"/>
                <a:gd name="connsiteX24" fmla="*/ 106549 w 143536"/>
                <a:gd name="connsiteY24" fmla="*/ 107518 h 140316"/>
                <a:gd name="connsiteX25" fmla="*/ 114360 w 143536"/>
                <a:gd name="connsiteY25" fmla="*/ 109613 h 140316"/>
                <a:gd name="connsiteX26" fmla="*/ 115884 w 143536"/>
                <a:gd name="connsiteY26" fmla="*/ 109613 h 140316"/>
                <a:gd name="connsiteX27" fmla="*/ 143411 w 143536"/>
                <a:gd name="connsiteY27" fmla="*/ 75799 h 140316"/>
                <a:gd name="connsiteX28" fmla="*/ 86261 w 143536"/>
                <a:gd name="connsiteY28" fmla="*/ 59988 h 140316"/>
                <a:gd name="connsiteX29" fmla="*/ 81117 w 143536"/>
                <a:gd name="connsiteY29" fmla="*/ 63988 h 140316"/>
                <a:gd name="connsiteX30" fmla="*/ 77117 w 143536"/>
                <a:gd name="connsiteY30" fmla="*/ 60464 h 140316"/>
                <a:gd name="connsiteX31" fmla="*/ 77117 w 143536"/>
                <a:gd name="connsiteY31" fmla="*/ 58940 h 140316"/>
                <a:gd name="connsiteX32" fmla="*/ 82327 w 143536"/>
                <a:gd name="connsiteY32" fmla="*/ 55111 h 140316"/>
                <a:gd name="connsiteX33" fmla="*/ 83975 w 143536"/>
                <a:gd name="connsiteY33" fmla="*/ 55702 h 140316"/>
                <a:gd name="connsiteX34" fmla="*/ 86070 w 143536"/>
                <a:gd name="connsiteY34" fmla="*/ 59988 h 140316"/>
                <a:gd name="connsiteX35" fmla="*/ 67211 w 143536"/>
                <a:gd name="connsiteY35" fmla="*/ 53320 h 140316"/>
                <a:gd name="connsiteX36" fmla="*/ 67687 w 143536"/>
                <a:gd name="connsiteY36" fmla="*/ 53320 h 140316"/>
                <a:gd name="connsiteX37" fmla="*/ 71640 w 143536"/>
                <a:gd name="connsiteY37" fmla="*/ 58321 h 140316"/>
                <a:gd name="connsiteX38" fmla="*/ 66639 w 143536"/>
                <a:gd name="connsiteY38" fmla="*/ 62274 h 140316"/>
                <a:gd name="connsiteX39" fmla="*/ 62539 w 143536"/>
                <a:gd name="connsiteY39" fmla="*/ 57275 h 140316"/>
                <a:gd name="connsiteX40" fmla="*/ 62544 w 143536"/>
                <a:gd name="connsiteY40" fmla="*/ 57226 h 140316"/>
                <a:gd name="connsiteX41" fmla="*/ 63306 w 143536"/>
                <a:gd name="connsiteY41" fmla="*/ 55321 h 140316"/>
                <a:gd name="connsiteX42" fmla="*/ 67306 w 143536"/>
                <a:gd name="connsiteY42" fmla="*/ 53320 h 140316"/>
                <a:gd name="connsiteX43" fmla="*/ 58543 w 143536"/>
                <a:gd name="connsiteY43" fmla="*/ 72942 h 140316"/>
                <a:gd name="connsiteX44" fmla="*/ 55400 w 143536"/>
                <a:gd name="connsiteY44" fmla="*/ 70942 h 140316"/>
                <a:gd name="connsiteX45" fmla="*/ 54352 w 143536"/>
                <a:gd name="connsiteY45" fmla="*/ 67608 h 140316"/>
                <a:gd name="connsiteX46" fmla="*/ 59425 w 143536"/>
                <a:gd name="connsiteY46" fmla="*/ 63598 h 140316"/>
                <a:gd name="connsiteX47" fmla="*/ 59496 w 143536"/>
                <a:gd name="connsiteY47" fmla="*/ 63607 h 140316"/>
                <a:gd name="connsiteX48" fmla="*/ 63401 w 143536"/>
                <a:gd name="connsiteY48" fmla="*/ 66846 h 140316"/>
                <a:gd name="connsiteX49" fmla="*/ 63401 w 143536"/>
                <a:gd name="connsiteY49" fmla="*/ 68656 h 140316"/>
                <a:gd name="connsiteX50" fmla="*/ 58747 w 143536"/>
                <a:gd name="connsiteY50" fmla="*/ 72947 h 140316"/>
                <a:gd name="connsiteX51" fmla="*/ 58638 w 143536"/>
                <a:gd name="connsiteY51" fmla="*/ 72942 h 140316"/>
                <a:gd name="connsiteX52" fmla="*/ 69021 w 143536"/>
                <a:gd name="connsiteY52" fmla="*/ 81038 h 140316"/>
                <a:gd name="connsiteX53" fmla="*/ 64045 w 143536"/>
                <a:gd name="connsiteY53" fmla="*/ 84953 h 140316"/>
                <a:gd name="connsiteX54" fmla="*/ 63972 w 143536"/>
                <a:gd name="connsiteY54" fmla="*/ 84943 h 140316"/>
                <a:gd name="connsiteX55" fmla="*/ 59530 w 143536"/>
                <a:gd name="connsiteY55" fmla="*/ 80245 h 140316"/>
                <a:gd name="connsiteX56" fmla="*/ 64229 w 143536"/>
                <a:gd name="connsiteY56" fmla="*/ 75803 h 140316"/>
                <a:gd name="connsiteX57" fmla="*/ 65020 w 143536"/>
                <a:gd name="connsiteY57" fmla="*/ 75895 h 140316"/>
                <a:gd name="connsiteX58" fmla="*/ 69116 w 143536"/>
                <a:gd name="connsiteY58" fmla="*/ 81038 h 140316"/>
                <a:gd name="connsiteX59" fmla="*/ 82451 w 143536"/>
                <a:gd name="connsiteY59" fmla="*/ 82562 h 140316"/>
                <a:gd name="connsiteX60" fmla="*/ 77165 w 143536"/>
                <a:gd name="connsiteY60" fmla="*/ 86801 h 140316"/>
                <a:gd name="connsiteX61" fmla="*/ 72926 w 143536"/>
                <a:gd name="connsiteY61" fmla="*/ 81514 h 140316"/>
                <a:gd name="connsiteX62" fmla="*/ 78212 w 143536"/>
                <a:gd name="connsiteY62" fmla="*/ 77276 h 140316"/>
                <a:gd name="connsiteX63" fmla="*/ 82451 w 143536"/>
                <a:gd name="connsiteY63" fmla="*/ 82562 h 140316"/>
                <a:gd name="connsiteX64" fmla="*/ 90928 w 143536"/>
                <a:gd name="connsiteY64" fmla="*/ 72275 h 140316"/>
                <a:gd name="connsiteX65" fmla="*/ 85785 w 143536"/>
                <a:gd name="connsiteY65" fmla="*/ 76180 h 140316"/>
                <a:gd name="connsiteX66" fmla="*/ 81343 w 143536"/>
                <a:gd name="connsiteY66" fmla="*/ 71482 h 140316"/>
                <a:gd name="connsiteX67" fmla="*/ 86041 w 143536"/>
                <a:gd name="connsiteY67" fmla="*/ 67040 h 140316"/>
                <a:gd name="connsiteX68" fmla="*/ 86832 w 143536"/>
                <a:gd name="connsiteY68" fmla="*/ 67132 h 140316"/>
                <a:gd name="connsiteX69" fmla="*/ 91023 w 143536"/>
                <a:gd name="connsiteY69" fmla="*/ 72275 h 140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143536" h="140316">
                  <a:moveTo>
                    <a:pt x="143411" y="75799"/>
                  </a:moveTo>
                  <a:cubicBezTo>
                    <a:pt x="144840" y="56749"/>
                    <a:pt x="133886" y="39700"/>
                    <a:pt x="118836" y="38652"/>
                  </a:cubicBezTo>
                  <a:lnTo>
                    <a:pt x="117312" y="38652"/>
                  </a:lnTo>
                  <a:cubicBezTo>
                    <a:pt x="114877" y="38636"/>
                    <a:pt x="112457" y="39056"/>
                    <a:pt x="110169" y="39890"/>
                  </a:cubicBezTo>
                  <a:cubicBezTo>
                    <a:pt x="110827" y="37851"/>
                    <a:pt x="111243" y="35740"/>
                    <a:pt x="111407" y="33604"/>
                  </a:cubicBezTo>
                  <a:cubicBezTo>
                    <a:pt x="111551" y="32051"/>
                    <a:pt x="111551" y="30489"/>
                    <a:pt x="111407" y="28936"/>
                  </a:cubicBezTo>
                  <a:cubicBezTo>
                    <a:pt x="107314" y="26728"/>
                    <a:pt x="103587" y="23901"/>
                    <a:pt x="100358" y="20554"/>
                  </a:cubicBezTo>
                  <a:cubicBezTo>
                    <a:pt x="95624" y="15631"/>
                    <a:pt x="92188" y="9608"/>
                    <a:pt x="90357" y="3028"/>
                  </a:cubicBezTo>
                  <a:cubicBezTo>
                    <a:pt x="86330" y="1444"/>
                    <a:pt x="82095" y="450"/>
                    <a:pt x="77784" y="76"/>
                  </a:cubicBezTo>
                  <a:lnTo>
                    <a:pt x="74450" y="76"/>
                  </a:lnTo>
                  <a:cubicBezTo>
                    <a:pt x="57053" y="-1091"/>
                    <a:pt x="41712" y="11382"/>
                    <a:pt x="39303" y="28651"/>
                  </a:cubicBezTo>
                  <a:cubicBezTo>
                    <a:pt x="39123" y="31042"/>
                    <a:pt x="39283" y="33448"/>
                    <a:pt x="39779" y="35794"/>
                  </a:cubicBezTo>
                  <a:cubicBezTo>
                    <a:pt x="36894" y="34000"/>
                    <a:pt x="33635" y="32892"/>
                    <a:pt x="30254" y="32556"/>
                  </a:cubicBezTo>
                  <a:lnTo>
                    <a:pt x="28730" y="32556"/>
                  </a:lnTo>
                  <a:cubicBezTo>
                    <a:pt x="14347" y="32556"/>
                    <a:pt x="1965" y="47034"/>
                    <a:pt x="155" y="65798"/>
                  </a:cubicBezTo>
                  <a:cubicBezTo>
                    <a:pt x="-438" y="72631"/>
                    <a:pt x="675" y="79504"/>
                    <a:pt x="3393" y="85801"/>
                  </a:cubicBezTo>
                  <a:cubicBezTo>
                    <a:pt x="4723" y="89287"/>
                    <a:pt x="6658" y="92511"/>
                    <a:pt x="9108" y="95326"/>
                  </a:cubicBezTo>
                  <a:cubicBezTo>
                    <a:pt x="13082" y="99916"/>
                    <a:pt x="18683" y="102784"/>
                    <a:pt x="24729" y="103327"/>
                  </a:cubicBezTo>
                  <a:lnTo>
                    <a:pt x="26825" y="103327"/>
                  </a:lnTo>
                  <a:cubicBezTo>
                    <a:pt x="29494" y="103332"/>
                    <a:pt x="32141" y="102848"/>
                    <a:pt x="34635" y="101898"/>
                  </a:cubicBezTo>
                  <a:cubicBezTo>
                    <a:pt x="34635" y="102946"/>
                    <a:pt x="34635" y="104089"/>
                    <a:pt x="34635" y="105232"/>
                  </a:cubicBezTo>
                  <a:cubicBezTo>
                    <a:pt x="34263" y="124187"/>
                    <a:pt x="49304" y="139867"/>
                    <a:pt x="68259" y="140284"/>
                  </a:cubicBezTo>
                  <a:lnTo>
                    <a:pt x="71116" y="140284"/>
                  </a:lnTo>
                  <a:cubicBezTo>
                    <a:pt x="88948" y="141062"/>
                    <a:pt x="104379" y="127996"/>
                    <a:pt x="106549" y="110280"/>
                  </a:cubicBezTo>
                  <a:lnTo>
                    <a:pt x="106549" y="107518"/>
                  </a:lnTo>
                  <a:cubicBezTo>
                    <a:pt x="109002" y="108690"/>
                    <a:pt x="111650" y="109401"/>
                    <a:pt x="114360" y="109613"/>
                  </a:cubicBezTo>
                  <a:lnTo>
                    <a:pt x="115884" y="109613"/>
                  </a:lnTo>
                  <a:cubicBezTo>
                    <a:pt x="129600" y="109042"/>
                    <a:pt x="142077" y="94564"/>
                    <a:pt x="143411" y="75799"/>
                  </a:cubicBezTo>
                  <a:close/>
                  <a:moveTo>
                    <a:pt x="86261" y="59988"/>
                  </a:moveTo>
                  <a:cubicBezTo>
                    <a:pt x="85915" y="62495"/>
                    <a:pt x="83633" y="64270"/>
                    <a:pt x="81117" y="63988"/>
                  </a:cubicBezTo>
                  <a:cubicBezTo>
                    <a:pt x="79190" y="63740"/>
                    <a:pt x="77606" y="62345"/>
                    <a:pt x="77117" y="60464"/>
                  </a:cubicBezTo>
                  <a:cubicBezTo>
                    <a:pt x="77070" y="59957"/>
                    <a:pt x="77070" y="59447"/>
                    <a:pt x="77117" y="58940"/>
                  </a:cubicBezTo>
                  <a:cubicBezTo>
                    <a:pt x="77498" y="56444"/>
                    <a:pt x="79831" y="54729"/>
                    <a:pt x="82327" y="55111"/>
                  </a:cubicBezTo>
                  <a:cubicBezTo>
                    <a:pt x="82909" y="55200"/>
                    <a:pt x="83469" y="55400"/>
                    <a:pt x="83975" y="55702"/>
                  </a:cubicBezTo>
                  <a:cubicBezTo>
                    <a:pt x="85440" y="56608"/>
                    <a:pt x="86255" y="58275"/>
                    <a:pt x="86070" y="59988"/>
                  </a:cubicBezTo>
                  <a:close/>
                  <a:moveTo>
                    <a:pt x="67211" y="53320"/>
                  </a:moveTo>
                  <a:lnTo>
                    <a:pt x="67687" y="53320"/>
                  </a:lnTo>
                  <a:cubicBezTo>
                    <a:pt x="70160" y="53610"/>
                    <a:pt x="71929" y="55848"/>
                    <a:pt x="71640" y="58321"/>
                  </a:cubicBezTo>
                  <a:cubicBezTo>
                    <a:pt x="71351" y="60793"/>
                    <a:pt x="69112" y="62563"/>
                    <a:pt x="66639" y="62274"/>
                  </a:cubicBezTo>
                  <a:cubicBezTo>
                    <a:pt x="64127" y="62026"/>
                    <a:pt x="62291" y="59788"/>
                    <a:pt x="62539" y="57275"/>
                  </a:cubicBezTo>
                  <a:cubicBezTo>
                    <a:pt x="62540" y="57258"/>
                    <a:pt x="62542" y="57242"/>
                    <a:pt x="62544" y="57226"/>
                  </a:cubicBezTo>
                  <a:cubicBezTo>
                    <a:pt x="62656" y="56543"/>
                    <a:pt x="62916" y="55893"/>
                    <a:pt x="63306" y="55321"/>
                  </a:cubicBezTo>
                  <a:cubicBezTo>
                    <a:pt x="64142" y="53938"/>
                    <a:pt x="65699" y="53160"/>
                    <a:pt x="67306" y="53320"/>
                  </a:cubicBezTo>
                  <a:close/>
                  <a:moveTo>
                    <a:pt x="58543" y="72942"/>
                  </a:moveTo>
                  <a:cubicBezTo>
                    <a:pt x="57250" y="72776"/>
                    <a:pt x="56098" y="72043"/>
                    <a:pt x="55400" y="70942"/>
                  </a:cubicBezTo>
                  <a:cubicBezTo>
                    <a:pt x="54632" y="70008"/>
                    <a:pt x="54257" y="68813"/>
                    <a:pt x="54352" y="67608"/>
                  </a:cubicBezTo>
                  <a:cubicBezTo>
                    <a:pt x="54646" y="65100"/>
                    <a:pt x="56917" y="63305"/>
                    <a:pt x="59425" y="63598"/>
                  </a:cubicBezTo>
                  <a:cubicBezTo>
                    <a:pt x="59448" y="63601"/>
                    <a:pt x="59472" y="63604"/>
                    <a:pt x="59496" y="63607"/>
                  </a:cubicBezTo>
                  <a:cubicBezTo>
                    <a:pt x="61343" y="63774"/>
                    <a:pt x="62896" y="65062"/>
                    <a:pt x="63401" y="66846"/>
                  </a:cubicBezTo>
                  <a:cubicBezTo>
                    <a:pt x="63500" y="67445"/>
                    <a:pt x="63500" y="68056"/>
                    <a:pt x="63401" y="68656"/>
                  </a:cubicBezTo>
                  <a:cubicBezTo>
                    <a:pt x="63301" y="71126"/>
                    <a:pt x="61217" y="73048"/>
                    <a:pt x="58747" y="72947"/>
                  </a:cubicBezTo>
                  <a:cubicBezTo>
                    <a:pt x="58711" y="72946"/>
                    <a:pt x="58675" y="72944"/>
                    <a:pt x="58638" y="72942"/>
                  </a:cubicBezTo>
                  <a:close/>
                  <a:moveTo>
                    <a:pt x="69021" y="81038"/>
                  </a:moveTo>
                  <a:cubicBezTo>
                    <a:pt x="68728" y="83493"/>
                    <a:pt x="66500" y="85246"/>
                    <a:pt x="64045" y="84953"/>
                  </a:cubicBezTo>
                  <a:cubicBezTo>
                    <a:pt x="64021" y="84950"/>
                    <a:pt x="63997" y="84947"/>
                    <a:pt x="63972" y="84943"/>
                  </a:cubicBezTo>
                  <a:cubicBezTo>
                    <a:pt x="61448" y="84873"/>
                    <a:pt x="59460" y="82769"/>
                    <a:pt x="59530" y="80245"/>
                  </a:cubicBezTo>
                  <a:cubicBezTo>
                    <a:pt x="59601" y="77721"/>
                    <a:pt x="61705" y="75732"/>
                    <a:pt x="64229" y="75803"/>
                  </a:cubicBezTo>
                  <a:cubicBezTo>
                    <a:pt x="64495" y="75810"/>
                    <a:pt x="64760" y="75841"/>
                    <a:pt x="65020" y="75895"/>
                  </a:cubicBezTo>
                  <a:cubicBezTo>
                    <a:pt x="67566" y="76193"/>
                    <a:pt x="69395" y="78490"/>
                    <a:pt x="69116" y="81038"/>
                  </a:cubicBezTo>
                  <a:close/>
                  <a:moveTo>
                    <a:pt x="82451" y="82562"/>
                  </a:moveTo>
                  <a:cubicBezTo>
                    <a:pt x="82162" y="85192"/>
                    <a:pt x="79795" y="87090"/>
                    <a:pt x="77165" y="86801"/>
                  </a:cubicBezTo>
                  <a:cubicBezTo>
                    <a:pt x="74534" y="86511"/>
                    <a:pt x="72637" y="84145"/>
                    <a:pt x="72926" y="81514"/>
                  </a:cubicBezTo>
                  <a:cubicBezTo>
                    <a:pt x="73215" y="78884"/>
                    <a:pt x="75582" y="76986"/>
                    <a:pt x="78212" y="77276"/>
                  </a:cubicBezTo>
                  <a:cubicBezTo>
                    <a:pt x="80843" y="77565"/>
                    <a:pt x="82740" y="79932"/>
                    <a:pt x="82451" y="82562"/>
                  </a:cubicBezTo>
                  <a:close/>
                  <a:moveTo>
                    <a:pt x="90928" y="72275"/>
                  </a:moveTo>
                  <a:cubicBezTo>
                    <a:pt x="90536" y="74744"/>
                    <a:pt x="88268" y="76466"/>
                    <a:pt x="85785" y="76180"/>
                  </a:cubicBezTo>
                  <a:cubicBezTo>
                    <a:pt x="83261" y="76110"/>
                    <a:pt x="81272" y="74006"/>
                    <a:pt x="81343" y="71482"/>
                  </a:cubicBezTo>
                  <a:cubicBezTo>
                    <a:pt x="81413" y="68958"/>
                    <a:pt x="83517" y="66969"/>
                    <a:pt x="86041" y="67040"/>
                  </a:cubicBezTo>
                  <a:cubicBezTo>
                    <a:pt x="86307" y="67047"/>
                    <a:pt x="86572" y="67078"/>
                    <a:pt x="86832" y="67132"/>
                  </a:cubicBezTo>
                  <a:cubicBezTo>
                    <a:pt x="89390" y="67431"/>
                    <a:pt x="91247" y="69709"/>
                    <a:pt x="91023" y="722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7" name="Freihandform: Form 592">
              <a:extLst>
                <a:ext uri="{FF2B5EF4-FFF2-40B4-BE49-F238E27FC236}">
                  <a16:creationId xmlns:a16="http://schemas.microsoft.com/office/drawing/2014/main" id="{BFAC2964-72AB-485C-A8CA-62FD62DAE84A}"/>
                </a:ext>
              </a:extLst>
            </p:cNvPr>
            <p:cNvSpPr/>
            <p:nvPr/>
          </p:nvSpPr>
          <p:spPr>
            <a:xfrm>
              <a:off x="1143520" y="2305792"/>
              <a:ext cx="149062" cy="144447"/>
            </a:xfrm>
            <a:custGeom>
              <a:avLst/>
              <a:gdLst>
                <a:gd name="connsiteX0" fmla="*/ 40600 w 149062"/>
                <a:gd name="connsiteY0" fmla="*/ 41638 h 144447"/>
                <a:gd name="connsiteX1" fmla="*/ 37362 w 149062"/>
                <a:gd name="connsiteY1" fmla="*/ 42686 h 144447"/>
                <a:gd name="connsiteX2" fmla="*/ 23455 w 149062"/>
                <a:gd name="connsiteY2" fmla="*/ 44686 h 144447"/>
                <a:gd name="connsiteX3" fmla="*/ 10596 w 149062"/>
                <a:gd name="connsiteY3" fmla="*/ 42972 h 144447"/>
                <a:gd name="connsiteX4" fmla="*/ 6120 w 149062"/>
                <a:gd name="connsiteY4" fmla="*/ 92883 h 144447"/>
                <a:gd name="connsiteX5" fmla="*/ 22503 w 149062"/>
                <a:gd name="connsiteY5" fmla="*/ 103455 h 144447"/>
                <a:gd name="connsiteX6" fmla="*/ 30599 w 149062"/>
                <a:gd name="connsiteY6" fmla="*/ 102217 h 144447"/>
                <a:gd name="connsiteX7" fmla="*/ 39552 w 149062"/>
                <a:gd name="connsiteY7" fmla="*/ 98788 h 144447"/>
                <a:gd name="connsiteX8" fmla="*/ 37838 w 149062"/>
                <a:gd name="connsiteY8" fmla="*/ 108313 h 144447"/>
                <a:gd name="connsiteX9" fmla="*/ 37838 w 149062"/>
                <a:gd name="connsiteY9" fmla="*/ 111456 h 144447"/>
                <a:gd name="connsiteX10" fmla="*/ 37838 w 149062"/>
                <a:gd name="connsiteY10" fmla="*/ 116314 h 144447"/>
                <a:gd name="connsiteX11" fmla="*/ 39743 w 149062"/>
                <a:gd name="connsiteY11" fmla="*/ 123934 h 144447"/>
                <a:gd name="connsiteX12" fmla="*/ 46125 w 149062"/>
                <a:gd name="connsiteY12" fmla="*/ 133459 h 144447"/>
                <a:gd name="connsiteX13" fmla="*/ 51840 w 149062"/>
                <a:gd name="connsiteY13" fmla="*/ 138317 h 144447"/>
                <a:gd name="connsiteX14" fmla="*/ 58888 w 149062"/>
                <a:gd name="connsiteY14" fmla="*/ 141936 h 144447"/>
                <a:gd name="connsiteX15" fmla="*/ 70128 w 149062"/>
                <a:gd name="connsiteY15" fmla="*/ 144413 h 144447"/>
                <a:gd name="connsiteX16" fmla="*/ 72985 w 149062"/>
                <a:gd name="connsiteY16" fmla="*/ 144413 h 144447"/>
                <a:gd name="connsiteX17" fmla="*/ 106989 w 149062"/>
                <a:gd name="connsiteY17" fmla="*/ 115838 h 144447"/>
                <a:gd name="connsiteX18" fmla="*/ 106989 w 149062"/>
                <a:gd name="connsiteY18" fmla="*/ 113266 h 144447"/>
                <a:gd name="connsiteX19" fmla="*/ 106989 w 149062"/>
                <a:gd name="connsiteY19" fmla="*/ 104503 h 144447"/>
                <a:gd name="connsiteX20" fmla="*/ 114990 w 149062"/>
                <a:gd name="connsiteY20" fmla="*/ 108313 h 144447"/>
                <a:gd name="connsiteX21" fmla="*/ 121658 w 149062"/>
                <a:gd name="connsiteY21" fmla="*/ 110123 h 144447"/>
                <a:gd name="connsiteX22" fmla="*/ 122991 w 149062"/>
                <a:gd name="connsiteY22" fmla="*/ 110123 h 144447"/>
                <a:gd name="connsiteX23" fmla="*/ 148899 w 149062"/>
                <a:gd name="connsiteY23" fmla="*/ 78024 h 144447"/>
                <a:gd name="connsiteX24" fmla="*/ 142994 w 149062"/>
                <a:gd name="connsiteY24" fmla="*/ 53068 h 144447"/>
                <a:gd name="connsiteX25" fmla="*/ 126325 w 149062"/>
                <a:gd name="connsiteY25" fmla="*/ 42972 h 144447"/>
                <a:gd name="connsiteX26" fmla="*/ 118896 w 149062"/>
                <a:gd name="connsiteY26" fmla="*/ 44019 h 144447"/>
                <a:gd name="connsiteX27" fmla="*/ 108704 w 149062"/>
                <a:gd name="connsiteY27" fmla="*/ 47544 h 144447"/>
                <a:gd name="connsiteX28" fmla="*/ 111942 w 149062"/>
                <a:gd name="connsiteY28" fmla="*/ 37257 h 144447"/>
                <a:gd name="connsiteX29" fmla="*/ 113085 w 149062"/>
                <a:gd name="connsiteY29" fmla="*/ 31542 h 144447"/>
                <a:gd name="connsiteX30" fmla="*/ 80510 w 149062"/>
                <a:gd name="connsiteY30" fmla="*/ 109 h 144447"/>
                <a:gd name="connsiteX31" fmla="*/ 77557 w 149062"/>
                <a:gd name="connsiteY31" fmla="*/ 109 h 144447"/>
                <a:gd name="connsiteX32" fmla="*/ 72223 w 149062"/>
                <a:gd name="connsiteY32" fmla="*/ 109 h 144447"/>
                <a:gd name="connsiteX33" fmla="*/ 65651 w 149062"/>
                <a:gd name="connsiteY33" fmla="*/ 21540 h 144447"/>
                <a:gd name="connsiteX34" fmla="*/ 45458 w 149062"/>
                <a:gd name="connsiteY34" fmla="*/ 39352 h 144447"/>
                <a:gd name="connsiteX35" fmla="*/ 59650 w 149062"/>
                <a:gd name="connsiteY35" fmla="*/ 75833 h 144447"/>
                <a:gd name="connsiteX36" fmla="*/ 55063 w 149062"/>
                <a:gd name="connsiteY36" fmla="*/ 70362 h 144447"/>
                <a:gd name="connsiteX37" fmla="*/ 55078 w 149062"/>
                <a:gd name="connsiteY37" fmla="*/ 70213 h 144447"/>
                <a:gd name="connsiteX38" fmla="*/ 60793 w 149062"/>
                <a:gd name="connsiteY38" fmla="*/ 65832 h 144447"/>
                <a:gd name="connsiteX39" fmla="*/ 65654 w 149062"/>
                <a:gd name="connsiteY39" fmla="*/ 71061 h 144447"/>
                <a:gd name="connsiteX40" fmla="*/ 60425 w 149062"/>
                <a:gd name="connsiteY40" fmla="*/ 75921 h 144447"/>
                <a:gd name="connsiteX41" fmla="*/ 59650 w 149062"/>
                <a:gd name="connsiteY41" fmla="*/ 75833 h 144447"/>
                <a:gd name="connsiteX42" fmla="*/ 71366 w 149062"/>
                <a:gd name="connsiteY42" fmla="*/ 84786 h 144447"/>
                <a:gd name="connsiteX43" fmla="*/ 65603 w 149062"/>
                <a:gd name="connsiteY43" fmla="*/ 89311 h 144447"/>
                <a:gd name="connsiteX44" fmla="*/ 61079 w 149062"/>
                <a:gd name="connsiteY44" fmla="*/ 83548 h 144447"/>
                <a:gd name="connsiteX45" fmla="*/ 66707 w 149062"/>
                <a:gd name="connsiteY45" fmla="*/ 79155 h 144447"/>
                <a:gd name="connsiteX46" fmla="*/ 66794 w 149062"/>
                <a:gd name="connsiteY46" fmla="*/ 79167 h 144447"/>
                <a:gd name="connsiteX47" fmla="*/ 70985 w 149062"/>
                <a:gd name="connsiteY47" fmla="*/ 84786 h 144447"/>
                <a:gd name="connsiteX48" fmla="*/ 74319 w 149062"/>
                <a:gd name="connsiteY48" fmla="*/ 59545 h 144447"/>
                <a:gd name="connsiteX49" fmla="*/ 68691 w 149062"/>
                <a:gd name="connsiteY49" fmla="*/ 63938 h 144447"/>
                <a:gd name="connsiteX50" fmla="*/ 68604 w 149062"/>
                <a:gd name="connsiteY50" fmla="*/ 63927 h 144447"/>
                <a:gd name="connsiteX51" fmla="*/ 63224 w 149062"/>
                <a:gd name="connsiteY51" fmla="*/ 59233 h 144447"/>
                <a:gd name="connsiteX52" fmla="*/ 67917 w 149062"/>
                <a:gd name="connsiteY52" fmla="*/ 53853 h 144447"/>
                <a:gd name="connsiteX53" fmla="*/ 69175 w 149062"/>
                <a:gd name="connsiteY53" fmla="*/ 53925 h 144447"/>
                <a:gd name="connsiteX54" fmla="*/ 73948 w 149062"/>
                <a:gd name="connsiteY54" fmla="*/ 59414 h 144447"/>
                <a:gd name="connsiteX55" fmla="*/ 73938 w 149062"/>
                <a:gd name="connsiteY55" fmla="*/ 59545 h 144447"/>
                <a:gd name="connsiteX56" fmla="*/ 85844 w 149062"/>
                <a:gd name="connsiteY56" fmla="*/ 86787 h 144447"/>
                <a:gd name="connsiteX57" fmla="*/ 80129 w 149062"/>
                <a:gd name="connsiteY57" fmla="*/ 91359 h 144447"/>
                <a:gd name="connsiteX58" fmla="*/ 75557 w 149062"/>
                <a:gd name="connsiteY58" fmla="*/ 85644 h 144447"/>
                <a:gd name="connsiteX59" fmla="*/ 81272 w 149062"/>
                <a:gd name="connsiteY59" fmla="*/ 81167 h 144447"/>
                <a:gd name="connsiteX60" fmla="*/ 85844 w 149062"/>
                <a:gd name="connsiteY60" fmla="*/ 86787 h 144447"/>
                <a:gd name="connsiteX61" fmla="*/ 95369 w 149062"/>
                <a:gd name="connsiteY61" fmla="*/ 75261 h 144447"/>
                <a:gd name="connsiteX62" fmla="*/ 89347 w 149062"/>
                <a:gd name="connsiteY62" fmla="*/ 79342 h 144447"/>
                <a:gd name="connsiteX63" fmla="*/ 85177 w 149062"/>
                <a:gd name="connsiteY63" fmla="*/ 74118 h 144447"/>
                <a:gd name="connsiteX64" fmla="*/ 90892 w 149062"/>
                <a:gd name="connsiteY64" fmla="*/ 69642 h 144447"/>
                <a:gd name="connsiteX65" fmla="*/ 95178 w 149062"/>
                <a:gd name="connsiteY65" fmla="*/ 74976 h 144447"/>
                <a:gd name="connsiteX66" fmla="*/ 85844 w 149062"/>
                <a:gd name="connsiteY66" fmla="*/ 56211 h 144447"/>
                <a:gd name="connsiteX67" fmla="*/ 90416 w 149062"/>
                <a:gd name="connsiteY67" fmla="*/ 61831 h 144447"/>
                <a:gd name="connsiteX68" fmla="*/ 84788 w 149062"/>
                <a:gd name="connsiteY68" fmla="*/ 66224 h 144447"/>
                <a:gd name="connsiteX69" fmla="*/ 84701 w 149062"/>
                <a:gd name="connsiteY69" fmla="*/ 66213 h 144447"/>
                <a:gd name="connsiteX70" fmla="*/ 79840 w 149062"/>
                <a:gd name="connsiteY70" fmla="*/ 60983 h 144447"/>
                <a:gd name="connsiteX71" fmla="*/ 85069 w 149062"/>
                <a:gd name="connsiteY71" fmla="*/ 56123 h 144447"/>
                <a:gd name="connsiteX72" fmla="*/ 85844 w 149062"/>
                <a:gd name="connsiteY72" fmla="*/ 56211 h 144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</a:cxnLst>
              <a:rect l="l" t="t" r="r" b="b"/>
              <a:pathLst>
                <a:path w="149062" h="144447">
                  <a:moveTo>
                    <a:pt x="40600" y="41638"/>
                  </a:moveTo>
                  <a:lnTo>
                    <a:pt x="37362" y="42686"/>
                  </a:lnTo>
                  <a:cubicBezTo>
                    <a:pt x="32844" y="44009"/>
                    <a:pt x="28162" y="44682"/>
                    <a:pt x="23455" y="44686"/>
                  </a:cubicBezTo>
                  <a:cubicBezTo>
                    <a:pt x="19114" y="44656"/>
                    <a:pt x="14794" y="44080"/>
                    <a:pt x="10596" y="42972"/>
                  </a:cubicBezTo>
                  <a:cubicBezTo>
                    <a:pt x="-1653" y="56838"/>
                    <a:pt x="-3467" y="77057"/>
                    <a:pt x="6120" y="92883"/>
                  </a:cubicBezTo>
                  <a:cubicBezTo>
                    <a:pt x="9568" y="98831"/>
                    <a:pt x="15662" y="102763"/>
                    <a:pt x="22503" y="103455"/>
                  </a:cubicBezTo>
                  <a:cubicBezTo>
                    <a:pt x="25260" y="103660"/>
                    <a:pt x="28028" y="103237"/>
                    <a:pt x="30599" y="102217"/>
                  </a:cubicBezTo>
                  <a:lnTo>
                    <a:pt x="39552" y="98788"/>
                  </a:lnTo>
                  <a:lnTo>
                    <a:pt x="37838" y="108313"/>
                  </a:lnTo>
                  <a:cubicBezTo>
                    <a:pt x="37838" y="109361"/>
                    <a:pt x="37838" y="110409"/>
                    <a:pt x="37838" y="111456"/>
                  </a:cubicBezTo>
                  <a:cubicBezTo>
                    <a:pt x="37694" y="113072"/>
                    <a:pt x="37694" y="114698"/>
                    <a:pt x="37838" y="116314"/>
                  </a:cubicBezTo>
                  <a:cubicBezTo>
                    <a:pt x="38119" y="118930"/>
                    <a:pt x="38760" y="121494"/>
                    <a:pt x="39743" y="123934"/>
                  </a:cubicBezTo>
                  <a:cubicBezTo>
                    <a:pt x="41248" y="127484"/>
                    <a:pt x="43414" y="130716"/>
                    <a:pt x="46125" y="133459"/>
                  </a:cubicBezTo>
                  <a:cubicBezTo>
                    <a:pt x="47871" y="135256"/>
                    <a:pt x="49785" y="136882"/>
                    <a:pt x="51840" y="138317"/>
                  </a:cubicBezTo>
                  <a:cubicBezTo>
                    <a:pt x="54057" y="139765"/>
                    <a:pt x="56419" y="140978"/>
                    <a:pt x="58888" y="141936"/>
                  </a:cubicBezTo>
                  <a:cubicBezTo>
                    <a:pt x="62469" y="143386"/>
                    <a:pt x="66269" y="144223"/>
                    <a:pt x="70128" y="144413"/>
                  </a:cubicBezTo>
                  <a:lnTo>
                    <a:pt x="72985" y="144413"/>
                  </a:lnTo>
                  <a:cubicBezTo>
                    <a:pt x="90031" y="145196"/>
                    <a:pt x="104825" y="132764"/>
                    <a:pt x="106989" y="115838"/>
                  </a:cubicBezTo>
                  <a:cubicBezTo>
                    <a:pt x="107037" y="114981"/>
                    <a:pt x="107037" y="114123"/>
                    <a:pt x="106989" y="113266"/>
                  </a:cubicBezTo>
                  <a:lnTo>
                    <a:pt x="106989" y="104503"/>
                  </a:lnTo>
                  <a:lnTo>
                    <a:pt x="114990" y="108313"/>
                  </a:lnTo>
                  <a:cubicBezTo>
                    <a:pt x="117094" y="109291"/>
                    <a:pt x="119349" y="109903"/>
                    <a:pt x="121658" y="110123"/>
                  </a:cubicBezTo>
                  <a:lnTo>
                    <a:pt x="122991" y="110123"/>
                  </a:lnTo>
                  <a:cubicBezTo>
                    <a:pt x="136231" y="110123"/>
                    <a:pt x="147661" y="96026"/>
                    <a:pt x="148899" y="78024"/>
                  </a:cubicBezTo>
                  <a:cubicBezTo>
                    <a:pt x="149687" y="69285"/>
                    <a:pt x="147615" y="60527"/>
                    <a:pt x="142994" y="53068"/>
                  </a:cubicBezTo>
                  <a:cubicBezTo>
                    <a:pt x="139312" y="47291"/>
                    <a:pt x="133150" y="43559"/>
                    <a:pt x="126325" y="42972"/>
                  </a:cubicBezTo>
                  <a:cubicBezTo>
                    <a:pt x="123803" y="42804"/>
                    <a:pt x="121273" y="43160"/>
                    <a:pt x="118896" y="44019"/>
                  </a:cubicBezTo>
                  <a:lnTo>
                    <a:pt x="108704" y="47544"/>
                  </a:lnTo>
                  <a:lnTo>
                    <a:pt x="111942" y="37257"/>
                  </a:lnTo>
                  <a:cubicBezTo>
                    <a:pt x="112524" y="35397"/>
                    <a:pt x="112907" y="33482"/>
                    <a:pt x="113085" y="31542"/>
                  </a:cubicBezTo>
                  <a:cubicBezTo>
                    <a:pt x="112618" y="13932"/>
                    <a:pt x="98124" y="-53"/>
                    <a:pt x="80510" y="109"/>
                  </a:cubicBezTo>
                  <a:lnTo>
                    <a:pt x="77557" y="109"/>
                  </a:lnTo>
                  <a:cubicBezTo>
                    <a:pt x="75782" y="-36"/>
                    <a:pt x="73998" y="-36"/>
                    <a:pt x="72223" y="109"/>
                  </a:cubicBezTo>
                  <a:cubicBezTo>
                    <a:pt x="71981" y="7711"/>
                    <a:pt x="69712" y="15110"/>
                    <a:pt x="65651" y="21540"/>
                  </a:cubicBezTo>
                  <a:cubicBezTo>
                    <a:pt x="60803" y="29321"/>
                    <a:pt x="53783" y="35513"/>
                    <a:pt x="45458" y="39352"/>
                  </a:cubicBezTo>
                  <a:close/>
                  <a:moveTo>
                    <a:pt x="59650" y="75833"/>
                  </a:moveTo>
                  <a:cubicBezTo>
                    <a:pt x="56873" y="75589"/>
                    <a:pt x="54819" y="73140"/>
                    <a:pt x="55063" y="70362"/>
                  </a:cubicBezTo>
                  <a:cubicBezTo>
                    <a:pt x="55067" y="70313"/>
                    <a:pt x="55072" y="70263"/>
                    <a:pt x="55078" y="70213"/>
                  </a:cubicBezTo>
                  <a:cubicBezTo>
                    <a:pt x="55518" y="67467"/>
                    <a:pt x="58027" y="65544"/>
                    <a:pt x="60793" y="65832"/>
                  </a:cubicBezTo>
                  <a:cubicBezTo>
                    <a:pt x="63579" y="65933"/>
                    <a:pt x="65756" y="68274"/>
                    <a:pt x="65654" y="71061"/>
                  </a:cubicBezTo>
                  <a:cubicBezTo>
                    <a:pt x="65552" y="73847"/>
                    <a:pt x="63211" y="76023"/>
                    <a:pt x="60425" y="75921"/>
                  </a:cubicBezTo>
                  <a:cubicBezTo>
                    <a:pt x="60165" y="75912"/>
                    <a:pt x="59906" y="75882"/>
                    <a:pt x="59650" y="75833"/>
                  </a:cubicBezTo>
                  <a:close/>
                  <a:moveTo>
                    <a:pt x="71366" y="84786"/>
                  </a:moveTo>
                  <a:cubicBezTo>
                    <a:pt x="71024" y="87627"/>
                    <a:pt x="68444" y="89653"/>
                    <a:pt x="65603" y="89311"/>
                  </a:cubicBezTo>
                  <a:cubicBezTo>
                    <a:pt x="62763" y="88969"/>
                    <a:pt x="60737" y="86389"/>
                    <a:pt x="61079" y="83548"/>
                  </a:cubicBezTo>
                  <a:cubicBezTo>
                    <a:pt x="61420" y="80781"/>
                    <a:pt x="63939" y="78814"/>
                    <a:pt x="66707" y="79155"/>
                  </a:cubicBezTo>
                  <a:cubicBezTo>
                    <a:pt x="66736" y="79159"/>
                    <a:pt x="66765" y="79162"/>
                    <a:pt x="66794" y="79167"/>
                  </a:cubicBezTo>
                  <a:cubicBezTo>
                    <a:pt x="69449" y="79650"/>
                    <a:pt x="71278" y="82104"/>
                    <a:pt x="70985" y="84786"/>
                  </a:cubicBezTo>
                  <a:close/>
                  <a:moveTo>
                    <a:pt x="74319" y="59545"/>
                  </a:moveTo>
                  <a:cubicBezTo>
                    <a:pt x="73978" y="62312"/>
                    <a:pt x="71458" y="64279"/>
                    <a:pt x="68691" y="63938"/>
                  </a:cubicBezTo>
                  <a:cubicBezTo>
                    <a:pt x="68662" y="63934"/>
                    <a:pt x="68633" y="63931"/>
                    <a:pt x="68604" y="63927"/>
                  </a:cubicBezTo>
                  <a:cubicBezTo>
                    <a:pt x="65822" y="64116"/>
                    <a:pt x="63413" y="62015"/>
                    <a:pt x="63224" y="59233"/>
                  </a:cubicBezTo>
                  <a:cubicBezTo>
                    <a:pt x="63034" y="56452"/>
                    <a:pt x="65136" y="54043"/>
                    <a:pt x="67917" y="53853"/>
                  </a:cubicBezTo>
                  <a:cubicBezTo>
                    <a:pt x="68338" y="53825"/>
                    <a:pt x="68760" y="53849"/>
                    <a:pt x="69175" y="53925"/>
                  </a:cubicBezTo>
                  <a:cubicBezTo>
                    <a:pt x="72009" y="54123"/>
                    <a:pt x="74146" y="56580"/>
                    <a:pt x="73948" y="59414"/>
                  </a:cubicBezTo>
                  <a:cubicBezTo>
                    <a:pt x="73945" y="59458"/>
                    <a:pt x="73942" y="59501"/>
                    <a:pt x="73938" y="59545"/>
                  </a:cubicBezTo>
                  <a:close/>
                  <a:moveTo>
                    <a:pt x="85844" y="86787"/>
                  </a:moveTo>
                  <a:cubicBezTo>
                    <a:pt x="85528" y="89627"/>
                    <a:pt x="82970" y="91674"/>
                    <a:pt x="80129" y="91359"/>
                  </a:cubicBezTo>
                  <a:cubicBezTo>
                    <a:pt x="77288" y="91043"/>
                    <a:pt x="75241" y="88484"/>
                    <a:pt x="75557" y="85644"/>
                  </a:cubicBezTo>
                  <a:cubicBezTo>
                    <a:pt x="75952" y="82859"/>
                    <a:pt x="78474" y="80883"/>
                    <a:pt x="81272" y="81167"/>
                  </a:cubicBezTo>
                  <a:cubicBezTo>
                    <a:pt x="84080" y="81467"/>
                    <a:pt x="86121" y="83976"/>
                    <a:pt x="85844" y="86787"/>
                  </a:cubicBezTo>
                  <a:close/>
                  <a:moveTo>
                    <a:pt x="95369" y="75261"/>
                  </a:moveTo>
                  <a:cubicBezTo>
                    <a:pt x="94833" y="78051"/>
                    <a:pt x="92137" y="79878"/>
                    <a:pt x="89347" y="79342"/>
                  </a:cubicBezTo>
                  <a:cubicBezTo>
                    <a:pt x="86861" y="78865"/>
                    <a:pt x="85092" y="76649"/>
                    <a:pt x="85177" y="74118"/>
                  </a:cubicBezTo>
                  <a:cubicBezTo>
                    <a:pt x="85524" y="71307"/>
                    <a:pt x="88079" y="69305"/>
                    <a:pt x="90892" y="69642"/>
                  </a:cubicBezTo>
                  <a:cubicBezTo>
                    <a:pt x="93492" y="70032"/>
                    <a:pt x="95356" y="72353"/>
                    <a:pt x="95178" y="74976"/>
                  </a:cubicBezTo>
                  <a:close/>
                  <a:moveTo>
                    <a:pt x="85844" y="56211"/>
                  </a:moveTo>
                  <a:cubicBezTo>
                    <a:pt x="88652" y="56511"/>
                    <a:pt x="90693" y="59020"/>
                    <a:pt x="90416" y="61831"/>
                  </a:cubicBezTo>
                  <a:cubicBezTo>
                    <a:pt x="90075" y="64598"/>
                    <a:pt x="87555" y="66565"/>
                    <a:pt x="84788" y="66224"/>
                  </a:cubicBezTo>
                  <a:cubicBezTo>
                    <a:pt x="84759" y="66220"/>
                    <a:pt x="84730" y="66217"/>
                    <a:pt x="84701" y="66213"/>
                  </a:cubicBezTo>
                  <a:cubicBezTo>
                    <a:pt x="81915" y="66111"/>
                    <a:pt x="79738" y="63770"/>
                    <a:pt x="79840" y="60983"/>
                  </a:cubicBezTo>
                  <a:cubicBezTo>
                    <a:pt x="79942" y="58197"/>
                    <a:pt x="82283" y="56021"/>
                    <a:pt x="85069" y="56123"/>
                  </a:cubicBezTo>
                  <a:cubicBezTo>
                    <a:pt x="85329" y="56132"/>
                    <a:pt x="85588" y="56162"/>
                    <a:pt x="85844" y="5621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8" name="Freihandform: Form 593">
              <a:extLst>
                <a:ext uri="{FF2B5EF4-FFF2-40B4-BE49-F238E27FC236}">
                  <a16:creationId xmlns:a16="http://schemas.microsoft.com/office/drawing/2014/main" id="{26471C35-A476-4000-8162-EB621B7C56F1}"/>
                </a:ext>
              </a:extLst>
            </p:cNvPr>
            <p:cNvSpPr/>
            <p:nvPr/>
          </p:nvSpPr>
          <p:spPr>
            <a:xfrm>
              <a:off x="1087298" y="2202045"/>
              <a:ext cx="141190" cy="137669"/>
            </a:xfrm>
            <a:custGeom>
              <a:avLst/>
              <a:gdLst>
                <a:gd name="connsiteX0" fmla="*/ 6526 w 141190"/>
                <a:gd name="connsiteY0" fmla="*/ 100427 h 137669"/>
                <a:gd name="connsiteX1" fmla="*/ 12431 w 141190"/>
                <a:gd name="connsiteY1" fmla="*/ 107951 h 137669"/>
                <a:gd name="connsiteX2" fmla="*/ 16432 w 141190"/>
                <a:gd name="connsiteY2" fmla="*/ 111476 h 137669"/>
                <a:gd name="connsiteX3" fmla="*/ 31767 w 141190"/>
                <a:gd name="connsiteY3" fmla="*/ 116905 h 137669"/>
                <a:gd name="connsiteX4" fmla="*/ 37672 w 141190"/>
                <a:gd name="connsiteY4" fmla="*/ 116048 h 137669"/>
                <a:gd name="connsiteX5" fmla="*/ 45959 w 141190"/>
                <a:gd name="connsiteY5" fmla="*/ 111476 h 137669"/>
                <a:gd name="connsiteX6" fmla="*/ 46721 w 141190"/>
                <a:gd name="connsiteY6" fmla="*/ 114714 h 137669"/>
                <a:gd name="connsiteX7" fmla="*/ 64533 w 141190"/>
                <a:gd name="connsiteY7" fmla="*/ 134526 h 137669"/>
                <a:gd name="connsiteX8" fmla="*/ 71391 w 141190"/>
                <a:gd name="connsiteY8" fmla="*/ 136717 h 137669"/>
                <a:gd name="connsiteX9" fmla="*/ 79487 w 141190"/>
                <a:gd name="connsiteY9" fmla="*/ 137669 h 137669"/>
                <a:gd name="connsiteX10" fmla="*/ 90346 w 141190"/>
                <a:gd name="connsiteY10" fmla="*/ 136050 h 137669"/>
                <a:gd name="connsiteX11" fmla="*/ 90822 w 141190"/>
                <a:gd name="connsiteY11" fmla="*/ 136050 h 137669"/>
                <a:gd name="connsiteX12" fmla="*/ 94251 w 141190"/>
                <a:gd name="connsiteY12" fmla="*/ 134907 h 137669"/>
                <a:gd name="connsiteX13" fmla="*/ 99490 w 141190"/>
                <a:gd name="connsiteY13" fmla="*/ 132240 h 137669"/>
                <a:gd name="connsiteX14" fmla="*/ 116825 w 141190"/>
                <a:gd name="connsiteY14" fmla="*/ 107475 h 137669"/>
                <a:gd name="connsiteX15" fmla="*/ 116825 w 141190"/>
                <a:gd name="connsiteY15" fmla="*/ 101474 h 137669"/>
                <a:gd name="connsiteX16" fmla="*/ 116063 w 141190"/>
                <a:gd name="connsiteY16" fmla="*/ 96045 h 137669"/>
                <a:gd name="connsiteX17" fmla="*/ 115873 w 141190"/>
                <a:gd name="connsiteY17" fmla="*/ 95283 h 137669"/>
                <a:gd name="connsiteX18" fmla="*/ 115015 w 141190"/>
                <a:gd name="connsiteY18" fmla="*/ 92616 h 137669"/>
                <a:gd name="connsiteX19" fmla="*/ 117206 w 141190"/>
                <a:gd name="connsiteY19" fmla="*/ 92616 h 137669"/>
                <a:gd name="connsiteX20" fmla="*/ 123112 w 141190"/>
                <a:gd name="connsiteY20" fmla="*/ 91759 h 137669"/>
                <a:gd name="connsiteX21" fmla="*/ 139399 w 141190"/>
                <a:gd name="connsiteY21" fmla="*/ 50325 h 137669"/>
                <a:gd name="connsiteX22" fmla="*/ 109491 w 141190"/>
                <a:gd name="connsiteY22" fmla="*/ 23084 h 137669"/>
                <a:gd name="connsiteX23" fmla="*/ 103585 w 141190"/>
                <a:gd name="connsiteY23" fmla="*/ 23941 h 137669"/>
                <a:gd name="connsiteX24" fmla="*/ 95775 w 141190"/>
                <a:gd name="connsiteY24" fmla="*/ 28037 h 137669"/>
                <a:gd name="connsiteX25" fmla="*/ 94822 w 141190"/>
                <a:gd name="connsiteY25" fmla="*/ 21750 h 137669"/>
                <a:gd name="connsiteX26" fmla="*/ 63199 w 141190"/>
                <a:gd name="connsiteY26" fmla="*/ 33 h 137669"/>
                <a:gd name="connsiteX27" fmla="*/ 51674 w 141190"/>
                <a:gd name="connsiteY27" fmla="*/ 1652 h 137669"/>
                <a:gd name="connsiteX28" fmla="*/ 25671 w 141190"/>
                <a:gd name="connsiteY28" fmla="*/ 41372 h 137669"/>
                <a:gd name="connsiteX29" fmla="*/ 28528 w 141190"/>
                <a:gd name="connsiteY29" fmla="*/ 47849 h 137669"/>
                <a:gd name="connsiteX30" fmla="*/ 24052 w 141190"/>
                <a:gd name="connsiteY30" fmla="*/ 47849 h 137669"/>
                <a:gd name="connsiteX31" fmla="*/ 18241 w 141190"/>
                <a:gd name="connsiteY31" fmla="*/ 48706 h 137669"/>
                <a:gd name="connsiteX32" fmla="*/ 3478 w 141190"/>
                <a:gd name="connsiteY32" fmla="*/ 61374 h 137669"/>
                <a:gd name="connsiteX33" fmla="*/ 1858 w 141190"/>
                <a:gd name="connsiteY33" fmla="*/ 89949 h 137669"/>
                <a:gd name="connsiteX34" fmla="*/ 6526 w 141190"/>
                <a:gd name="connsiteY34" fmla="*/ 100427 h 137669"/>
                <a:gd name="connsiteX35" fmla="*/ 81297 w 141190"/>
                <a:gd name="connsiteY35" fmla="*/ 82901 h 137669"/>
                <a:gd name="connsiteX36" fmla="*/ 75677 w 141190"/>
                <a:gd name="connsiteY36" fmla="*/ 79567 h 137669"/>
                <a:gd name="connsiteX37" fmla="*/ 79080 w 141190"/>
                <a:gd name="connsiteY37" fmla="*/ 74069 h 137669"/>
                <a:gd name="connsiteX38" fmla="*/ 79201 w 141190"/>
                <a:gd name="connsiteY38" fmla="*/ 74042 h 137669"/>
                <a:gd name="connsiteX39" fmla="*/ 84726 w 141190"/>
                <a:gd name="connsiteY39" fmla="*/ 77376 h 137669"/>
                <a:gd name="connsiteX40" fmla="*/ 81347 w 141190"/>
                <a:gd name="connsiteY40" fmla="*/ 82889 h 137669"/>
                <a:gd name="connsiteX41" fmla="*/ 81297 w 141190"/>
                <a:gd name="connsiteY41" fmla="*/ 82901 h 137669"/>
                <a:gd name="connsiteX42" fmla="*/ 83488 w 141190"/>
                <a:gd name="connsiteY42" fmla="*/ 61374 h 137669"/>
                <a:gd name="connsiteX43" fmla="*/ 89107 w 141190"/>
                <a:gd name="connsiteY43" fmla="*/ 64803 h 137669"/>
                <a:gd name="connsiteX44" fmla="*/ 85393 w 141190"/>
                <a:gd name="connsiteY44" fmla="*/ 70613 h 137669"/>
                <a:gd name="connsiteX45" fmla="*/ 79582 w 141190"/>
                <a:gd name="connsiteY45" fmla="*/ 66899 h 137669"/>
                <a:gd name="connsiteX46" fmla="*/ 83255 w 141190"/>
                <a:gd name="connsiteY46" fmla="*/ 61414 h 137669"/>
                <a:gd name="connsiteX47" fmla="*/ 83488 w 141190"/>
                <a:gd name="connsiteY47" fmla="*/ 61374 h 137669"/>
                <a:gd name="connsiteX48" fmla="*/ 74629 w 141190"/>
                <a:gd name="connsiteY48" fmla="*/ 51849 h 137669"/>
                <a:gd name="connsiteX49" fmla="*/ 80249 w 141190"/>
                <a:gd name="connsiteY49" fmla="*/ 55183 h 137669"/>
                <a:gd name="connsiteX50" fmla="*/ 76939 w 141190"/>
                <a:gd name="connsiteY50" fmla="*/ 60893 h 137669"/>
                <a:gd name="connsiteX51" fmla="*/ 71228 w 141190"/>
                <a:gd name="connsiteY51" fmla="*/ 57582 h 137669"/>
                <a:gd name="connsiteX52" fmla="*/ 74539 w 141190"/>
                <a:gd name="connsiteY52" fmla="*/ 51872 h 137669"/>
                <a:gd name="connsiteX53" fmla="*/ 74629 w 141190"/>
                <a:gd name="connsiteY53" fmla="*/ 51849 h 137669"/>
                <a:gd name="connsiteX54" fmla="*/ 71581 w 141190"/>
                <a:gd name="connsiteY54" fmla="*/ 80424 h 137669"/>
                <a:gd name="connsiteX55" fmla="*/ 68252 w 141190"/>
                <a:gd name="connsiteY55" fmla="*/ 85967 h 137669"/>
                <a:gd name="connsiteX56" fmla="*/ 62709 w 141190"/>
                <a:gd name="connsiteY56" fmla="*/ 82638 h 137669"/>
                <a:gd name="connsiteX57" fmla="*/ 66039 w 141190"/>
                <a:gd name="connsiteY57" fmla="*/ 77095 h 137669"/>
                <a:gd name="connsiteX58" fmla="*/ 66057 w 141190"/>
                <a:gd name="connsiteY58" fmla="*/ 77090 h 137669"/>
                <a:gd name="connsiteX59" fmla="*/ 71570 w 141190"/>
                <a:gd name="connsiteY59" fmla="*/ 80469 h 137669"/>
                <a:gd name="connsiteX60" fmla="*/ 71581 w 141190"/>
                <a:gd name="connsiteY60" fmla="*/ 80519 h 137669"/>
                <a:gd name="connsiteX61" fmla="*/ 60723 w 141190"/>
                <a:gd name="connsiteY61" fmla="*/ 54992 h 137669"/>
                <a:gd name="connsiteX62" fmla="*/ 66197 w 141190"/>
                <a:gd name="connsiteY62" fmla="*/ 58433 h 137669"/>
                <a:gd name="connsiteX63" fmla="*/ 62756 w 141190"/>
                <a:gd name="connsiteY63" fmla="*/ 63907 h 137669"/>
                <a:gd name="connsiteX64" fmla="*/ 57294 w 141190"/>
                <a:gd name="connsiteY64" fmla="*/ 60517 h 137669"/>
                <a:gd name="connsiteX65" fmla="*/ 60723 w 141190"/>
                <a:gd name="connsiteY65" fmla="*/ 54992 h 137669"/>
                <a:gd name="connsiteX66" fmla="*/ 56818 w 141190"/>
                <a:gd name="connsiteY66" fmla="*/ 67756 h 137669"/>
                <a:gd name="connsiteX67" fmla="*/ 62437 w 141190"/>
                <a:gd name="connsiteY67" fmla="*/ 71185 h 137669"/>
                <a:gd name="connsiteX68" fmla="*/ 58723 w 141190"/>
                <a:gd name="connsiteY68" fmla="*/ 76233 h 137669"/>
                <a:gd name="connsiteX69" fmla="*/ 53127 w 141190"/>
                <a:gd name="connsiteY69" fmla="*/ 72993 h 137669"/>
                <a:gd name="connsiteX70" fmla="*/ 53103 w 141190"/>
                <a:gd name="connsiteY70" fmla="*/ 72899 h 137669"/>
                <a:gd name="connsiteX71" fmla="*/ 56818 w 141190"/>
                <a:gd name="connsiteY71" fmla="*/ 67756 h 137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141190" h="137669">
                  <a:moveTo>
                    <a:pt x="6526" y="100427"/>
                  </a:moveTo>
                  <a:cubicBezTo>
                    <a:pt x="8178" y="103168"/>
                    <a:pt x="10161" y="105695"/>
                    <a:pt x="12431" y="107951"/>
                  </a:cubicBezTo>
                  <a:cubicBezTo>
                    <a:pt x="13649" y="109251"/>
                    <a:pt x="14989" y="110431"/>
                    <a:pt x="16432" y="111476"/>
                  </a:cubicBezTo>
                  <a:cubicBezTo>
                    <a:pt x="20838" y="114867"/>
                    <a:pt x="26209" y="116768"/>
                    <a:pt x="31767" y="116905"/>
                  </a:cubicBezTo>
                  <a:cubicBezTo>
                    <a:pt x="33767" y="116908"/>
                    <a:pt x="35756" y="116619"/>
                    <a:pt x="37672" y="116048"/>
                  </a:cubicBezTo>
                  <a:cubicBezTo>
                    <a:pt x="40749" y="115179"/>
                    <a:pt x="43584" y="113614"/>
                    <a:pt x="45959" y="111476"/>
                  </a:cubicBezTo>
                  <a:cubicBezTo>
                    <a:pt x="46157" y="112567"/>
                    <a:pt x="46412" y="113648"/>
                    <a:pt x="46721" y="114714"/>
                  </a:cubicBezTo>
                  <a:cubicBezTo>
                    <a:pt x="49404" y="123645"/>
                    <a:pt x="55936" y="130911"/>
                    <a:pt x="64533" y="134526"/>
                  </a:cubicBezTo>
                  <a:cubicBezTo>
                    <a:pt x="66735" y="135498"/>
                    <a:pt x="69034" y="136232"/>
                    <a:pt x="71391" y="136717"/>
                  </a:cubicBezTo>
                  <a:cubicBezTo>
                    <a:pt x="74046" y="137332"/>
                    <a:pt x="76762" y="137651"/>
                    <a:pt x="79487" y="137669"/>
                  </a:cubicBezTo>
                  <a:cubicBezTo>
                    <a:pt x="83168" y="137685"/>
                    <a:pt x="86830" y="137139"/>
                    <a:pt x="90346" y="136050"/>
                  </a:cubicBezTo>
                  <a:lnTo>
                    <a:pt x="90822" y="136050"/>
                  </a:lnTo>
                  <a:lnTo>
                    <a:pt x="94251" y="134907"/>
                  </a:lnTo>
                  <a:cubicBezTo>
                    <a:pt x="96062" y="134152"/>
                    <a:pt x="97813" y="133260"/>
                    <a:pt x="99490" y="132240"/>
                  </a:cubicBezTo>
                  <a:cubicBezTo>
                    <a:pt x="108733" y="127050"/>
                    <a:pt x="115112" y="117936"/>
                    <a:pt x="116825" y="107475"/>
                  </a:cubicBezTo>
                  <a:cubicBezTo>
                    <a:pt x="117015" y="105479"/>
                    <a:pt x="117015" y="103470"/>
                    <a:pt x="116825" y="101474"/>
                  </a:cubicBezTo>
                  <a:cubicBezTo>
                    <a:pt x="116712" y="99648"/>
                    <a:pt x="116457" y="97832"/>
                    <a:pt x="116063" y="96045"/>
                  </a:cubicBezTo>
                  <a:cubicBezTo>
                    <a:pt x="116018" y="95787"/>
                    <a:pt x="115955" y="95532"/>
                    <a:pt x="115873" y="95283"/>
                  </a:cubicBezTo>
                  <a:cubicBezTo>
                    <a:pt x="115873" y="94426"/>
                    <a:pt x="115301" y="93473"/>
                    <a:pt x="115015" y="92616"/>
                  </a:cubicBezTo>
                  <a:lnTo>
                    <a:pt x="117206" y="92616"/>
                  </a:lnTo>
                  <a:cubicBezTo>
                    <a:pt x="119205" y="92605"/>
                    <a:pt x="121192" y="92316"/>
                    <a:pt x="123112" y="91759"/>
                  </a:cubicBezTo>
                  <a:cubicBezTo>
                    <a:pt x="137494" y="87568"/>
                    <a:pt x="144829" y="69089"/>
                    <a:pt x="139399" y="50325"/>
                  </a:cubicBezTo>
                  <a:cubicBezTo>
                    <a:pt x="136364" y="35736"/>
                    <a:pt x="124300" y="24747"/>
                    <a:pt x="109491" y="23084"/>
                  </a:cubicBezTo>
                  <a:cubicBezTo>
                    <a:pt x="107491" y="23081"/>
                    <a:pt x="105502" y="23370"/>
                    <a:pt x="103585" y="23941"/>
                  </a:cubicBezTo>
                  <a:cubicBezTo>
                    <a:pt x="100731" y="24762"/>
                    <a:pt x="98074" y="26156"/>
                    <a:pt x="95775" y="28037"/>
                  </a:cubicBezTo>
                  <a:cubicBezTo>
                    <a:pt x="95739" y="25908"/>
                    <a:pt x="95418" y="23794"/>
                    <a:pt x="94822" y="21750"/>
                  </a:cubicBezTo>
                  <a:cubicBezTo>
                    <a:pt x="90322" y="8255"/>
                    <a:pt x="77410" y="-612"/>
                    <a:pt x="63199" y="33"/>
                  </a:cubicBezTo>
                  <a:cubicBezTo>
                    <a:pt x="59303" y="63"/>
                    <a:pt x="55428" y="608"/>
                    <a:pt x="51674" y="1652"/>
                  </a:cubicBezTo>
                  <a:cubicBezTo>
                    <a:pt x="33575" y="5513"/>
                    <a:pt x="21970" y="23239"/>
                    <a:pt x="25671" y="41372"/>
                  </a:cubicBezTo>
                  <a:cubicBezTo>
                    <a:pt x="26327" y="43649"/>
                    <a:pt x="27288" y="45828"/>
                    <a:pt x="28528" y="47849"/>
                  </a:cubicBezTo>
                  <a:cubicBezTo>
                    <a:pt x="27040" y="47708"/>
                    <a:pt x="25541" y="47708"/>
                    <a:pt x="24052" y="47849"/>
                  </a:cubicBezTo>
                  <a:cubicBezTo>
                    <a:pt x="22084" y="47854"/>
                    <a:pt x="20127" y="48142"/>
                    <a:pt x="18241" y="48706"/>
                  </a:cubicBezTo>
                  <a:cubicBezTo>
                    <a:pt x="11747" y="50645"/>
                    <a:pt x="6381" y="55249"/>
                    <a:pt x="3478" y="61374"/>
                  </a:cubicBezTo>
                  <a:cubicBezTo>
                    <a:pt x="-515" y="70386"/>
                    <a:pt x="-1090" y="80544"/>
                    <a:pt x="1858" y="89949"/>
                  </a:cubicBezTo>
                  <a:cubicBezTo>
                    <a:pt x="2986" y="93617"/>
                    <a:pt x="4554" y="97135"/>
                    <a:pt x="6526" y="100427"/>
                  </a:cubicBezTo>
                  <a:close/>
                  <a:moveTo>
                    <a:pt x="81297" y="82901"/>
                  </a:moveTo>
                  <a:cubicBezTo>
                    <a:pt x="78828" y="83505"/>
                    <a:pt x="76330" y="82023"/>
                    <a:pt x="75677" y="79567"/>
                  </a:cubicBezTo>
                  <a:cubicBezTo>
                    <a:pt x="75099" y="77109"/>
                    <a:pt x="76622" y="74647"/>
                    <a:pt x="79080" y="74069"/>
                  </a:cubicBezTo>
                  <a:cubicBezTo>
                    <a:pt x="79121" y="74060"/>
                    <a:pt x="79161" y="74051"/>
                    <a:pt x="79201" y="74042"/>
                  </a:cubicBezTo>
                  <a:cubicBezTo>
                    <a:pt x="81647" y="73443"/>
                    <a:pt x="84116" y="74933"/>
                    <a:pt x="84726" y="77376"/>
                  </a:cubicBezTo>
                  <a:cubicBezTo>
                    <a:pt x="85315" y="79831"/>
                    <a:pt x="83802" y="82299"/>
                    <a:pt x="81347" y="82889"/>
                  </a:cubicBezTo>
                  <a:cubicBezTo>
                    <a:pt x="81330" y="82893"/>
                    <a:pt x="81314" y="82897"/>
                    <a:pt x="81297" y="82901"/>
                  </a:cubicBezTo>
                  <a:close/>
                  <a:moveTo>
                    <a:pt x="83488" y="61374"/>
                  </a:moveTo>
                  <a:cubicBezTo>
                    <a:pt x="85985" y="60776"/>
                    <a:pt x="88497" y="62309"/>
                    <a:pt x="89107" y="64803"/>
                  </a:cubicBezTo>
                  <a:cubicBezTo>
                    <a:pt x="89686" y="67433"/>
                    <a:pt x="88023" y="70035"/>
                    <a:pt x="85393" y="70613"/>
                  </a:cubicBezTo>
                  <a:cubicBezTo>
                    <a:pt x="82762" y="71192"/>
                    <a:pt x="80161" y="69529"/>
                    <a:pt x="79582" y="66899"/>
                  </a:cubicBezTo>
                  <a:cubicBezTo>
                    <a:pt x="79082" y="64370"/>
                    <a:pt x="80726" y="61914"/>
                    <a:pt x="83255" y="61414"/>
                  </a:cubicBezTo>
                  <a:cubicBezTo>
                    <a:pt x="83332" y="61399"/>
                    <a:pt x="83410" y="61385"/>
                    <a:pt x="83488" y="61374"/>
                  </a:cubicBezTo>
                  <a:close/>
                  <a:moveTo>
                    <a:pt x="74629" y="51849"/>
                  </a:moveTo>
                  <a:cubicBezTo>
                    <a:pt x="77098" y="51245"/>
                    <a:pt x="79596" y="52727"/>
                    <a:pt x="80249" y="55183"/>
                  </a:cubicBezTo>
                  <a:cubicBezTo>
                    <a:pt x="80912" y="57674"/>
                    <a:pt x="79430" y="60230"/>
                    <a:pt x="76939" y="60893"/>
                  </a:cubicBezTo>
                  <a:cubicBezTo>
                    <a:pt x="74447" y="61556"/>
                    <a:pt x="71891" y="60073"/>
                    <a:pt x="71228" y="57582"/>
                  </a:cubicBezTo>
                  <a:cubicBezTo>
                    <a:pt x="70566" y="55091"/>
                    <a:pt x="72048" y="52535"/>
                    <a:pt x="74539" y="51872"/>
                  </a:cubicBezTo>
                  <a:cubicBezTo>
                    <a:pt x="74569" y="51864"/>
                    <a:pt x="74599" y="51856"/>
                    <a:pt x="74629" y="51849"/>
                  </a:cubicBezTo>
                  <a:close/>
                  <a:moveTo>
                    <a:pt x="71581" y="80424"/>
                  </a:moveTo>
                  <a:cubicBezTo>
                    <a:pt x="72193" y="82874"/>
                    <a:pt x="70702" y="85356"/>
                    <a:pt x="68252" y="85967"/>
                  </a:cubicBezTo>
                  <a:cubicBezTo>
                    <a:pt x="65802" y="86578"/>
                    <a:pt x="63321" y="85088"/>
                    <a:pt x="62709" y="82638"/>
                  </a:cubicBezTo>
                  <a:cubicBezTo>
                    <a:pt x="62098" y="80188"/>
                    <a:pt x="63589" y="77706"/>
                    <a:pt x="66039" y="77095"/>
                  </a:cubicBezTo>
                  <a:cubicBezTo>
                    <a:pt x="66045" y="77093"/>
                    <a:pt x="66051" y="77092"/>
                    <a:pt x="66057" y="77090"/>
                  </a:cubicBezTo>
                  <a:cubicBezTo>
                    <a:pt x="68512" y="76501"/>
                    <a:pt x="70980" y="78014"/>
                    <a:pt x="71570" y="80469"/>
                  </a:cubicBezTo>
                  <a:cubicBezTo>
                    <a:pt x="71574" y="80486"/>
                    <a:pt x="71578" y="80503"/>
                    <a:pt x="71581" y="80519"/>
                  </a:cubicBezTo>
                  <a:close/>
                  <a:moveTo>
                    <a:pt x="60723" y="54992"/>
                  </a:moveTo>
                  <a:cubicBezTo>
                    <a:pt x="63185" y="54431"/>
                    <a:pt x="65636" y="55971"/>
                    <a:pt x="66197" y="58433"/>
                  </a:cubicBezTo>
                  <a:cubicBezTo>
                    <a:pt x="66759" y="60895"/>
                    <a:pt x="65218" y="63346"/>
                    <a:pt x="62756" y="63907"/>
                  </a:cubicBezTo>
                  <a:cubicBezTo>
                    <a:pt x="60314" y="64464"/>
                    <a:pt x="57879" y="62953"/>
                    <a:pt x="57294" y="60517"/>
                  </a:cubicBezTo>
                  <a:cubicBezTo>
                    <a:pt x="56755" y="58051"/>
                    <a:pt x="58274" y="55604"/>
                    <a:pt x="60723" y="54992"/>
                  </a:cubicBezTo>
                  <a:close/>
                  <a:moveTo>
                    <a:pt x="56818" y="67756"/>
                  </a:moveTo>
                  <a:cubicBezTo>
                    <a:pt x="59315" y="67158"/>
                    <a:pt x="61827" y="68690"/>
                    <a:pt x="62437" y="71185"/>
                  </a:cubicBezTo>
                  <a:cubicBezTo>
                    <a:pt x="62729" y="73585"/>
                    <a:pt x="61101" y="75797"/>
                    <a:pt x="58723" y="76233"/>
                  </a:cubicBezTo>
                  <a:cubicBezTo>
                    <a:pt x="56283" y="76884"/>
                    <a:pt x="53778" y="75433"/>
                    <a:pt x="53127" y="72993"/>
                  </a:cubicBezTo>
                  <a:cubicBezTo>
                    <a:pt x="53119" y="72962"/>
                    <a:pt x="53111" y="72931"/>
                    <a:pt x="53103" y="72899"/>
                  </a:cubicBezTo>
                  <a:cubicBezTo>
                    <a:pt x="52806" y="70477"/>
                    <a:pt x="54425" y="68236"/>
                    <a:pt x="56818" y="677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29" name="Grafik 3">
            <a:extLst>
              <a:ext uri="{FF2B5EF4-FFF2-40B4-BE49-F238E27FC236}">
                <a16:creationId xmlns:a16="http://schemas.microsoft.com/office/drawing/2014/main" id="{A29E2C75-AC90-4E89-A49A-586BB83D32A0}"/>
              </a:ext>
            </a:extLst>
          </p:cNvPr>
          <p:cNvGrpSpPr/>
          <p:nvPr/>
        </p:nvGrpSpPr>
        <p:grpSpPr>
          <a:xfrm>
            <a:off x="1028735" y="3410843"/>
            <a:ext cx="453465" cy="490603"/>
            <a:chOff x="6504963" y="2488434"/>
            <a:chExt cx="386431" cy="418079"/>
          </a:xfrm>
          <a:solidFill>
            <a:srgbClr val="808080"/>
          </a:solidFill>
        </p:grpSpPr>
        <p:sp>
          <p:nvSpPr>
            <p:cNvPr id="230" name="Freihandform: Form 17">
              <a:extLst>
                <a:ext uri="{FF2B5EF4-FFF2-40B4-BE49-F238E27FC236}">
                  <a16:creationId xmlns:a16="http://schemas.microsoft.com/office/drawing/2014/main" id="{C94A194C-D217-421F-ADC7-3E770C2C7797}"/>
                </a:ext>
              </a:extLst>
            </p:cNvPr>
            <p:cNvSpPr/>
            <p:nvPr/>
          </p:nvSpPr>
          <p:spPr>
            <a:xfrm>
              <a:off x="6504963" y="2580204"/>
              <a:ext cx="198469" cy="326309"/>
            </a:xfrm>
            <a:custGeom>
              <a:avLst/>
              <a:gdLst>
                <a:gd name="connsiteX0" fmla="*/ 190763 w 198469"/>
                <a:gd name="connsiteY0" fmla="*/ 211862 h 326309"/>
                <a:gd name="connsiteX1" fmla="*/ 47888 w 198469"/>
                <a:gd name="connsiteY1" fmla="*/ 236532 h 326309"/>
                <a:gd name="connsiteX2" fmla="*/ 131136 w 198469"/>
                <a:gd name="connsiteY2" fmla="*/ 120803 h 326309"/>
                <a:gd name="connsiteX3" fmla="*/ 141518 w 198469"/>
                <a:gd name="connsiteY3" fmla="*/ 93467 h 326309"/>
                <a:gd name="connsiteX4" fmla="*/ 142852 w 198469"/>
                <a:gd name="connsiteY4" fmla="*/ 90895 h 326309"/>
                <a:gd name="connsiteX5" fmla="*/ 140185 w 198469"/>
                <a:gd name="connsiteY5" fmla="*/ 93467 h 326309"/>
                <a:gd name="connsiteX6" fmla="*/ 89512 w 198469"/>
                <a:gd name="connsiteY6" fmla="*/ 135091 h 326309"/>
                <a:gd name="connsiteX7" fmla="*/ 45983 w 198469"/>
                <a:gd name="connsiteY7" fmla="*/ 3360 h 326309"/>
                <a:gd name="connsiteX8" fmla="*/ 29415 w 198469"/>
                <a:gd name="connsiteY8" fmla="*/ 3503 h 326309"/>
                <a:gd name="connsiteX9" fmla="*/ 26933 w 198469"/>
                <a:gd name="connsiteY9" fmla="*/ 7265 h 326309"/>
                <a:gd name="connsiteX10" fmla="*/ 19122 w 198469"/>
                <a:gd name="connsiteY10" fmla="*/ 90514 h 326309"/>
                <a:gd name="connsiteX11" fmla="*/ 65985 w 198469"/>
                <a:gd name="connsiteY11" fmla="*/ 163285 h 326309"/>
                <a:gd name="connsiteX12" fmla="*/ 263 w 198469"/>
                <a:gd name="connsiteY12" fmla="*/ 310732 h 326309"/>
                <a:gd name="connsiteX13" fmla="*/ 10373 w 198469"/>
                <a:gd name="connsiteY13" fmla="*/ 326009 h 326309"/>
                <a:gd name="connsiteX14" fmla="*/ 13502 w 198469"/>
                <a:gd name="connsiteY14" fmla="*/ 326258 h 326309"/>
                <a:gd name="connsiteX15" fmla="*/ 28838 w 198469"/>
                <a:gd name="connsiteY15" fmla="*/ 314637 h 326309"/>
                <a:gd name="connsiteX16" fmla="*/ 39220 w 198469"/>
                <a:gd name="connsiteY16" fmla="*/ 266441 h 326309"/>
                <a:gd name="connsiteX17" fmla="*/ 126374 w 198469"/>
                <a:gd name="connsiteY17" fmla="*/ 276918 h 326309"/>
                <a:gd name="connsiteX18" fmla="*/ 196573 w 198469"/>
                <a:gd name="connsiteY18" fmla="*/ 232627 h 326309"/>
                <a:gd name="connsiteX19" fmla="*/ 190763 w 198469"/>
                <a:gd name="connsiteY19" fmla="*/ 211862 h 326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8469" h="326309">
                  <a:moveTo>
                    <a:pt x="190763" y="211862"/>
                  </a:moveTo>
                  <a:cubicBezTo>
                    <a:pt x="142568" y="190140"/>
                    <a:pt x="86007" y="199906"/>
                    <a:pt x="47888" y="236532"/>
                  </a:cubicBezTo>
                  <a:cubicBezTo>
                    <a:pt x="66156" y="191949"/>
                    <a:pt x="94677" y="152301"/>
                    <a:pt x="131136" y="120803"/>
                  </a:cubicBezTo>
                  <a:cubicBezTo>
                    <a:pt x="133412" y="111284"/>
                    <a:pt x="136902" y="102097"/>
                    <a:pt x="141518" y="93467"/>
                  </a:cubicBezTo>
                  <a:cubicBezTo>
                    <a:pt x="141518" y="92133"/>
                    <a:pt x="142852" y="92133"/>
                    <a:pt x="142852" y="90895"/>
                  </a:cubicBezTo>
                  <a:cubicBezTo>
                    <a:pt x="141518" y="92133"/>
                    <a:pt x="140185" y="92133"/>
                    <a:pt x="140185" y="93467"/>
                  </a:cubicBezTo>
                  <a:cubicBezTo>
                    <a:pt x="121866" y="105505"/>
                    <a:pt x="104879" y="119459"/>
                    <a:pt x="89512" y="135091"/>
                  </a:cubicBezTo>
                  <a:cubicBezTo>
                    <a:pt x="102473" y="86432"/>
                    <a:pt x="85384" y="34717"/>
                    <a:pt x="45983" y="3360"/>
                  </a:cubicBezTo>
                  <a:cubicBezTo>
                    <a:pt x="41368" y="-1175"/>
                    <a:pt x="33950" y="-1111"/>
                    <a:pt x="29415" y="3503"/>
                  </a:cubicBezTo>
                  <a:cubicBezTo>
                    <a:pt x="28352" y="4585"/>
                    <a:pt x="27509" y="5863"/>
                    <a:pt x="26933" y="7265"/>
                  </a:cubicBezTo>
                  <a:cubicBezTo>
                    <a:pt x="15378" y="33436"/>
                    <a:pt x="12637" y="62651"/>
                    <a:pt x="19122" y="90514"/>
                  </a:cubicBezTo>
                  <a:cubicBezTo>
                    <a:pt x="25959" y="119417"/>
                    <a:pt x="42500" y="145103"/>
                    <a:pt x="65985" y="163285"/>
                  </a:cubicBezTo>
                  <a:cubicBezTo>
                    <a:pt x="32399" y="206350"/>
                    <a:pt x="9838" y="256965"/>
                    <a:pt x="263" y="310732"/>
                  </a:cubicBezTo>
                  <a:cubicBezTo>
                    <a:pt x="-1164" y="317743"/>
                    <a:pt x="3363" y="324582"/>
                    <a:pt x="10373" y="326009"/>
                  </a:cubicBezTo>
                  <a:cubicBezTo>
                    <a:pt x="11402" y="326218"/>
                    <a:pt x="12453" y="326302"/>
                    <a:pt x="13502" y="326258"/>
                  </a:cubicBezTo>
                  <a:cubicBezTo>
                    <a:pt x="20834" y="326877"/>
                    <a:pt x="27451" y="321863"/>
                    <a:pt x="28838" y="314637"/>
                  </a:cubicBezTo>
                  <a:cubicBezTo>
                    <a:pt x="30880" y="298299"/>
                    <a:pt x="34354" y="282171"/>
                    <a:pt x="39220" y="266441"/>
                  </a:cubicBezTo>
                  <a:cubicBezTo>
                    <a:pt x="65917" y="280777"/>
                    <a:pt x="97039" y="284518"/>
                    <a:pt x="126374" y="276918"/>
                  </a:cubicBezTo>
                  <a:cubicBezTo>
                    <a:pt x="154172" y="270670"/>
                    <a:pt x="178966" y="255027"/>
                    <a:pt x="196573" y="232627"/>
                  </a:cubicBezTo>
                  <a:cubicBezTo>
                    <a:pt x="200596" y="225276"/>
                    <a:pt x="198016" y="216058"/>
                    <a:pt x="190763" y="21186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1" name="Freihandform: Form 18">
              <a:extLst>
                <a:ext uri="{FF2B5EF4-FFF2-40B4-BE49-F238E27FC236}">
                  <a16:creationId xmlns:a16="http://schemas.microsoft.com/office/drawing/2014/main" id="{03FC2B54-1055-4368-8375-587A86406A36}"/>
                </a:ext>
              </a:extLst>
            </p:cNvPr>
            <p:cNvSpPr/>
            <p:nvPr/>
          </p:nvSpPr>
          <p:spPr>
            <a:xfrm>
              <a:off x="6725023" y="2701008"/>
              <a:ext cx="54903" cy="69510"/>
            </a:xfrm>
            <a:custGeom>
              <a:avLst/>
              <a:gdLst>
                <a:gd name="connsiteX0" fmla="*/ 53570 w 54903"/>
                <a:gd name="connsiteY0" fmla="*/ 1238 h 69510"/>
                <a:gd name="connsiteX1" fmla="*/ 28805 w 54903"/>
                <a:gd name="connsiteY1" fmla="*/ 5143 h 69510"/>
                <a:gd name="connsiteX2" fmla="*/ 26234 w 54903"/>
                <a:gd name="connsiteY2" fmla="*/ 5144 h 69510"/>
                <a:gd name="connsiteX3" fmla="*/ 230 w 54903"/>
                <a:gd name="connsiteY3" fmla="*/ 0 h 69510"/>
                <a:gd name="connsiteX4" fmla="*/ 230 w 54903"/>
                <a:gd name="connsiteY4" fmla="*/ 0 h 69510"/>
                <a:gd name="connsiteX5" fmla="*/ 22328 w 54903"/>
                <a:gd name="connsiteY5" fmla="*/ 67628 h 69510"/>
                <a:gd name="connsiteX6" fmla="*/ 27542 w 54903"/>
                <a:gd name="connsiteY6" fmla="*/ 68986 h 69510"/>
                <a:gd name="connsiteX7" fmla="*/ 28901 w 54903"/>
                <a:gd name="connsiteY7" fmla="*/ 67628 h 69510"/>
                <a:gd name="connsiteX8" fmla="*/ 54904 w 54903"/>
                <a:gd name="connsiteY8" fmla="*/ 5144 h 69510"/>
                <a:gd name="connsiteX9" fmla="*/ 53570 w 54903"/>
                <a:gd name="connsiteY9" fmla="*/ 1238 h 69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903" h="69510">
                  <a:moveTo>
                    <a:pt x="53570" y="1238"/>
                  </a:moveTo>
                  <a:cubicBezTo>
                    <a:pt x="45572" y="3833"/>
                    <a:pt x="37214" y="5151"/>
                    <a:pt x="28805" y="5143"/>
                  </a:cubicBezTo>
                  <a:lnTo>
                    <a:pt x="26234" y="5144"/>
                  </a:lnTo>
                  <a:cubicBezTo>
                    <a:pt x="17352" y="4788"/>
                    <a:pt x="8579" y="3052"/>
                    <a:pt x="230" y="0"/>
                  </a:cubicBezTo>
                  <a:lnTo>
                    <a:pt x="230" y="0"/>
                  </a:lnTo>
                  <a:cubicBezTo>
                    <a:pt x="-1486" y="24559"/>
                    <a:pt x="6442" y="48820"/>
                    <a:pt x="22328" y="67628"/>
                  </a:cubicBezTo>
                  <a:cubicBezTo>
                    <a:pt x="23393" y="69442"/>
                    <a:pt x="25728" y="70050"/>
                    <a:pt x="27542" y="68986"/>
                  </a:cubicBezTo>
                  <a:cubicBezTo>
                    <a:pt x="28104" y="68656"/>
                    <a:pt x="28571" y="68189"/>
                    <a:pt x="28901" y="67628"/>
                  </a:cubicBezTo>
                  <a:cubicBezTo>
                    <a:pt x="45032" y="50755"/>
                    <a:pt x="54303" y="28479"/>
                    <a:pt x="54904" y="5144"/>
                  </a:cubicBezTo>
                  <a:cubicBezTo>
                    <a:pt x="53864" y="4128"/>
                    <a:pt x="53369" y="2678"/>
                    <a:pt x="53570" y="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2" name="Freihandform: Form 19">
              <a:extLst>
                <a:ext uri="{FF2B5EF4-FFF2-40B4-BE49-F238E27FC236}">
                  <a16:creationId xmlns:a16="http://schemas.microsoft.com/office/drawing/2014/main" id="{56869389-893C-4CC6-8668-B9A1908A93AC}"/>
                </a:ext>
              </a:extLst>
            </p:cNvPr>
            <p:cNvSpPr/>
            <p:nvPr/>
          </p:nvSpPr>
          <p:spPr>
            <a:xfrm>
              <a:off x="6726870" y="2488434"/>
              <a:ext cx="55923" cy="69507"/>
            </a:xfrm>
            <a:custGeom>
              <a:avLst/>
              <a:gdLst>
                <a:gd name="connsiteX0" fmla="*/ 26006 w 55923"/>
                <a:gd name="connsiteY0" fmla="*/ 64269 h 69507"/>
                <a:gd name="connsiteX1" fmla="*/ 28577 w 55923"/>
                <a:gd name="connsiteY1" fmla="*/ 64269 h 69507"/>
                <a:gd name="connsiteX2" fmla="*/ 54581 w 55923"/>
                <a:gd name="connsiteY2" fmla="*/ 69508 h 69507"/>
                <a:gd name="connsiteX3" fmla="*/ 55914 w 55923"/>
                <a:gd name="connsiteY3" fmla="*/ 69508 h 69507"/>
                <a:gd name="connsiteX4" fmla="*/ 55914 w 55923"/>
                <a:gd name="connsiteY4" fmla="*/ 65603 h 69507"/>
                <a:gd name="connsiteX5" fmla="*/ 33530 w 55923"/>
                <a:gd name="connsiteY5" fmla="*/ 1785 h 69507"/>
                <a:gd name="connsiteX6" fmla="*/ 26695 w 55923"/>
                <a:gd name="connsiteY6" fmla="*/ 1096 h 69507"/>
                <a:gd name="connsiteX7" fmla="*/ 26006 w 55923"/>
                <a:gd name="connsiteY7" fmla="*/ 1785 h 69507"/>
                <a:gd name="connsiteX8" fmla="*/ 2 w 55923"/>
                <a:gd name="connsiteY8" fmla="*/ 68460 h 69507"/>
                <a:gd name="connsiteX9" fmla="*/ 1241 w 55923"/>
                <a:gd name="connsiteY9" fmla="*/ 68460 h 69507"/>
                <a:gd name="connsiteX10" fmla="*/ 26006 w 55923"/>
                <a:gd name="connsiteY10" fmla="*/ 64269 h 69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923" h="69507">
                  <a:moveTo>
                    <a:pt x="26006" y="64269"/>
                  </a:moveTo>
                  <a:lnTo>
                    <a:pt x="28577" y="64269"/>
                  </a:lnTo>
                  <a:cubicBezTo>
                    <a:pt x="37472" y="64593"/>
                    <a:pt x="46255" y="66362"/>
                    <a:pt x="54581" y="69508"/>
                  </a:cubicBezTo>
                  <a:lnTo>
                    <a:pt x="55914" y="69508"/>
                  </a:lnTo>
                  <a:lnTo>
                    <a:pt x="55914" y="65603"/>
                  </a:lnTo>
                  <a:cubicBezTo>
                    <a:pt x="56236" y="42352"/>
                    <a:pt x="48305" y="19741"/>
                    <a:pt x="33530" y="1785"/>
                  </a:cubicBezTo>
                  <a:cubicBezTo>
                    <a:pt x="31833" y="-293"/>
                    <a:pt x="28773" y="-602"/>
                    <a:pt x="26695" y="1096"/>
                  </a:cubicBezTo>
                  <a:cubicBezTo>
                    <a:pt x="26443" y="1302"/>
                    <a:pt x="26212" y="1533"/>
                    <a:pt x="26006" y="1785"/>
                  </a:cubicBezTo>
                  <a:cubicBezTo>
                    <a:pt x="9136" y="19871"/>
                    <a:pt x="-168" y="43729"/>
                    <a:pt x="2" y="68460"/>
                  </a:cubicBezTo>
                  <a:lnTo>
                    <a:pt x="1241" y="68460"/>
                  </a:lnTo>
                  <a:cubicBezTo>
                    <a:pt x="9393" y="66515"/>
                    <a:pt x="17667" y="65114"/>
                    <a:pt x="26006" y="642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3" name="Freihandform: Form 20">
              <a:extLst>
                <a:ext uri="{FF2B5EF4-FFF2-40B4-BE49-F238E27FC236}">
                  <a16:creationId xmlns:a16="http://schemas.microsoft.com/office/drawing/2014/main" id="{81C19D9B-1D62-463B-990D-5FD0A5500604}"/>
                </a:ext>
              </a:extLst>
            </p:cNvPr>
            <p:cNvSpPr/>
            <p:nvPr/>
          </p:nvSpPr>
          <p:spPr>
            <a:xfrm>
              <a:off x="6613651" y="2601045"/>
              <a:ext cx="68643" cy="54433"/>
            </a:xfrm>
            <a:custGeom>
              <a:avLst/>
              <a:gdLst>
                <a:gd name="connsiteX0" fmla="*/ 63500 w 68643"/>
                <a:gd name="connsiteY0" fmla="*/ 54433 h 54433"/>
                <a:gd name="connsiteX1" fmla="*/ 67406 w 68643"/>
                <a:gd name="connsiteY1" fmla="*/ 54433 h 54433"/>
                <a:gd name="connsiteX2" fmla="*/ 63500 w 68643"/>
                <a:gd name="connsiteY2" fmla="*/ 27096 h 54433"/>
                <a:gd name="connsiteX3" fmla="*/ 68644 w 68643"/>
                <a:gd name="connsiteY3" fmla="*/ 1569 h 54433"/>
                <a:gd name="connsiteX4" fmla="*/ 68644 w 68643"/>
                <a:gd name="connsiteY4" fmla="*/ 236 h 54433"/>
                <a:gd name="connsiteX5" fmla="*/ 1969 w 68643"/>
                <a:gd name="connsiteY5" fmla="*/ 22334 h 54433"/>
                <a:gd name="connsiteX6" fmla="*/ 953 w 68643"/>
                <a:gd name="connsiteY6" fmla="*/ 29128 h 54433"/>
                <a:gd name="connsiteX7" fmla="*/ 1969 w 68643"/>
                <a:gd name="connsiteY7" fmla="*/ 30144 h 54433"/>
                <a:gd name="connsiteX8" fmla="*/ 63500 w 68643"/>
                <a:gd name="connsiteY8" fmla="*/ 54433 h 54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8643" h="54433">
                  <a:moveTo>
                    <a:pt x="63500" y="54433"/>
                  </a:moveTo>
                  <a:lnTo>
                    <a:pt x="67406" y="54433"/>
                  </a:lnTo>
                  <a:cubicBezTo>
                    <a:pt x="64157" y="45707"/>
                    <a:pt x="62825" y="36383"/>
                    <a:pt x="63500" y="27096"/>
                  </a:cubicBezTo>
                  <a:cubicBezTo>
                    <a:pt x="63889" y="18373"/>
                    <a:pt x="65624" y="9762"/>
                    <a:pt x="68644" y="1569"/>
                  </a:cubicBezTo>
                  <a:lnTo>
                    <a:pt x="68644" y="236"/>
                  </a:lnTo>
                  <a:cubicBezTo>
                    <a:pt x="44371" y="-1505"/>
                    <a:pt x="20397" y="6441"/>
                    <a:pt x="1969" y="22334"/>
                  </a:cubicBezTo>
                  <a:cubicBezTo>
                    <a:pt x="-188" y="23930"/>
                    <a:pt x="-643" y="26971"/>
                    <a:pt x="953" y="29128"/>
                  </a:cubicBezTo>
                  <a:cubicBezTo>
                    <a:pt x="1239" y="29515"/>
                    <a:pt x="1582" y="29858"/>
                    <a:pt x="1969" y="30144"/>
                  </a:cubicBezTo>
                  <a:cubicBezTo>
                    <a:pt x="18724" y="45644"/>
                    <a:pt x="40676" y="54309"/>
                    <a:pt x="63500" y="5443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4" name="Freihandform: Form 25">
              <a:extLst>
                <a:ext uri="{FF2B5EF4-FFF2-40B4-BE49-F238E27FC236}">
                  <a16:creationId xmlns:a16="http://schemas.microsoft.com/office/drawing/2014/main" id="{4A02F9CD-4F53-443E-A760-4A34FA7A7211}"/>
                </a:ext>
              </a:extLst>
            </p:cNvPr>
            <p:cNvSpPr/>
            <p:nvPr/>
          </p:nvSpPr>
          <p:spPr>
            <a:xfrm>
              <a:off x="6823932" y="2603472"/>
              <a:ext cx="67462" cy="55053"/>
            </a:xfrm>
            <a:custGeom>
              <a:avLst/>
              <a:gdLst>
                <a:gd name="connsiteX0" fmla="*/ 66484 w 67462"/>
                <a:gd name="connsiteY0" fmla="*/ 26003 h 55053"/>
                <a:gd name="connsiteX1" fmla="*/ 1429 w 67462"/>
                <a:gd name="connsiteY1" fmla="*/ 0 h 55053"/>
                <a:gd name="connsiteX2" fmla="*/ 1429 w 67462"/>
                <a:gd name="connsiteY2" fmla="*/ 0 h 55053"/>
                <a:gd name="connsiteX3" fmla="*/ 5144 w 67462"/>
                <a:gd name="connsiteY3" fmla="*/ 27718 h 55053"/>
                <a:gd name="connsiteX4" fmla="*/ 0 w 67462"/>
                <a:gd name="connsiteY4" fmla="*/ 54959 h 55053"/>
                <a:gd name="connsiteX5" fmla="*/ 3905 w 67462"/>
                <a:gd name="connsiteY5" fmla="*/ 54959 h 55053"/>
                <a:gd name="connsiteX6" fmla="*/ 66294 w 67462"/>
                <a:gd name="connsiteY6" fmla="*/ 32861 h 55053"/>
                <a:gd name="connsiteX7" fmla="*/ 66484 w 67462"/>
                <a:gd name="connsiteY7" fmla="*/ 26003 h 55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7462" h="55053">
                  <a:moveTo>
                    <a:pt x="66484" y="26003"/>
                  </a:moveTo>
                  <a:cubicBezTo>
                    <a:pt x="48859" y="9434"/>
                    <a:pt x="25619" y="145"/>
                    <a:pt x="1429" y="0"/>
                  </a:cubicBezTo>
                  <a:lnTo>
                    <a:pt x="1429" y="0"/>
                  </a:lnTo>
                  <a:cubicBezTo>
                    <a:pt x="4009" y="9009"/>
                    <a:pt x="5261" y="18347"/>
                    <a:pt x="5144" y="27718"/>
                  </a:cubicBezTo>
                  <a:cubicBezTo>
                    <a:pt x="4918" y="37017"/>
                    <a:pt x="3181" y="46218"/>
                    <a:pt x="0" y="54959"/>
                  </a:cubicBezTo>
                  <a:lnTo>
                    <a:pt x="3905" y="54959"/>
                  </a:lnTo>
                  <a:cubicBezTo>
                    <a:pt x="26789" y="56022"/>
                    <a:pt x="49181" y="48091"/>
                    <a:pt x="66294" y="32861"/>
                  </a:cubicBezTo>
                  <a:cubicBezTo>
                    <a:pt x="67818" y="32480"/>
                    <a:pt x="67818" y="28575"/>
                    <a:pt x="66484" y="260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5" name="Freihandform: Form 26">
              <a:extLst>
                <a:ext uri="{FF2B5EF4-FFF2-40B4-BE49-F238E27FC236}">
                  <a16:creationId xmlns:a16="http://schemas.microsoft.com/office/drawing/2014/main" id="{2508605E-E014-4417-8E42-ABB9216B7609}"/>
                </a:ext>
              </a:extLst>
            </p:cNvPr>
            <p:cNvSpPr/>
            <p:nvPr/>
          </p:nvSpPr>
          <p:spPr>
            <a:xfrm>
              <a:off x="6651148" y="2660717"/>
              <a:ext cx="68865" cy="67627"/>
            </a:xfrm>
            <a:custGeom>
              <a:avLst/>
              <a:gdLst>
                <a:gd name="connsiteX0" fmla="*/ 31147 w 68865"/>
                <a:gd name="connsiteY0" fmla="*/ 0 h 67627"/>
                <a:gd name="connsiteX1" fmla="*/ 31147 w 68865"/>
                <a:gd name="connsiteY1" fmla="*/ 0 h 67627"/>
                <a:gd name="connsiteX2" fmla="*/ 0 w 68865"/>
                <a:gd name="connsiteY2" fmla="*/ 62389 h 67627"/>
                <a:gd name="connsiteX3" fmla="*/ 5143 w 68865"/>
                <a:gd name="connsiteY3" fmla="*/ 67627 h 67627"/>
                <a:gd name="connsiteX4" fmla="*/ 66294 w 68865"/>
                <a:gd name="connsiteY4" fmla="*/ 41624 h 67627"/>
                <a:gd name="connsiteX5" fmla="*/ 68866 w 68865"/>
                <a:gd name="connsiteY5" fmla="*/ 38957 h 67627"/>
                <a:gd name="connsiteX6" fmla="*/ 67628 w 68865"/>
                <a:gd name="connsiteY6" fmla="*/ 37719 h 67627"/>
                <a:gd name="connsiteX7" fmla="*/ 31147 w 68865"/>
                <a:gd name="connsiteY7" fmla="*/ 0 h 67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865" h="67627">
                  <a:moveTo>
                    <a:pt x="31147" y="0"/>
                  </a:moveTo>
                  <a:lnTo>
                    <a:pt x="31147" y="0"/>
                  </a:lnTo>
                  <a:cubicBezTo>
                    <a:pt x="12393" y="15443"/>
                    <a:pt x="1073" y="38119"/>
                    <a:pt x="0" y="62389"/>
                  </a:cubicBezTo>
                  <a:cubicBezTo>
                    <a:pt x="179" y="65168"/>
                    <a:pt x="2368" y="67397"/>
                    <a:pt x="5143" y="67627"/>
                  </a:cubicBezTo>
                  <a:cubicBezTo>
                    <a:pt x="28007" y="66667"/>
                    <a:pt x="49741" y="57425"/>
                    <a:pt x="66294" y="41624"/>
                  </a:cubicBezTo>
                  <a:lnTo>
                    <a:pt x="68866" y="38957"/>
                  </a:lnTo>
                  <a:cubicBezTo>
                    <a:pt x="68182" y="38957"/>
                    <a:pt x="67628" y="38403"/>
                    <a:pt x="67628" y="37719"/>
                  </a:cubicBezTo>
                  <a:cubicBezTo>
                    <a:pt x="51823" y="29268"/>
                    <a:pt x="39065" y="16077"/>
                    <a:pt x="3114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6" name="Freihandform: Form 27">
              <a:extLst>
                <a:ext uri="{FF2B5EF4-FFF2-40B4-BE49-F238E27FC236}">
                  <a16:creationId xmlns:a16="http://schemas.microsoft.com/office/drawing/2014/main" id="{104A2AAE-12DA-48E9-85FD-76FD180C66F1}"/>
                </a:ext>
              </a:extLst>
            </p:cNvPr>
            <p:cNvSpPr/>
            <p:nvPr/>
          </p:nvSpPr>
          <p:spPr>
            <a:xfrm>
              <a:off x="6784975" y="2531939"/>
              <a:ext cx="68960" cy="67627"/>
            </a:xfrm>
            <a:custGeom>
              <a:avLst/>
              <a:gdLst>
                <a:gd name="connsiteX0" fmla="*/ 37814 w 68960"/>
                <a:gd name="connsiteY0" fmla="*/ 67628 h 67627"/>
                <a:gd name="connsiteX1" fmla="*/ 37814 w 68960"/>
                <a:gd name="connsiteY1" fmla="*/ 67628 h 67627"/>
                <a:gd name="connsiteX2" fmla="*/ 40386 w 68960"/>
                <a:gd name="connsiteY2" fmla="*/ 66294 h 67627"/>
                <a:gd name="connsiteX3" fmla="*/ 68961 w 68960"/>
                <a:gd name="connsiteY3" fmla="*/ 5143 h 67627"/>
                <a:gd name="connsiteX4" fmla="*/ 63722 w 68960"/>
                <a:gd name="connsiteY4" fmla="*/ 0 h 67627"/>
                <a:gd name="connsiteX5" fmla="*/ 0 w 68960"/>
                <a:gd name="connsiteY5" fmla="*/ 28575 h 67627"/>
                <a:gd name="connsiteX6" fmla="*/ 1333 w 68960"/>
                <a:gd name="connsiteY6" fmla="*/ 28575 h 67627"/>
                <a:gd name="connsiteX7" fmla="*/ 37814 w 68960"/>
                <a:gd name="connsiteY7" fmla="*/ 67628 h 67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960" h="67627">
                  <a:moveTo>
                    <a:pt x="37814" y="67628"/>
                  </a:moveTo>
                  <a:lnTo>
                    <a:pt x="37814" y="67628"/>
                  </a:lnTo>
                  <a:cubicBezTo>
                    <a:pt x="38800" y="67495"/>
                    <a:pt x="39709" y="67024"/>
                    <a:pt x="40386" y="66294"/>
                  </a:cubicBezTo>
                  <a:cubicBezTo>
                    <a:pt x="57190" y="50177"/>
                    <a:pt x="67379" y="28373"/>
                    <a:pt x="68961" y="5143"/>
                  </a:cubicBezTo>
                  <a:cubicBezTo>
                    <a:pt x="68771" y="2349"/>
                    <a:pt x="66520" y="138"/>
                    <a:pt x="63722" y="0"/>
                  </a:cubicBezTo>
                  <a:cubicBezTo>
                    <a:pt x="39598" y="980"/>
                    <a:pt x="16778" y="11213"/>
                    <a:pt x="0" y="28575"/>
                  </a:cubicBezTo>
                  <a:lnTo>
                    <a:pt x="1333" y="28575"/>
                  </a:lnTo>
                  <a:cubicBezTo>
                    <a:pt x="17809" y="36762"/>
                    <a:pt x="30767" y="50633"/>
                    <a:pt x="37814" y="6762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7" name="Freihandform: Form 28">
              <a:extLst>
                <a:ext uri="{FF2B5EF4-FFF2-40B4-BE49-F238E27FC236}">
                  <a16:creationId xmlns:a16="http://schemas.microsoft.com/office/drawing/2014/main" id="{9D150A07-4948-4DEC-BBED-934FE0C90BF6}"/>
                </a:ext>
              </a:extLst>
            </p:cNvPr>
            <p:cNvSpPr/>
            <p:nvPr/>
          </p:nvSpPr>
          <p:spPr>
            <a:xfrm>
              <a:off x="6656292" y="2526415"/>
              <a:ext cx="68008" cy="70484"/>
            </a:xfrm>
            <a:custGeom>
              <a:avLst/>
              <a:gdLst>
                <a:gd name="connsiteX0" fmla="*/ 27337 w 68008"/>
                <a:gd name="connsiteY0" fmla="*/ 70485 h 70484"/>
                <a:gd name="connsiteX1" fmla="*/ 27337 w 68008"/>
                <a:gd name="connsiteY1" fmla="*/ 70485 h 70484"/>
                <a:gd name="connsiteX2" fmla="*/ 66389 w 68008"/>
                <a:gd name="connsiteY2" fmla="*/ 32385 h 70484"/>
                <a:gd name="connsiteX3" fmla="*/ 68009 w 68008"/>
                <a:gd name="connsiteY3" fmla="*/ 32385 h 70484"/>
                <a:gd name="connsiteX4" fmla="*/ 5239 w 68008"/>
                <a:gd name="connsiteY4" fmla="*/ 0 h 70484"/>
                <a:gd name="connsiteX5" fmla="*/ 0 w 68008"/>
                <a:gd name="connsiteY5" fmla="*/ 5239 h 70484"/>
                <a:gd name="connsiteX6" fmla="*/ 26003 w 68008"/>
                <a:gd name="connsiteY6" fmla="*/ 67628 h 70484"/>
                <a:gd name="connsiteX7" fmla="*/ 27337 w 68008"/>
                <a:gd name="connsiteY7" fmla="*/ 70485 h 70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008" h="70484">
                  <a:moveTo>
                    <a:pt x="27337" y="70485"/>
                  </a:moveTo>
                  <a:cubicBezTo>
                    <a:pt x="28670" y="70485"/>
                    <a:pt x="28670" y="69247"/>
                    <a:pt x="27337" y="70485"/>
                  </a:cubicBezTo>
                  <a:cubicBezTo>
                    <a:pt x="35400" y="53538"/>
                    <a:pt x="49249" y="40027"/>
                    <a:pt x="66389" y="32385"/>
                  </a:cubicBezTo>
                  <a:lnTo>
                    <a:pt x="68009" y="32385"/>
                  </a:lnTo>
                  <a:cubicBezTo>
                    <a:pt x="52009" y="13945"/>
                    <a:pt x="29539" y="2352"/>
                    <a:pt x="5239" y="0"/>
                  </a:cubicBezTo>
                  <a:cubicBezTo>
                    <a:pt x="2426" y="185"/>
                    <a:pt x="185" y="2426"/>
                    <a:pt x="0" y="5239"/>
                  </a:cubicBezTo>
                  <a:cubicBezTo>
                    <a:pt x="1165" y="28423"/>
                    <a:pt x="10358" y="50479"/>
                    <a:pt x="26003" y="67628"/>
                  </a:cubicBezTo>
                  <a:cubicBezTo>
                    <a:pt x="26003" y="69247"/>
                    <a:pt x="27337" y="69247"/>
                    <a:pt x="27337" y="7048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8" name="Freihandform: Form 29">
              <a:extLst>
                <a:ext uri="{FF2B5EF4-FFF2-40B4-BE49-F238E27FC236}">
                  <a16:creationId xmlns:a16="http://schemas.microsoft.com/office/drawing/2014/main" id="{445B9E11-96C8-40EB-AF05-64E894C672F0}"/>
                </a:ext>
              </a:extLst>
            </p:cNvPr>
            <p:cNvSpPr/>
            <p:nvPr/>
          </p:nvSpPr>
          <p:spPr>
            <a:xfrm>
              <a:off x="6782117" y="2664432"/>
              <a:ext cx="67627" cy="67722"/>
            </a:xfrm>
            <a:custGeom>
              <a:avLst/>
              <a:gdLst>
                <a:gd name="connsiteX0" fmla="*/ 39433 w 67627"/>
                <a:gd name="connsiteY0" fmla="*/ 95 h 67722"/>
                <a:gd name="connsiteX1" fmla="*/ 1333 w 67627"/>
                <a:gd name="connsiteY1" fmla="*/ 36576 h 67722"/>
                <a:gd name="connsiteX2" fmla="*/ 0 w 67627"/>
                <a:gd name="connsiteY2" fmla="*/ 36576 h 67722"/>
                <a:gd name="connsiteX3" fmla="*/ 2572 w 67627"/>
                <a:gd name="connsiteY3" fmla="*/ 39148 h 67722"/>
                <a:gd name="connsiteX4" fmla="*/ 62389 w 67627"/>
                <a:gd name="connsiteY4" fmla="*/ 67723 h 67722"/>
                <a:gd name="connsiteX5" fmla="*/ 67627 w 67627"/>
                <a:gd name="connsiteY5" fmla="*/ 62484 h 67722"/>
                <a:gd name="connsiteX6" fmla="*/ 39052 w 67627"/>
                <a:gd name="connsiteY6" fmla="*/ 0 h 67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627" h="67722">
                  <a:moveTo>
                    <a:pt x="39433" y="95"/>
                  </a:moveTo>
                  <a:cubicBezTo>
                    <a:pt x="30883" y="15958"/>
                    <a:pt x="17552" y="28722"/>
                    <a:pt x="1333" y="36576"/>
                  </a:cubicBezTo>
                  <a:lnTo>
                    <a:pt x="0" y="36576"/>
                  </a:lnTo>
                  <a:lnTo>
                    <a:pt x="2572" y="39148"/>
                  </a:lnTo>
                  <a:cubicBezTo>
                    <a:pt x="17987" y="56155"/>
                    <a:pt x="39472" y="66418"/>
                    <a:pt x="62389" y="67723"/>
                  </a:cubicBezTo>
                  <a:cubicBezTo>
                    <a:pt x="65202" y="67538"/>
                    <a:pt x="67442" y="65297"/>
                    <a:pt x="67627" y="62484"/>
                  </a:cubicBezTo>
                  <a:cubicBezTo>
                    <a:pt x="66617" y="38726"/>
                    <a:pt x="56363" y="16304"/>
                    <a:pt x="39052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9" name="Freihandform: Form 30">
              <a:extLst>
                <a:ext uri="{FF2B5EF4-FFF2-40B4-BE49-F238E27FC236}">
                  <a16:creationId xmlns:a16="http://schemas.microsoft.com/office/drawing/2014/main" id="{AC106684-A648-4795-9BA7-D1D7A61389D0}"/>
                </a:ext>
              </a:extLst>
            </p:cNvPr>
            <p:cNvSpPr/>
            <p:nvPr/>
          </p:nvSpPr>
          <p:spPr>
            <a:xfrm>
              <a:off x="6699917" y="2578420"/>
              <a:ext cx="105346" cy="105346"/>
            </a:xfrm>
            <a:custGeom>
              <a:avLst/>
              <a:gdLst>
                <a:gd name="connsiteX0" fmla="*/ 52959 w 105346"/>
                <a:gd name="connsiteY0" fmla="*/ 1 h 105346"/>
                <a:gd name="connsiteX1" fmla="*/ 1 w 105346"/>
                <a:gd name="connsiteY1" fmla="*/ 52388 h 105346"/>
                <a:gd name="connsiteX2" fmla="*/ 52388 w 105346"/>
                <a:gd name="connsiteY2" fmla="*/ 105346 h 105346"/>
                <a:gd name="connsiteX3" fmla="*/ 105346 w 105346"/>
                <a:gd name="connsiteY3" fmla="*/ 52959 h 105346"/>
                <a:gd name="connsiteX4" fmla="*/ 105346 w 105346"/>
                <a:gd name="connsiteY4" fmla="*/ 52769 h 105346"/>
                <a:gd name="connsiteX5" fmla="*/ 52960 w 105346"/>
                <a:gd name="connsiteY5" fmla="*/ 1 h 105346"/>
                <a:gd name="connsiteX6" fmla="*/ 52959 w 105346"/>
                <a:gd name="connsiteY6" fmla="*/ 1 h 105346"/>
                <a:gd name="connsiteX7" fmla="*/ 31242 w 105346"/>
                <a:gd name="connsiteY7" fmla="*/ 58675 h 105346"/>
                <a:gd name="connsiteX8" fmla="*/ 24098 w 105346"/>
                <a:gd name="connsiteY8" fmla="*/ 51531 h 105346"/>
                <a:gd name="connsiteX9" fmla="*/ 31242 w 105346"/>
                <a:gd name="connsiteY9" fmla="*/ 44387 h 105346"/>
                <a:gd name="connsiteX10" fmla="*/ 38386 w 105346"/>
                <a:gd name="connsiteY10" fmla="*/ 51531 h 105346"/>
                <a:gd name="connsiteX11" fmla="*/ 31248 w 105346"/>
                <a:gd name="connsiteY11" fmla="*/ 58681 h 105346"/>
                <a:gd name="connsiteX12" fmla="*/ 30956 w 105346"/>
                <a:gd name="connsiteY12" fmla="*/ 58675 h 105346"/>
                <a:gd name="connsiteX13" fmla="*/ 46672 w 105346"/>
                <a:gd name="connsiteY13" fmla="*/ 29052 h 105346"/>
                <a:gd name="connsiteX14" fmla="*/ 53816 w 105346"/>
                <a:gd name="connsiteY14" fmla="*/ 21908 h 105346"/>
                <a:gd name="connsiteX15" fmla="*/ 60960 w 105346"/>
                <a:gd name="connsiteY15" fmla="*/ 29052 h 105346"/>
                <a:gd name="connsiteX16" fmla="*/ 53816 w 105346"/>
                <a:gd name="connsiteY16" fmla="*/ 36196 h 105346"/>
                <a:gd name="connsiteX17" fmla="*/ 46672 w 105346"/>
                <a:gd name="connsiteY17" fmla="*/ 29052 h 105346"/>
                <a:gd name="connsiteX18" fmla="*/ 56197 w 105346"/>
                <a:gd name="connsiteY18" fmla="*/ 83440 h 105346"/>
                <a:gd name="connsiteX19" fmla="*/ 49054 w 105346"/>
                <a:gd name="connsiteY19" fmla="*/ 76296 h 105346"/>
                <a:gd name="connsiteX20" fmla="*/ 56197 w 105346"/>
                <a:gd name="connsiteY20" fmla="*/ 69152 h 105346"/>
                <a:gd name="connsiteX21" fmla="*/ 63341 w 105346"/>
                <a:gd name="connsiteY21" fmla="*/ 76296 h 105346"/>
                <a:gd name="connsiteX22" fmla="*/ 56197 w 105346"/>
                <a:gd name="connsiteY22" fmla="*/ 83440 h 105346"/>
                <a:gd name="connsiteX23" fmla="*/ 78676 w 105346"/>
                <a:gd name="connsiteY23" fmla="*/ 60961 h 105346"/>
                <a:gd name="connsiteX24" fmla="*/ 71437 w 105346"/>
                <a:gd name="connsiteY24" fmla="*/ 53722 h 105346"/>
                <a:gd name="connsiteX25" fmla="*/ 78676 w 105346"/>
                <a:gd name="connsiteY25" fmla="*/ 46483 h 105346"/>
                <a:gd name="connsiteX26" fmla="*/ 85915 w 105346"/>
                <a:gd name="connsiteY26" fmla="*/ 53722 h 105346"/>
                <a:gd name="connsiteX27" fmla="*/ 78692 w 105346"/>
                <a:gd name="connsiteY27" fmla="*/ 60976 h 105346"/>
                <a:gd name="connsiteX28" fmla="*/ 78200 w 105346"/>
                <a:gd name="connsiteY28" fmla="*/ 60961 h 105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05346" h="105346">
                  <a:moveTo>
                    <a:pt x="52959" y="1"/>
                  </a:moveTo>
                  <a:cubicBezTo>
                    <a:pt x="23869" y="-157"/>
                    <a:pt x="159" y="23297"/>
                    <a:pt x="1" y="52388"/>
                  </a:cubicBezTo>
                  <a:cubicBezTo>
                    <a:pt x="-157" y="81478"/>
                    <a:pt x="23297" y="105188"/>
                    <a:pt x="52388" y="105346"/>
                  </a:cubicBezTo>
                  <a:cubicBezTo>
                    <a:pt x="81478" y="105504"/>
                    <a:pt x="105188" y="82049"/>
                    <a:pt x="105346" y="52959"/>
                  </a:cubicBezTo>
                  <a:cubicBezTo>
                    <a:pt x="105346" y="52896"/>
                    <a:pt x="105346" y="52832"/>
                    <a:pt x="105346" y="52769"/>
                  </a:cubicBezTo>
                  <a:cubicBezTo>
                    <a:pt x="105452" y="23731"/>
                    <a:pt x="81997" y="106"/>
                    <a:pt x="52960" y="1"/>
                  </a:cubicBezTo>
                  <a:cubicBezTo>
                    <a:pt x="52959" y="1"/>
                    <a:pt x="52959" y="1"/>
                    <a:pt x="52959" y="1"/>
                  </a:cubicBezTo>
                  <a:close/>
                  <a:moveTo>
                    <a:pt x="31242" y="58675"/>
                  </a:moveTo>
                  <a:cubicBezTo>
                    <a:pt x="27297" y="58675"/>
                    <a:pt x="24098" y="55476"/>
                    <a:pt x="24098" y="51531"/>
                  </a:cubicBezTo>
                  <a:cubicBezTo>
                    <a:pt x="24098" y="47586"/>
                    <a:pt x="27297" y="44387"/>
                    <a:pt x="31242" y="44387"/>
                  </a:cubicBezTo>
                  <a:cubicBezTo>
                    <a:pt x="35187" y="44387"/>
                    <a:pt x="38386" y="47586"/>
                    <a:pt x="38386" y="51531"/>
                  </a:cubicBezTo>
                  <a:cubicBezTo>
                    <a:pt x="38389" y="55476"/>
                    <a:pt x="35193" y="58677"/>
                    <a:pt x="31248" y="58681"/>
                  </a:cubicBezTo>
                  <a:cubicBezTo>
                    <a:pt x="31150" y="58681"/>
                    <a:pt x="31053" y="58679"/>
                    <a:pt x="30956" y="58675"/>
                  </a:cubicBezTo>
                  <a:close/>
                  <a:moveTo>
                    <a:pt x="46672" y="29052"/>
                  </a:moveTo>
                  <a:cubicBezTo>
                    <a:pt x="46672" y="25107"/>
                    <a:pt x="49871" y="21908"/>
                    <a:pt x="53816" y="21908"/>
                  </a:cubicBezTo>
                  <a:cubicBezTo>
                    <a:pt x="57762" y="21908"/>
                    <a:pt x="60960" y="25107"/>
                    <a:pt x="60960" y="29052"/>
                  </a:cubicBezTo>
                  <a:cubicBezTo>
                    <a:pt x="60960" y="32997"/>
                    <a:pt x="57762" y="36196"/>
                    <a:pt x="53816" y="36196"/>
                  </a:cubicBezTo>
                  <a:cubicBezTo>
                    <a:pt x="49871" y="36196"/>
                    <a:pt x="46672" y="32997"/>
                    <a:pt x="46672" y="29052"/>
                  </a:cubicBezTo>
                  <a:close/>
                  <a:moveTo>
                    <a:pt x="56197" y="83440"/>
                  </a:moveTo>
                  <a:cubicBezTo>
                    <a:pt x="52252" y="83440"/>
                    <a:pt x="49054" y="80241"/>
                    <a:pt x="49054" y="76296"/>
                  </a:cubicBezTo>
                  <a:cubicBezTo>
                    <a:pt x="49054" y="72351"/>
                    <a:pt x="52252" y="69152"/>
                    <a:pt x="56197" y="69152"/>
                  </a:cubicBezTo>
                  <a:cubicBezTo>
                    <a:pt x="60143" y="69152"/>
                    <a:pt x="63341" y="72351"/>
                    <a:pt x="63341" y="76296"/>
                  </a:cubicBezTo>
                  <a:cubicBezTo>
                    <a:pt x="63341" y="80241"/>
                    <a:pt x="60143" y="83440"/>
                    <a:pt x="56197" y="83440"/>
                  </a:cubicBezTo>
                  <a:close/>
                  <a:moveTo>
                    <a:pt x="78676" y="60961"/>
                  </a:moveTo>
                  <a:cubicBezTo>
                    <a:pt x="74678" y="60961"/>
                    <a:pt x="71437" y="57720"/>
                    <a:pt x="71437" y="53722"/>
                  </a:cubicBezTo>
                  <a:cubicBezTo>
                    <a:pt x="71437" y="49724"/>
                    <a:pt x="74678" y="46483"/>
                    <a:pt x="78676" y="46483"/>
                  </a:cubicBezTo>
                  <a:cubicBezTo>
                    <a:pt x="82674" y="46483"/>
                    <a:pt x="85915" y="49724"/>
                    <a:pt x="85915" y="53722"/>
                  </a:cubicBezTo>
                  <a:cubicBezTo>
                    <a:pt x="85924" y="57720"/>
                    <a:pt x="82690" y="60968"/>
                    <a:pt x="78692" y="60976"/>
                  </a:cubicBezTo>
                  <a:cubicBezTo>
                    <a:pt x="78528" y="60977"/>
                    <a:pt x="78364" y="60972"/>
                    <a:pt x="78200" y="609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40" name="Grafik 3">
            <a:extLst>
              <a:ext uri="{FF2B5EF4-FFF2-40B4-BE49-F238E27FC236}">
                <a16:creationId xmlns:a16="http://schemas.microsoft.com/office/drawing/2014/main" id="{78D9F9D7-1E1B-4CDE-926B-2C17AA054764}"/>
              </a:ext>
            </a:extLst>
          </p:cNvPr>
          <p:cNvGrpSpPr/>
          <p:nvPr/>
        </p:nvGrpSpPr>
        <p:grpSpPr>
          <a:xfrm>
            <a:off x="1737929" y="3411197"/>
            <a:ext cx="479250" cy="489896"/>
            <a:chOff x="4366953" y="3219426"/>
            <a:chExt cx="408404" cy="417477"/>
          </a:xfrm>
          <a:solidFill>
            <a:srgbClr val="808080"/>
          </a:solidFill>
        </p:grpSpPr>
        <p:sp>
          <p:nvSpPr>
            <p:cNvPr id="241" name="Freihandform: Form 17">
              <a:extLst>
                <a:ext uri="{FF2B5EF4-FFF2-40B4-BE49-F238E27FC236}">
                  <a16:creationId xmlns:a16="http://schemas.microsoft.com/office/drawing/2014/main" id="{B4E9F0AF-7280-4369-94DF-16CF8FDD293F}"/>
                </a:ext>
              </a:extLst>
            </p:cNvPr>
            <p:cNvSpPr/>
            <p:nvPr/>
          </p:nvSpPr>
          <p:spPr>
            <a:xfrm>
              <a:off x="4671154" y="3456336"/>
              <a:ext cx="104203" cy="179641"/>
            </a:xfrm>
            <a:custGeom>
              <a:avLst/>
              <a:gdLst>
                <a:gd name="connsiteX0" fmla="*/ 54007 w 104203"/>
                <a:gd name="connsiteY0" fmla="*/ 1905 h 179641"/>
                <a:gd name="connsiteX1" fmla="*/ 52102 w 104203"/>
                <a:gd name="connsiteY1" fmla="*/ 0 h 179641"/>
                <a:gd name="connsiteX2" fmla="*/ 50197 w 104203"/>
                <a:gd name="connsiteY2" fmla="*/ 1905 h 179641"/>
                <a:gd name="connsiteX3" fmla="*/ 0 w 104203"/>
                <a:gd name="connsiteY3" fmla="*/ 127540 h 179641"/>
                <a:gd name="connsiteX4" fmla="*/ 52102 w 104203"/>
                <a:gd name="connsiteY4" fmla="*/ 179642 h 179641"/>
                <a:gd name="connsiteX5" fmla="*/ 104204 w 104203"/>
                <a:gd name="connsiteY5" fmla="*/ 127540 h 179641"/>
                <a:gd name="connsiteX6" fmla="*/ 54007 w 104203"/>
                <a:gd name="connsiteY6" fmla="*/ 1905 h 179641"/>
                <a:gd name="connsiteX7" fmla="*/ 46101 w 104203"/>
                <a:gd name="connsiteY7" fmla="*/ 74962 h 179641"/>
                <a:gd name="connsiteX8" fmla="*/ 44291 w 104203"/>
                <a:gd name="connsiteY8" fmla="*/ 81248 h 179641"/>
                <a:gd name="connsiteX9" fmla="*/ 36385 w 104203"/>
                <a:gd name="connsiteY9" fmla="*/ 126873 h 179641"/>
                <a:gd name="connsiteX10" fmla="*/ 25622 w 104203"/>
                <a:gd name="connsiteY10" fmla="*/ 139637 h 179641"/>
                <a:gd name="connsiteX11" fmla="*/ 14764 w 104203"/>
                <a:gd name="connsiteY11" fmla="*/ 128778 h 179641"/>
                <a:gd name="connsiteX12" fmla="*/ 33814 w 104203"/>
                <a:gd name="connsiteY12" fmla="*/ 82963 h 179641"/>
                <a:gd name="connsiteX13" fmla="*/ 41243 w 104203"/>
                <a:gd name="connsiteY13" fmla="*/ 72295 h 179641"/>
                <a:gd name="connsiteX14" fmla="*/ 45244 w 104203"/>
                <a:gd name="connsiteY14" fmla="*/ 71438 h 179641"/>
                <a:gd name="connsiteX15" fmla="*/ 46006 w 104203"/>
                <a:gd name="connsiteY15" fmla="*/ 72295 h 179641"/>
                <a:gd name="connsiteX16" fmla="*/ 46101 w 104203"/>
                <a:gd name="connsiteY16" fmla="*/ 74962 h 179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4203" h="179641">
                  <a:moveTo>
                    <a:pt x="54007" y="1905"/>
                  </a:moveTo>
                  <a:cubicBezTo>
                    <a:pt x="54007" y="853"/>
                    <a:pt x="53154" y="0"/>
                    <a:pt x="52102" y="0"/>
                  </a:cubicBezTo>
                  <a:cubicBezTo>
                    <a:pt x="51050" y="0"/>
                    <a:pt x="50197" y="853"/>
                    <a:pt x="50197" y="1905"/>
                  </a:cubicBezTo>
                  <a:cubicBezTo>
                    <a:pt x="42005" y="68008"/>
                    <a:pt x="0" y="81534"/>
                    <a:pt x="0" y="127540"/>
                  </a:cubicBezTo>
                  <a:cubicBezTo>
                    <a:pt x="0" y="156315"/>
                    <a:pt x="23327" y="179642"/>
                    <a:pt x="52102" y="179642"/>
                  </a:cubicBezTo>
                  <a:cubicBezTo>
                    <a:pt x="80877" y="179642"/>
                    <a:pt x="104204" y="156315"/>
                    <a:pt x="104204" y="127540"/>
                  </a:cubicBezTo>
                  <a:cubicBezTo>
                    <a:pt x="104203" y="81629"/>
                    <a:pt x="62198" y="67913"/>
                    <a:pt x="54007" y="1905"/>
                  </a:cubicBezTo>
                  <a:close/>
                  <a:moveTo>
                    <a:pt x="46101" y="74962"/>
                  </a:moveTo>
                  <a:cubicBezTo>
                    <a:pt x="45529" y="76962"/>
                    <a:pt x="44958" y="79057"/>
                    <a:pt x="44291" y="81248"/>
                  </a:cubicBezTo>
                  <a:cubicBezTo>
                    <a:pt x="39516" y="96007"/>
                    <a:pt x="36854" y="111368"/>
                    <a:pt x="36385" y="126873"/>
                  </a:cubicBezTo>
                  <a:cubicBezTo>
                    <a:pt x="36385" y="136398"/>
                    <a:pt x="30766" y="139637"/>
                    <a:pt x="25622" y="139637"/>
                  </a:cubicBezTo>
                  <a:cubicBezTo>
                    <a:pt x="19625" y="139637"/>
                    <a:pt x="14764" y="134775"/>
                    <a:pt x="14764" y="128778"/>
                  </a:cubicBezTo>
                  <a:cubicBezTo>
                    <a:pt x="15622" y="111762"/>
                    <a:pt x="22354" y="95570"/>
                    <a:pt x="33814" y="82963"/>
                  </a:cubicBezTo>
                  <a:cubicBezTo>
                    <a:pt x="36576" y="79248"/>
                    <a:pt x="39148" y="75724"/>
                    <a:pt x="41243" y="72295"/>
                  </a:cubicBezTo>
                  <a:cubicBezTo>
                    <a:pt x="42131" y="70982"/>
                    <a:pt x="43896" y="70603"/>
                    <a:pt x="45244" y="71438"/>
                  </a:cubicBezTo>
                  <a:cubicBezTo>
                    <a:pt x="45547" y="71676"/>
                    <a:pt x="45805" y="71966"/>
                    <a:pt x="46006" y="72295"/>
                  </a:cubicBezTo>
                  <a:cubicBezTo>
                    <a:pt x="46460" y="73118"/>
                    <a:pt x="46496" y="74108"/>
                    <a:pt x="46101" y="7496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2" name="Freihandform: Form 18">
              <a:extLst>
                <a:ext uri="{FF2B5EF4-FFF2-40B4-BE49-F238E27FC236}">
                  <a16:creationId xmlns:a16="http://schemas.microsoft.com/office/drawing/2014/main" id="{59D18280-1309-414F-BA5E-41DCB50193FC}"/>
                </a:ext>
              </a:extLst>
            </p:cNvPr>
            <p:cNvSpPr/>
            <p:nvPr/>
          </p:nvSpPr>
          <p:spPr>
            <a:xfrm>
              <a:off x="4366953" y="3311266"/>
              <a:ext cx="198219" cy="325637"/>
            </a:xfrm>
            <a:custGeom>
              <a:avLst/>
              <a:gdLst>
                <a:gd name="connsiteX0" fmla="*/ 189997 w 198219"/>
                <a:gd name="connsiteY0" fmla="*/ 211269 h 325637"/>
                <a:gd name="connsiteX1" fmla="*/ 47122 w 198219"/>
                <a:gd name="connsiteY1" fmla="*/ 235939 h 325637"/>
                <a:gd name="connsiteX2" fmla="*/ 130180 w 198219"/>
                <a:gd name="connsiteY2" fmla="*/ 120401 h 325637"/>
                <a:gd name="connsiteX3" fmla="*/ 140562 w 198219"/>
                <a:gd name="connsiteY3" fmla="*/ 93159 h 325637"/>
                <a:gd name="connsiteX4" fmla="*/ 141895 w 198219"/>
                <a:gd name="connsiteY4" fmla="*/ 90587 h 325637"/>
                <a:gd name="connsiteX5" fmla="*/ 139228 w 198219"/>
                <a:gd name="connsiteY5" fmla="*/ 93159 h 325637"/>
                <a:gd name="connsiteX6" fmla="*/ 88651 w 198219"/>
                <a:gd name="connsiteY6" fmla="*/ 134688 h 325637"/>
                <a:gd name="connsiteX7" fmla="*/ 45883 w 198219"/>
                <a:gd name="connsiteY7" fmla="*/ 3434 h 325637"/>
                <a:gd name="connsiteX8" fmla="*/ 29450 w 198219"/>
                <a:gd name="connsiteY8" fmla="*/ 3373 h 325637"/>
                <a:gd name="connsiteX9" fmla="*/ 26833 w 198219"/>
                <a:gd name="connsiteY9" fmla="*/ 7339 h 325637"/>
                <a:gd name="connsiteX10" fmla="*/ 19023 w 198219"/>
                <a:gd name="connsiteY10" fmla="*/ 90397 h 325637"/>
                <a:gd name="connsiteX11" fmla="*/ 65791 w 198219"/>
                <a:gd name="connsiteY11" fmla="*/ 163073 h 325637"/>
                <a:gd name="connsiteX12" fmla="*/ 259 w 198219"/>
                <a:gd name="connsiteY12" fmla="*/ 309948 h 325637"/>
                <a:gd name="connsiteX13" fmla="*/ 10479 w 198219"/>
                <a:gd name="connsiteY13" fmla="*/ 325314 h 325637"/>
                <a:gd name="connsiteX14" fmla="*/ 13213 w 198219"/>
                <a:gd name="connsiteY14" fmla="*/ 325569 h 325637"/>
                <a:gd name="connsiteX15" fmla="*/ 28834 w 198219"/>
                <a:gd name="connsiteY15" fmla="*/ 313854 h 325637"/>
                <a:gd name="connsiteX16" fmla="*/ 39216 w 198219"/>
                <a:gd name="connsiteY16" fmla="*/ 266229 h 325637"/>
                <a:gd name="connsiteX17" fmla="*/ 126179 w 198219"/>
                <a:gd name="connsiteY17" fmla="*/ 276611 h 325637"/>
                <a:gd name="connsiteX18" fmla="*/ 196474 w 198219"/>
                <a:gd name="connsiteY18" fmla="*/ 232034 h 325637"/>
                <a:gd name="connsiteX19" fmla="*/ 189997 w 198219"/>
                <a:gd name="connsiteY19" fmla="*/ 211269 h 325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8219" h="325637">
                  <a:moveTo>
                    <a:pt x="189997" y="211269"/>
                  </a:moveTo>
                  <a:cubicBezTo>
                    <a:pt x="141809" y="189492"/>
                    <a:pt x="85216" y="199264"/>
                    <a:pt x="47122" y="235939"/>
                  </a:cubicBezTo>
                  <a:cubicBezTo>
                    <a:pt x="65358" y="191442"/>
                    <a:pt x="93811" y="151862"/>
                    <a:pt x="130180" y="120401"/>
                  </a:cubicBezTo>
                  <a:cubicBezTo>
                    <a:pt x="132477" y="110919"/>
                    <a:pt x="135966" y="101765"/>
                    <a:pt x="140562" y="93159"/>
                  </a:cubicBezTo>
                  <a:cubicBezTo>
                    <a:pt x="140562" y="91826"/>
                    <a:pt x="141895" y="91826"/>
                    <a:pt x="141895" y="90587"/>
                  </a:cubicBezTo>
                  <a:cubicBezTo>
                    <a:pt x="140562" y="91826"/>
                    <a:pt x="139228" y="91826"/>
                    <a:pt x="139228" y="93159"/>
                  </a:cubicBezTo>
                  <a:cubicBezTo>
                    <a:pt x="120963" y="105196"/>
                    <a:pt x="104011" y="119115"/>
                    <a:pt x="88651" y="134688"/>
                  </a:cubicBezTo>
                  <a:cubicBezTo>
                    <a:pt x="101655" y="86328"/>
                    <a:pt x="84882" y="34850"/>
                    <a:pt x="45883" y="3434"/>
                  </a:cubicBezTo>
                  <a:cubicBezTo>
                    <a:pt x="41362" y="-1121"/>
                    <a:pt x="34004" y="-1148"/>
                    <a:pt x="29450" y="3373"/>
                  </a:cubicBezTo>
                  <a:cubicBezTo>
                    <a:pt x="28314" y="4501"/>
                    <a:pt x="27423" y="5851"/>
                    <a:pt x="26833" y="7339"/>
                  </a:cubicBezTo>
                  <a:cubicBezTo>
                    <a:pt x="15280" y="33442"/>
                    <a:pt x="12539" y="62597"/>
                    <a:pt x="19023" y="90397"/>
                  </a:cubicBezTo>
                  <a:cubicBezTo>
                    <a:pt x="25790" y="119280"/>
                    <a:pt x="42307" y="144947"/>
                    <a:pt x="65791" y="163073"/>
                  </a:cubicBezTo>
                  <a:cubicBezTo>
                    <a:pt x="32287" y="205949"/>
                    <a:pt x="9789" y="256375"/>
                    <a:pt x="259" y="309948"/>
                  </a:cubicBezTo>
                  <a:cubicBezTo>
                    <a:pt x="-1162" y="317014"/>
                    <a:pt x="3414" y="323893"/>
                    <a:pt x="10479" y="325314"/>
                  </a:cubicBezTo>
                  <a:cubicBezTo>
                    <a:pt x="11379" y="325495"/>
                    <a:pt x="12295" y="325581"/>
                    <a:pt x="13213" y="325569"/>
                  </a:cubicBezTo>
                  <a:cubicBezTo>
                    <a:pt x="20666" y="326291"/>
                    <a:pt x="27440" y="321211"/>
                    <a:pt x="28834" y="313854"/>
                  </a:cubicBezTo>
                  <a:cubicBezTo>
                    <a:pt x="30898" y="297706"/>
                    <a:pt x="34372" y="281770"/>
                    <a:pt x="39216" y="266229"/>
                  </a:cubicBezTo>
                  <a:cubicBezTo>
                    <a:pt x="65855" y="280538"/>
                    <a:pt x="96920" y="284247"/>
                    <a:pt x="126179" y="276611"/>
                  </a:cubicBezTo>
                  <a:cubicBezTo>
                    <a:pt x="154080" y="270375"/>
                    <a:pt x="178937" y="254612"/>
                    <a:pt x="196474" y="232034"/>
                  </a:cubicBezTo>
                  <a:cubicBezTo>
                    <a:pt x="200389" y="224509"/>
                    <a:pt x="197496" y="215234"/>
                    <a:pt x="189997" y="2112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3" name="Freihandform: Form 19">
              <a:extLst>
                <a:ext uri="{FF2B5EF4-FFF2-40B4-BE49-F238E27FC236}">
                  <a16:creationId xmlns:a16="http://schemas.microsoft.com/office/drawing/2014/main" id="{C1EFBBD3-62E3-49DD-AB24-62DF2C29C3A6}"/>
                </a:ext>
              </a:extLst>
            </p:cNvPr>
            <p:cNvSpPr/>
            <p:nvPr/>
          </p:nvSpPr>
          <p:spPr>
            <a:xfrm>
              <a:off x="4586541" y="3431667"/>
              <a:ext cx="54799" cy="69427"/>
            </a:xfrm>
            <a:custGeom>
              <a:avLst/>
              <a:gdLst>
                <a:gd name="connsiteX0" fmla="*/ 53466 w 54799"/>
                <a:gd name="connsiteY0" fmla="*/ 1333 h 69427"/>
                <a:gd name="connsiteX1" fmla="*/ 28797 w 54799"/>
                <a:gd name="connsiteY1" fmla="*/ 5239 h 69427"/>
                <a:gd name="connsiteX2" fmla="*/ 26225 w 54799"/>
                <a:gd name="connsiteY2" fmla="*/ 5239 h 69427"/>
                <a:gd name="connsiteX3" fmla="*/ 222 w 54799"/>
                <a:gd name="connsiteY3" fmla="*/ 0 h 69427"/>
                <a:gd name="connsiteX4" fmla="*/ 222 w 54799"/>
                <a:gd name="connsiteY4" fmla="*/ 0 h 69427"/>
                <a:gd name="connsiteX5" fmla="*/ 22320 w 54799"/>
                <a:gd name="connsiteY5" fmla="*/ 67532 h 69427"/>
                <a:gd name="connsiteX6" fmla="*/ 27378 w 54799"/>
                <a:gd name="connsiteY6" fmla="*/ 68951 h 69427"/>
                <a:gd name="connsiteX7" fmla="*/ 28797 w 54799"/>
                <a:gd name="connsiteY7" fmla="*/ 67532 h 69427"/>
                <a:gd name="connsiteX8" fmla="*/ 54800 w 54799"/>
                <a:gd name="connsiteY8" fmla="*/ 5239 h 69427"/>
                <a:gd name="connsiteX9" fmla="*/ 53466 w 54799"/>
                <a:gd name="connsiteY9" fmla="*/ 1333 h 69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799" h="69427">
                  <a:moveTo>
                    <a:pt x="53466" y="1333"/>
                  </a:moveTo>
                  <a:cubicBezTo>
                    <a:pt x="45490" y="3883"/>
                    <a:pt x="37171" y="5200"/>
                    <a:pt x="28797" y="5239"/>
                  </a:cubicBezTo>
                  <a:lnTo>
                    <a:pt x="26225" y="5239"/>
                  </a:lnTo>
                  <a:cubicBezTo>
                    <a:pt x="17330" y="4915"/>
                    <a:pt x="8548" y="3146"/>
                    <a:pt x="222" y="0"/>
                  </a:cubicBezTo>
                  <a:lnTo>
                    <a:pt x="222" y="0"/>
                  </a:lnTo>
                  <a:cubicBezTo>
                    <a:pt x="-1459" y="24526"/>
                    <a:pt x="6466" y="48744"/>
                    <a:pt x="22320" y="67532"/>
                  </a:cubicBezTo>
                  <a:cubicBezTo>
                    <a:pt x="23325" y="69321"/>
                    <a:pt x="25589" y="69956"/>
                    <a:pt x="27378" y="68951"/>
                  </a:cubicBezTo>
                  <a:cubicBezTo>
                    <a:pt x="27972" y="68617"/>
                    <a:pt x="28463" y="68126"/>
                    <a:pt x="28797" y="67532"/>
                  </a:cubicBezTo>
                  <a:cubicBezTo>
                    <a:pt x="44924" y="50733"/>
                    <a:pt x="54197" y="28518"/>
                    <a:pt x="54800" y="5239"/>
                  </a:cubicBezTo>
                  <a:cubicBezTo>
                    <a:pt x="53773" y="4215"/>
                    <a:pt x="53280" y="2772"/>
                    <a:pt x="53466" y="133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4" name="Freihandform: Form 20">
              <a:extLst>
                <a:ext uri="{FF2B5EF4-FFF2-40B4-BE49-F238E27FC236}">
                  <a16:creationId xmlns:a16="http://schemas.microsoft.com/office/drawing/2014/main" id="{B70A8273-F30F-476C-BB4F-4BCD8E7B6359}"/>
                </a:ext>
              </a:extLst>
            </p:cNvPr>
            <p:cNvSpPr/>
            <p:nvPr/>
          </p:nvSpPr>
          <p:spPr>
            <a:xfrm>
              <a:off x="4588093" y="3219426"/>
              <a:ext cx="55836" cy="69461"/>
            </a:xfrm>
            <a:custGeom>
              <a:avLst/>
              <a:gdLst>
                <a:gd name="connsiteX0" fmla="*/ 25911 w 55836"/>
                <a:gd name="connsiteY0" fmla="*/ 64318 h 69461"/>
                <a:gd name="connsiteX1" fmla="*/ 28578 w 55836"/>
                <a:gd name="connsiteY1" fmla="*/ 64318 h 69461"/>
                <a:gd name="connsiteX2" fmla="*/ 54486 w 55836"/>
                <a:gd name="connsiteY2" fmla="*/ 69461 h 69461"/>
                <a:gd name="connsiteX3" fmla="*/ 55819 w 55836"/>
                <a:gd name="connsiteY3" fmla="*/ 69461 h 69461"/>
                <a:gd name="connsiteX4" fmla="*/ 55819 w 55836"/>
                <a:gd name="connsiteY4" fmla="*/ 65556 h 69461"/>
                <a:gd name="connsiteX5" fmla="*/ 33721 w 55836"/>
                <a:gd name="connsiteY5" fmla="*/ 1929 h 69461"/>
                <a:gd name="connsiteX6" fmla="*/ 25911 w 55836"/>
                <a:gd name="connsiteY6" fmla="*/ 1929 h 69461"/>
                <a:gd name="connsiteX7" fmla="*/ 3 w 55836"/>
                <a:gd name="connsiteY7" fmla="*/ 68604 h 69461"/>
                <a:gd name="connsiteX8" fmla="*/ 1336 w 55836"/>
                <a:gd name="connsiteY8" fmla="*/ 68604 h 69461"/>
                <a:gd name="connsiteX9" fmla="*/ 25911 w 55836"/>
                <a:gd name="connsiteY9" fmla="*/ 64318 h 69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836" h="69461">
                  <a:moveTo>
                    <a:pt x="25911" y="64318"/>
                  </a:moveTo>
                  <a:lnTo>
                    <a:pt x="28578" y="64318"/>
                  </a:lnTo>
                  <a:cubicBezTo>
                    <a:pt x="37431" y="64657"/>
                    <a:pt x="46175" y="66393"/>
                    <a:pt x="54486" y="69461"/>
                  </a:cubicBezTo>
                  <a:lnTo>
                    <a:pt x="55819" y="69461"/>
                  </a:lnTo>
                  <a:lnTo>
                    <a:pt x="55819" y="65556"/>
                  </a:lnTo>
                  <a:cubicBezTo>
                    <a:pt x="56251" y="42394"/>
                    <a:pt x="48416" y="19837"/>
                    <a:pt x="33721" y="1929"/>
                  </a:cubicBezTo>
                  <a:cubicBezTo>
                    <a:pt x="32483" y="-643"/>
                    <a:pt x="28578" y="-643"/>
                    <a:pt x="25911" y="1929"/>
                  </a:cubicBezTo>
                  <a:cubicBezTo>
                    <a:pt x="9085" y="20035"/>
                    <a:pt x="-184" y="43887"/>
                    <a:pt x="3" y="68604"/>
                  </a:cubicBezTo>
                  <a:lnTo>
                    <a:pt x="1336" y="68604"/>
                  </a:lnTo>
                  <a:cubicBezTo>
                    <a:pt x="9423" y="66627"/>
                    <a:pt x="17633" y="65195"/>
                    <a:pt x="25911" y="6431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5" name="Freihandform: Form 25">
              <a:extLst>
                <a:ext uri="{FF2B5EF4-FFF2-40B4-BE49-F238E27FC236}">
                  <a16:creationId xmlns:a16="http://schemas.microsoft.com/office/drawing/2014/main" id="{39A8E787-E3CA-49E0-90CB-2EC657C72847}"/>
                </a:ext>
              </a:extLst>
            </p:cNvPr>
            <p:cNvSpPr/>
            <p:nvPr/>
          </p:nvSpPr>
          <p:spPr>
            <a:xfrm>
              <a:off x="4475296" y="3331487"/>
              <a:ext cx="68603" cy="54745"/>
            </a:xfrm>
            <a:custGeom>
              <a:avLst/>
              <a:gdLst>
                <a:gd name="connsiteX0" fmla="*/ 63365 w 68603"/>
                <a:gd name="connsiteY0" fmla="*/ 54746 h 54745"/>
                <a:gd name="connsiteX1" fmla="*/ 67270 w 68603"/>
                <a:gd name="connsiteY1" fmla="*/ 54746 h 54745"/>
                <a:gd name="connsiteX2" fmla="*/ 63365 w 68603"/>
                <a:gd name="connsiteY2" fmla="*/ 27504 h 54745"/>
                <a:gd name="connsiteX3" fmla="*/ 68604 w 68603"/>
                <a:gd name="connsiteY3" fmla="*/ 1596 h 54745"/>
                <a:gd name="connsiteX4" fmla="*/ 68604 w 68603"/>
                <a:gd name="connsiteY4" fmla="*/ 263 h 54745"/>
                <a:gd name="connsiteX5" fmla="*/ 1929 w 68603"/>
                <a:gd name="connsiteY5" fmla="*/ 22361 h 54745"/>
                <a:gd name="connsiteX6" fmla="*/ 1929 w 68603"/>
                <a:gd name="connsiteY6" fmla="*/ 30076 h 54745"/>
                <a:gd name="connsiteX7" fmla="*/ 63365 w 68603"/>
                <a:gd name="connsiteY7" fmla="*/ 54746 h 54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603" h="54745">
                  <a:moveTo>
                    <a:pt x="63365" y="54746"/>
                  </a:moveTo>
                  <a:lnTo>
                    <a:pt x="67270" y="54746"/>
                  </a:lnTo>
                  <a:cubicBezTo>
                    <a:pt x="64064" y="46042"/>
                    <a:pt x="62733" y="36758"/>
                    <a:pt x="63365" y="27504"/>
                  </a:cubicBezTo>
                  <a:cubicBezTo>
                    <a:pt x="63689" y="18640"/>
                    <a:pt x="65458" y="9889"/>
                    <a:pt x="68604" y="1596"/>
                  </a:cubicBezTo>
                  <a:lnTo>
                    <a:pt x="68604" y="263"/>
                  </a:lnTo>
                  <a:cubicBezTo>
                    <a:pt x="44318" y="-1585"/>
                    <a:pt x="20304" y="6374"/>
                    <a:pt x="1929" y="22361"/>
                  </a:cubicBezTo>
                  <a:cubicBezTo>
                    <a:pt x="-643" y="23599"/>
                    <a:pt x="-643" y="27504"/>
                    <a:pt x="1929" y="30076"/>
                  </a:cubicBezTo>
                  <a:cubicBezTo>
                    <a:pt x="18592" y="45708"/>
                    <a:pt x="40518" y="54512"/>
                    <a:pt x="63365" y="5474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6" name="Freihandform: Form 26">
              <a:extLst>
                <a:ext uri="{FF2B5EF4-FFF2-40B4-BE49-F238E27FC236}">
                  <a16:creationId xmlns:a16="http://schemas.microsoft.com/office/drawing/2014/main" id="{8014B1A4-9220-441B-96A2-B45892BAD1E2}"/>
                </a:ext>
              </a:extLst>
            </p:cNvPr>
            <p:cNvSpPr/>
            <p:nvPr/>
          </p:nvSpPr>
          <p:spPr>
            <a:xfrm>
              <a:off x="4685823" y="3334321"/>
              <a:ext cx="66871" cy="54658"/>
            </a:xfrm>
            <a:custGeom>
              <a:avLst/>
              <a:gdLst>
                <a:gd name="connsiteX0" fmla="*/ 65818 w 66871"/>
                <a:gd name="connsiteY0" fmla="*/ 26003 h 54658"/>
                <a:gd name="connsiteX1" fmla="*/ 952 w 66871"/>
                <a:gd name="connsiteY1" fmla="*/ 0 h 54658"/>
                <a:gd name="connsiteX2" fmla="*/ 952 w 66871"/>
                <a:gd name="connsiteY2" fmla="*/ 0 h 54658"/>
                <a:gd name="connsiteX3" fmla="*/ 5239 w 66871"/>
                <a:gd name="connsiteY3" fmla="*/ 27241 h 54658"/>
                <a:gd name="connsiteX4" fmla="*/ 0 w 66871"/>
                <a:gd name="connsiteY4" fmla="*/ 54578 h 54658"/>
                <a:gd name="connsiteX5" fmla="*/ 3905 w 66871"/>
                <a:gd name="connsiteY5" fmla="*/ 54578 h 54658"/>
                <a:gd name="connsiteX6" fmla="*/ 66199 w 66871"/>
                <a:gd name="connsiteY6" fmla="*/ 32480 h 54658"/>
                <a:gd name="connsiteX7" fmla="*/ 65818 w 66871"/>
                <a:gd name="connsiteY7" fmla="*/ 26003 h 54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6871" h="54658">
                  <a:moveTo>
                    <a:pt x="65818" y="26003"/>
                  </a:moveTo>
                  <a:cubicBezTo>
                    <a:pt x="48235" y="9487"/>
                    <a:pt x="25075" y="202"/>
                    <a:pt x="952" y="0"/>
                  </a:cubicBezTo>
                  <a:lnTo>
                    <a:pt x="952" y="0"/>
                  </a:lnTo>
                  <a:cubicBezTo>
                    <a:pt x="3631" y="8839"/>
                    <a:pt x="5074" y="18007"/>
                    <a:pt x="5239" y="27241"/>
                  </a:cubicBezTo>
                  <a:cubicBezTo>
                    <a:pt x="4993" y="36578"/>
                    <a:pt x="3224" y="45812"/>
                    <a:pt x="0" y="54578"/>
                  </a:cubicBezTo>
                  <a:lnTo>
                    <a:pt x="3905" y="54578"/>
                  </a:lnTo>
                  <a:cubicBezTo>
                    <a:pt x="26748" y="55555"/>
                    <a:pt x="49078" y="47633"/>
                    <a:pt x="66199" y="32480"/>
                  </a:cubicBezTo>
                  <a:cubicBezTo>
                    <a:pt x="67151" y="32480"/>
                    <a:pt x="67151" y="28575"/>
                    <a:pt x="65818" y="260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7" name="Freihandform: Form 27">
              <a:extLst>
                <a:ext uri="{FF2B5EF4-FFF2-40B4-BE49-F238E27FC236}">
                  <a16:creationId xmlns:a16="http://schemas.microsoft.com/office/drawing/2014/main" id="{BF7B5621-90BD-4518-B12F-CAF2323728FE}"/>
                </a:ext>
              </a:extLst>
            </p:cNvPr>
            <p:cNvSpPr/>
            <p:nvPr/>
          </p:nvSpPr>
          <p:spPr>
            <a:xfrm>
              <a:off x="4512753" y="3391471"/>
              <a:ext cx="68865" cy="67532"/>
            </a:xfrm>
            <a:custGeom>
              <a:avLst/>
              <a:gdLst>
                <a:gd name="connsiteX0" fmla="*/ 31242 w 68865"/>
                <a:gd name="connsiteY0" fmla="*/ 0 h 67532"/>
                <a:gd name="connsiteX1" fmla="*/ 31242 w 68865"/>
                <a:gd name="connsiteY1" fmla="*/ 0 h 67532"/>
                <a:gd name="connsiteX2" fmla="*/ 0 w 68865"/>
                <a:gd name="connsiteY2" fmla="*/ 62294 h 67532"/>
                <a:gd name="connsiteX3" fmla="*/ 5239 w 68865"/>
                <a:gd name="connsiteY3" fmla="*/ 67532 h 67532"/>
                <a:gd name="connsiteX4" fmla="*/ 66199 w 68865"/>
                <a:gd name="connsiteY4" fmla="*/ 41529 h 67532"/>
                <a:gd name="connsiteX5" fmla="*/ 68866 w 68865"/>
                <a:gd name="connsiteY5" fmla="*/ 38957 h 67532"/>
                <a:gd name="connsiteX6" fmla="*/ 67532 w 68865"/>
                <a:gd name="connsiteY6" fmla="*/ 37624 h 67532"/>
                <a:gd name="connsiteX7" fmla="*/ 31242 w 68865"/>
                <a:gd name="connsiteY7" fmla="*/ 0 h 67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865" h="67532">
                  <a:moveTo>
                    <a:pt x="31242" y="0"/>
                  </a:moveTo>
                  <a:lnTo>
                    <a:pt x="31242" y="0"/>
                  </a:lnTo>
                  <a:cubicBezTo>
                    <a:pt x="12477" y="15404"/>
                    <a:pt x="1123" y="38042"/>
                    <a:pt x="0" y="62294"/>
                  </a:cubicBezTo>
                  <a:cubicBezTo>
                    <a:pt x="225" y="65088"/>
                    <a:pt x="2444" y="67308"/>
                    <a:pt x="5239" y="67532"/>
                  </a:cubicBezTo>
                  <a:cubicBezTo>
                    <a:pt x="28045" y="66569"/>
                    <a:pt x="49719" y="57324"/>
                    <a:pt x="66199" y="41529"/>
                  </a:cubicBezTo>
                  <a:lnTo>
                    <a:pt x="68866" y="38957"/>
                  </a:lnTo>
                  <a:cubicBezTo>
                    <a:pt x="68129" y="38957"/>
                    <a:pt x="67532" y="38360"/>
                    <a:pt x="67532" y="37624"/>
                  </a:cubicBezTo>
                  <a:cubicBezTo>
                    <a:pt x="51786" y="29203"/>
                    <a:pt x="39090" y="16040"/>
                    <a:pt x="31242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8" name="Freihandform: Form 28">
              <a:extLst>
                <a:ext uri="{FF2B5EF4-FFF2-40B4-BE49-F238E27FC236}">
                  <a16:creationId xmlns:a16="http://schemas.microsoft.com/office/drawing/2014/main" id="{E36D079B-1F10-4420-9FD1-D3FEFD17FB5E}"/>
                </a:ext>
              </a:extLst>
            </p:cNvPr>
            <p:cNvSpPr/>
            <p:nvPr/>
          </p:nvSpPr>
          <p:spPr>
            <a:xfrm>
              <a:off x="4646484" y="3262979"/>
              <a:ext cx="68865" cy="67437"/>
            </a:xfrm>
            <a:custGeom>
              <a:avLst/>
              <a:gdLst>
                <a:gd name="connsiteX0" fmla="*/ 37624 w 68865"/>
                <a:gd name="connsiteY0" fmla="*/ 67437 h 67437"/>
                <a:gd name="connsiteX1" fmla="*/ 37624 w 68865"/>
                <a:gd name="connsiteY1" fmla="*/ 67437 h 67437"/>
                <a:gd name="connsiteX2" fmla="*/ 40291 w 68865"/>
                <a:gd name="connsiteY2" fmla="*/ 66199 h 67437"/>
                <a:gd name="connsiteX3" fmla="*/ 68866 w 68865"/>
                <a:gd name="connsiteY3" fmla="*/ 5143 h 67437"/>
                <a:gd name="connsiteX4" fmla="*/ 63627 w 68865"/>
                <a:gd name="connsiteY4" fmla="*/ 0 h 67437"/>
                <a:gd name="connsiteX5" fmla="*/ 0 w 68865"/>
                <a:gd name="connsiteY5" fmla="*/ 28575 h 67437"/>
                <a:gd name="connsiteX6" fmla="*/ 1333 w 68865"/>
                <a:gd name="connsiteY6" fmla="*/ 28575 h 67437"/>
                <a:gd name="connsiteX7" fmla="*/ 37624 w 68865"/>
                <a:gd name="connsiteY7" fmla="*/ 67437 h 67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865" h="67437">
                  <a:moveTo>
                    <a:pt x="37624" y="67437"/>
                  </a:moveTo>
                  <a:lnTo>
                    <a:pt x="37624" y="67437"/>
                  </a:lnTo>
                  <a:cubicBezTo>
                    <a:pt x="38621" y="67316"/>
                    <a:pt x="39555" y="66882"/>
                    <a:pt x="40291" y="66199"/>
                  </a:cubicBezTo>
                  <a:cubicBezTo>
                    <a:pt x="57051" y="50090"/>
                    <a:pt x="67234" y="28333"/>
                    <a:pt x="68866" y="5143"/>
                  </a:cubicBezTo>
                  <a:cubicBezTo>
                    <a:pt x="68635" y="2368"/>
                    <a:pt x="66407" y="179"/>
                    <a:pt x="63627" y="0"/>
                  </a:cubicBezTo>
                  <a:cubicBezTo>
                    <a:pt x="39527" y="965"/>
                    <a:pt x="16732" y="11203"/>
                    <a:pt x="0" y="28575"/>
                  </a:cubicBezTo>
                  <a:lnTo>
                    <a:pt x="1333" y="28575"/>
                  </a:lnTo>
                  <a:cubicBezTo>
                    <a:pt x="17704" y="36751"/>
                    <a:pt x="30586" y="50546"/>
                    <a:pt x="37624" y="6743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9" name="Freihandform: Form 29">
              <a:extLst>
                <a:ext uri="{FF2B5EF4-FFF2-40B4-BE49-F238E27FC236}">
                  <a16:creationId xmlns:a16="http://schemas.microsoft.com/office/drawing/2014/main" id="{F91C45D6-1397-408B-B8E5-9AA3B4032A75}"/>
                </a:ext>
              </a:extLst>
            </p:cNvPr>
            <p:cNvSpPr/>
            <p:nvPr/>
          </p:nvSpPr>
          <p:spPr>
            <a:xfrm>
              <a:off x="4517992" y="3257550"/>
              <a:ext cx="67532" cy="70294"/>
            </a:xfrm>
            <a:custGeom>
              <a:avLst/>
              <a:gdLst>
                <a:gd name="connsiteX0" fmla="*/ 27241 w 67532"/>
                <a:gd name="connsiteY0" fmla="*/ 70295 h 70294"/>
                <a:gd name="connsiteX1" fmla="*/ 27241 w 67532"/>
                <a:gd name="connsiteY1" fmla="*/ 70295 h 70294"/>
                <a:gd name="connsiteX2" fmla="*/ 66199 w 67532"/>
                <a:gd name="connsiteY2" fmla="*/ 32195 h 70294"/>
                <a:gd name="connsiteX3" fmla="*/ 67532 w 67532"/>
                <a:gd name="connsiteY3" fmla="*/ 32195 h 70294"/>
                <a:gd name="connsiteX4" fmla="*/ 5143 w 67532"/>
                <a:gd name="connsiteY4" fmla="*/ 0 h 70294"/>
                <a:gd name="connsiteX5" fmla="*/ 0 w 67532"/>
                <a:gd name="connsiteY5" fmla="*/ 5239 h 70294"/>
                <a:gd name="connsiteX6" fmla="*/ 26003 w 67532"/>
                <a:gd name="connsiteY6" fmla="*/ 67532 h 70294"/>
                <a:gd name="connsiteX7" fmla="*/ 27241 w 67532"/>
                <a:gd name="connsiteY7" fmla="*/ 70295 h 70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7532" h="70294">
                  <a:moveTo>
                    <a:pt x="27241" y="70295"/>
                  </a:moveTo>
                  <a:cubicBezTo>
                    <a:pt x="28575" y="70295"/>
                    <a:pt x="28575" y="68961"/>
                    <a:pt x="27241" y="70295"/>
                  </a:cubicBezTo>
                  <a:cubicBezTo>
                    <a:pt x="35281" y="53364"/>
                    <a:pt x="49094" y="39856"/>
                    <a:pt x="66199" y="32195"/>
                  </a:cubicBezTo>
                  <a:lnTo>
                    <a:pt x="67532" y="32195"/>
                  </a:lnTo>
                  <a:cubicBezTo>
                    <a:pt x="51594" y="13911"/>
                    <a:pt x="29280" y="2396"/>
                    <a:pt x="5143" y="0"/>
                  </a:cubicBezTo>
                  <a:cubicBezTo>
                    <a:pt x="2349" y="190"/>
                    <a:pt x="138" y="2441"/>
                    <a:pt x="0" y="5239"/>
                  </a:cubicBezTo>
                  <a:cubicBezTo>
                    <a:pt x="1171" y="28393"/>
                    <a:pt x="10365" y="50417"/>
                    <a:pt x="26003" y="67532"/>
                  </a:cubicBezTo>
                  <a:cubicBezTo>
                    <a:pt x="26003" y="68961"/>
                    <a:pt x="27241" y="68961"/>
                    <a:pt x="27241" y="7029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0" name="Freihandform: Form 30">
              <a:extLst>
                <a:ext uri="{FF2B5EF4-FFF2-40B4-BE49-F238E27FC236}">
                  <a16:creationId xmlns:a16="http://schemas.microsoft.com/office/drawing/2014/main" id="{1B5EF3CC-F632-4C47-BA7C-28F40FE48166}"/>
                </a:ext>
              </a:extLst>
            </p:cNvPr>
            <p:cNvSpPr/>
            <p:nvPr/>
          </p:nvSpPr>
          <p:spPr>
            <a:xfrm>
              <a:off x="4643913" y="3395376"/>
              <a:ext cx="67532" cy="67532"/>
            </a:xfrm>
            <a:custGeom>
              <a:avLst/>
              <a:gdLst>
                <a:gd name="connsiteX0" fmla="*/ 38957 w 67532"/>
                <a:gd name="connsiteY0" fmla="*/ 0 h 67532"/>
                <a:gd name="connsiteX1" fmla="*/ 1333 w 67532"/>
                <a:gd name="connsiteY1" fmla="*/ 36290 h 67532"/>
                <a:gd name="connsiteX2" fmla="*/ 0 w 67532"/>
                <a:gd name="connsiteY2" fmla="*/ 36290 h 67532"/>
                <a:gd name="connsiteX3" fmla="*/ 2572 w 67532"/>
                <a:gd name="connsiteY3" fmla="*/ 38957 h 67532"/>
                <a:gd name="connsiteX4" fmla="*/ 62294 w 67532"/>
                <a:gd name="connsiteY4" fmla="*/ 67532 h 67532"/>
                <a:gd name="connsiteX5" fmla="*/ 67532 w 67532"/>
                <a:gd name="connsiteY5" fmla="*/ 62389 h 67532"/>
                <a:gd name="connsiteX6" fmla="*/ 38957 w 67532"/>
                <a:gd name="connsiteY6" fmla="*/ 95 h 67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532" h="67532">
                  <a:moveTo>
                    <a:pt x="38957" y="0"/>
                  </a:moveTo>
                  <a:cubicBezTo>
                    <a:pt x="30536" y="15746"/>
                    <a:pt x="17373" y="28443"/>
                    <a:pt x="1333" y="36290"/>
                  </a:cubicBezTo>
                  <a:lnTo>
                    <a:pt x="0" y="36290"/>
                  </a:lnTo>
                  <a:lnTo>
                    <a:pt x="2572" y="38957"/>
                  </a:lnTo>
                  <a:cubicBezTo>
                    <a:pt x="17939" y="55975"/>
                    <a:pt x="39400" y="66244"/>
                    <a:pt x="62294" y="67532"/>
                  </a:cubicBezTo>
                  <a:cubicBezTo>
                    <a:pt x="65073" y="67353"/>
                    <a:pt x="67302" y="65165"/>
                    <a:pt x="67532" y="62389"/>
                  </a:cubicBezTo>
                  <a:cubicBezTo>
                    <a:pt x="66523" y="38686"/>
                    <a:pt x="56265" y="16322"/>
                    <a:pt x="38957" y="9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1" name="Freihandform: Form 99">
              <a:extLst>
                <a:ext uri="{FF2B5EF4-FFF2-40B4-BE49-F238E27FC236}">
                  <a16:creationId xmlns:a16="http://schemas.microsoft.com/office/drawing/2014/main" id="{BF040261-AA11-4D41-9650-DE145E49A915}"/>
                </a:ext>
              </a:extLst>
            </p:cNvPr>
            <p:cNvSpPr/>
            <p:nvPr/>
          </p:nvSpPr>
          <p:spPr>
            <a:xfrm>
              <a:off x="4561428" y="3309365"/>
              <a:ext cx="105156" cy="105155"/>
            </a:xfrm>
            <a:custGeom>
              <a:avLst/>
              <a:gdLst>
                <a:gd name="connsiteX0" fmla="*/ 52577 w 105156"/>
                <a:gd name="connsiteY0" fmla="*/ 0 h 105155"/>
                <a:gd name="connsiteX1" fmla="*/ 0 w 105156"/>
                <a:gd name="connsiteY1" fmla="*/ 52579 h 105155"/>
                <a:gd name="connsiteX2" fmla="*/ 52579 w 105156"/>
                <a:gd name="connsiteY2" fmla="*/ 105156 h 105155"/>
                <a:gd name="connsiteX3" fmla="*/ 105155 w 105156"/>
                <a:gd name="connsiteY3" fmla="*/ 52959 h 105155"/>
                <a:gd name="connsiteX4" fmla="*/ 52959 w 105156"/>
                <a:gd name="connsiteY4" fmla="*/ 1 h 105155"/>
                <a:gd name="connsiteX5" fmla="*/ 52577 w 105156"/>
                <a:gd name="connsiteY5" fmla="*/ 0 h 105155"/>
                <a:gd name="connsiteX6" fmla="*/ 36003 w 105156"/>
                <a:gd name="connsiteY6" fmla="*/ 56483 h 105155"/>
                <a:gd name="connsiteX7" fmla="*/ 25900 w 105156"/>
                <a:gd name="connsiteY7" fmla="*/ 56490 h 105155"/>
                <a:gd name="connsiteX8" fmla="*/ 25894 w 105156"/>
                <a:gd name="connsiteY8" fmla="*/ 46387 h 105155"/>
                <a:gd name="connsiteX9" fmla="*/ 35997 w 105156"/>
                <a:gd name="connsiteY9" fmla="*/ 46380 h 105155"/>
                <a:gd name="connsiteX10" fmla="*/ 36003 w 105156"/>
                <a:gd name="connsiteY10" fmla="*/ 46387 h 105155"/>
                <a:gd name="connsiteX11" fmla="*/ 36003 w 105156"/>
                <a:gd name="connsiteY11" fmla="*/ 56483 h 105155"/>
                <a:gd name="connsiteX12" fmla="*/ 48386 w 105156"/>
                <a:gd name="connsiteY12" fmla="*/ 24384 h 105155"/>
                <a:gd name="connsiteX13" fmla="*/ 58482 w 105156"/>
                <a:gd name="connsiteY13" fmla="*/ 24384 h 105155"/>
                <a:gd name="connsiteX14" fmla="*/ 58611 w 105156"/>
                <a:gd name="connsiteY14" fmla="*/ 34351 h 105155"/>
                <a:gd name="connsiteX15" fmla="*/ 58482 w 105156"/>
                <a:gd name="connsiteY15" fmla="*/ 34481 h 105155"/>
                <a:gd name="connsiteX16" fmla="*/ 48386 w 105156"/>
                <a:gd name="connsiteY16" fmla="*/ 34837 h 105155"/>
                <a:gd name="connsiteX17" fmla="*/ 48029 w 105156"/>
                <a:gd name="connsiteY17" fmla="*/ 24740 h 105155"/>
                <a:gd name="connsiteX18" fmla="*/ 48386 w 105156"/>
                <a:gd name="connsiteY18" fmla="*/ 24384 h 105155"/>
                <a:gd name="connsiteX19" fmla="*/ 60768 w 105156"/>
                <a:gd name="connsiteY19" fmla="*/ 81534 h 105155"/>
                <a:gd name="connsiteX20" fmla="*/ 50672 w 105156"/>
                <a:gd name="connsiteY20" fmla="*/ 81178 h 105155"/>
                <a:gd name="connsiteX21" fmla="*/ 50672 w 105156"/>
                <a:gd name="connsiteY21" fmla="*/ 71438 h 105155"/>
                <a:gd name="connsiteX22" fmla="*/ 60768 w 105156"/>
                <a:gd name="connsiteY22" fmla="*/ 71081 h 105155"/>
                <a:gd name="connsiteX23" fmla="*/ 61125 w 105156"/>
                <a:gd name="connsiteY23" fmla="*/ 81178 h 105155"/>
                <a:gd name="connsiteX24" fmla="*/ 60768 w 105156"/>
                <a:gd name="connsiteY24" fmla="*/ 81534 h 105155"/>
                <a:gd name="connsiteX25" fmla="*/ 83247 w 105156"/>
                <a:gd name="connsiteY25" fmla="*/ 59055 h 105155"/>
                <a:gd name="connsiteX26" fmla="*/ 73151 w 105156"/>
                <a:gd name="connsiteY26" fmla="*/ 58699 h 105155"/>
                <a:gd name="connsiteX27" fmla="*/ 73151 w 105156"/>
                <a:gd name="connsiteY27" fmla="*/ 48959 h 105155"/>
                <a:gd name="connsiteX28" fmla="*/ 83247 w 105156"/>
                <a:gd name="connsiteY28" fmla="*/ 48602 h 105155"/>
                <a:gd name="connsiteX29" fmla="*/ 83604 w 105156"/>
                <a:gd name="connsiteY29" fmla="*/ 58699 h 105155"/>
                <a:gd name="connsiteX30" fmla="*/ 83247 w 105156"/>
                <a:gd name="connsiteY30" fmla="*/ 59055 h 105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05156" h="105155">
                  <a:moveTo>
                    <a:pt x="52577" y="0"/>
                  </a:moveTo>
                  <a:cubicBezTo>
                    <a:pt x="23539" y="1"/>
                    <a:pt x="-1" y="23541"/>
                    <a:pt x="0" y="52579"/>
                  </a:cubicBezTo>
                  <a:cubicBezTo>
                    <a:pt x="1" y="81617"/>
                    <a:pt x="23541" y="105157"/>
                    <a:pt x="52579" y="105156"/>
                  </a:cubicBezTo>
                  <a:cubicBezTo>
                    <a:pt x="81468" y="105155"/>
                    <a:pt x="104945" y="81847"/>
                    <a:pt x="105155" y="52959"/>
                  </a:cubicBezTo>
                  <a:cubicBezTo>
                    <a:pt x="105365" y="23922"/>
                    <a:pt x="81996" y="212"/>
                    <a:pt x="52959" y="1"/>
                  </a:cubicBezTo>
                  <a:cubicBezTo>
                    <a:pt x="52832" y="0"/>
                    <a:pt x="52704" y="0"/>
                    <a:pt x="52577" y="0"/>
                  </a:cubicBezTo>
                  <a:close/>
                  <a:moveTo>
                    <a:pt x="36003" y="56483"/>
                  </a:moveTo>
                  <a:cubicBezTo>
                    <a:pt x="33215" y="59275"/>
                    <a:pt x="28692" y="59278"/>
                    <a:pt x="25900" y="56490"/>
                  </a:cubicBezTo>
                  <a:cubicBezTo>
                    <a:pt x="23109" y="53701"/>
                    <a:pt x="23106" y="49178"/>
                    <a:pt x="25894" y="46387"/>
                  </a:cubicBezTo>
                  <a:cubicBezTo>
                    <a:pt x="28682" y="43595"/>
                    <a:pt x="33205" y="43592"/>
                    <a:pt x="35997" y="46380"/>
                  </a:cubicBezTo>
                  <a:cubicBezTo>
                    <a:pt x="35999" y="46383"/>
                    <a:pt x="36001" y="46385"/>
                    <a:pt x="36003" y="46387"/>
                  </a:cubicBezTo>
                  <a:cubicBezTo>
                    <a:pt x="38789" y="49176"/>
                    <a:pt x="38789" y="53694"/>
                    <a:pt x="36003" y="56483"/>
                  </a:cubicBezTo>
                  <a:close/>
                  <a:moveTo>
                    <a:pt x="48386" y="24384"/>
                  </a:moveTo>
                  <a:cubicBezTo>
                    <a:pt x="51175" y="21598"/>
                    <a:pt x="55693" y="21598"/>
                    <a:pt x="58482" y="24384"/>
                  </a:cubicBezTo>
                  <a:cubicBezTo>
                    <a:pt x="61270" y="27101"/>
                    <a:pt x="61328" y="31563"/>
                    <a:pt x="58611" y="34351"/>
                  </a:cubicBezTo>
                  <a:cubicBezTo>
                    <a:pt x="58569" y="34395"/>
                    <a:pt x="58526" y="34438"/>
                    <a:pt x="58482" y="34481"/>
                  </a:cubicBezTo>
                  <a:cubicBezTo>
                    <a:pt x="55792" y="37367"/>
                    <a:pt x="51272" y="37527"/>
                    <a:pt x="48386" y="34837"/>
                  </a:cubicBezTo>
                  <a:cubicBezTo>
                    <a:pt x="45499" y="32147"/>
                    <a:pt x="45340" y="27627"/>
                    <a:pt x="48029" y="24740"/>
                  </a:cubicBezTo>
                  <a:cubicBezTo>
                    <a:pt x="48144" y="24617"/>
                    <a:pt x="48263" y="24499"/>
                    <a:pt x="48386" y="24384"/>
                  </a:cubicBezTo>
                  <a:close/>
                  <a:moveTo>
                    <a:pt x="60768" y="81534"/>
                  </a:moveTo>
                  <a:cubicBezTo>
                    <a:pt x="57882" y="84224"/>
                    <a:pt x="53361" y="84064"/>
                    <a:pt x="50672" y="81178"/>
                  </a:cubicBezTo>
                  <a:cubicBezTo>
                    <a:pt x="48115" y="78434"/>
                    <a:pt x="48115" y="74181"/>
                    <a:pt x="50672" y="71438"/>
                  </a:cubicBezTo>
                  <a:cubicBezTo>
                    <a:pt x="53361" y="68551"/>
                    <a:pt x="57882" y="68391"/>
                    <a:pt x="60768" y="71081"/>
                  </a:cubicBezTo>
                  <a:cubicBezTo>
                    <a:pt x="63655" y="73771"/>
                    <a:pt x="63814" y="78291"/>
                    <a:pt x="61125" y="81178"/>
                  </a:cubicBezTo>
                  <a:cubicBezTo>
                    <a:pt x="61010" y="81301"/>
                    <a:pt x="60891" y="81419"/>
                    <a:pt x="60768" y="81534"/>
                  </a:cubicBezTo>
                  <a:close/>
                  <a:moveTo>
                    <a:pt x="83247" y="59055"/>
                  </a:moveTo>
                  <a:cubicBezTo>
                    <a:pt x="80361" y="61745"/>
                    <a:pt x="75840" y="61585"/>
                    <a:pt x="73151" y="58699"/>
                  </a:cubicBezTo>
                  <a:cubicBezTo>
                    <a:pt x="70594" y="55955"/>
                    <a:pt x="70594" y="51702"/>
                    <a:pt x="73151" y="48959"/>
                  </a:cubicBezTo>
                  <a:cubicBezTo>
                    <a:pt x="75840" y="46072"/>
                    <a:pt x="80361" y="45912"/>
                    <a:pt x="83247" y="48602"/>
                  </a:cubicBezTo>
                  <a:cubicBezTo>
                    <a:pt x="86134" y="51292"/>
                    <a:pt x="86293" y="55812"/>
                    <a:pt x="83604" y="58699"/>
                  </a:cubicBezTo>
                  <a:cubicBezTo>
                    <a:pt x="83489" y="58822"/>
                    <a:pt x="83370" y="58940"/>
                    <a:pt x="83247" y="5905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52" name="Grafik 115">
            <a:extLst>
              <a:ext uri="{FF2B5EF4-FFF2-40B4-BE49-F238E27FC236}">
                <a16:creationId xmlns:a16="http://schemas.microsoft.com/office/drawing/2014/main" id="{904BF315-8D6A-47A3-8233-FC7C4BC4742B}"/>
              </a:ext>
            </a:extLst>
          </p:cNvPr>
          <p:cNvGrpSpPr/>
          <p:nvPr/>
        </p:nvGrpSpPr>
        <p:grpSpPr>
          <a:xfrm>
            <a:off x="2472909" y="3404149"/>
            <a:ext cx="541983" cy="503991"/>
            <a:chOff x="4343400" y="3214680"/>
            <a:chExt cx="461864" cy="429488"/>
          </a:xfrm>
          <a:solidFill>
            <a:srgbClr val="808080"/>
          </a:solidFill>
        </p:grpSpPr>
        <p:sp>
          <p:nvSpPr>
            <p:cNvPr id="253" name="Freihandform: Form 127">
              <a:extLst>
                <a:ext uri="{FF2B5EF4-FFF2-40B4-BE49-F238E27FC236}">
                  <a16:creationId xmlns:a16="http://schemas.microsoft.com/office/drawing/2014/main" id="{BD78D50D-3D16-49FF-9449-F6346298BC5A}"/>
                </a:ext>
              </a:extLst>
            </p:cNvPr>
            <p:cNvSpPr/>
            <p:nvPr/>
          </p:nvSpPr>
          <p:spPr>
            <a:xfrm>
              <a:off x="4672965" y="3504056"/>
              <a:ext cx="86677" cy="140112"/>
            </a:xfrm>
            <a:custGeom>
              <a:avLst/>
              <a:gdLst>
                <a:gd name="connsiteX0" fmla="*/ 86677 w 86677"/>
                <a:gd name="connsiteY0" fmla="*/ 0 h 140112"/>
                <a:gd name="connsiteX1" fmla="*/ 0 w 86677"/>
                <a:gd name="connsiteY1" fmla="*/ 140113 h 140112"/>
                <a:gd name="connsiteX2" fmla="*/ 54197 w 86677"/>
                <a:gd name="connsiteY2" fmla="*/ 140113 h 140112"/>
                <a:gd name="connsiteX3" fmla="*/ 86677 w 86677"/>
                <a:gd name="connsiteY3" fmla="*/ 0 h 140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677" h="140112">
                  <a:moveTo>
                    <a:pt x="86677" y="0"/>
                  </a:moveTo>
                  <a:cubicBezTo>
                    <a:pt x="42641" y="35443"/>
                    <a:pt x="12055" y="84885"/>
                    <a:pt x="0" y="140113"/>
                  </a:cubicBezTo>
                  <a:lnTo>
                    <a:pt x="54197" y="140113"/>
                  </a:lnTo>
                  <a:cubicBezTo>
                    <a:pt x="55596" y="91713"/>
                    <a:pt x="66638" y="44079"/>
                    <a:pt x="8667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4" name="Freihandform: Form 128">
              <a:extLst>
                <a:ext uri="{FF2B5EF4-FFF2-40B4-BE49-F238E27FC236}">
                  <a16:creationId xmlns:a16="http://schemas.microsoft.com/office/drawing/2014/main" id="{6DB95F4D-B5C2-4B54-9423-CDB779180182}"/>
                </a:ext>
              </a:extLst>
            </p:cNvPr>
            <p:cNvSpPr/>
            <p:nvPr/>
          </p:nvSpPr>
          <p:spPr>
            <a:xfrm>
              <a:off x="4413408" y="3561206"/>
              <a:ext cx="62007" cy="82962"/>
            </a:xfrm>
            <a:custGeom>
              <a:avLst/>
              <a:gdLst>
                <a:gd name="connsiteX0" fmla="*/ 0 w 62007"/>
                <a:gd name="connsiteY0" fmla="*/ 0 h 82962"/>
                <a:gd name="connsiteX1" fmla="*/ 23908 w 62007"/>
                <a:gd name="connsiteY1" fmla="*/ 82963 h 82962"/>
                <a:gd name="connsiteX2" fmla="*/ 62008 w 62007"/>
                <a:gd name="connsiteY2" fmla="*/ 82963 h 82962"/>
                <a:gd name="connsiteX3" fmla="*/ 0 w 62007"/>
                <a:gd name="connsiteY3" fmla="*/ 0 h 82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007" h="82962">
                  <a:moveTo>
                    <a:pt x="0" y="0"/>
                  </a:moveTo>
                  <a:cubicBezTo>
                    <a:pt x="13079" y="25919"/>
                    <a:pt x="21188" y="54058"/>
                    <a:pt x="23908" y="82963"/>
                  </a:cubicBezTo>
                  <a:lnTo>
                    <a:pt x="62008" y="82963"/>
                  </a:lnTo>
                  <a:cubicBezTo>
                    <a:pt x="49982" y="49793"/>
                    <a:pt x="28406" y="20926"/>
                    <a:pt x="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5" name="Freihandform: Form 129">
              <a:extLst>
                <a:ext uri="{FF2B5EF4-FFF2-40B4-BE49-F238E27FC236}">
                  <a16:creationId xmlns:a16="http://schemas.microsoft.com/office/drawing/2014/main" id="{88F8878B-E2F6-4E54-BD8E-B3E07F686D13}"/>
                </a:ext>
              </a:extLst>
            </p:cNvPr>
            <p:cNvSpPr/>
            <p:nvPr/>
          </p:nvSpPr>
          <p:spPr>
            <a:xfrm>
              <a:off x="4343400" y="3214680"/>
              <a:ext cx="461864" cy="429107"/>
            </a:xfrm>
            <a:custGeom>
              <a:avLst/>
              <a:gdLst>
                <a:gd name="connsiteX0" fmla="*/ 365474 w 461864"/>
                <a:gd name="connsiteY0" fmla="*/ 7 h 429107"/>
                <a:gd name="connsiteX1" fmla="*/ 270514 w 461864"/>
                <a:gd name="connsiteY1" fmla="*/ 95546 h 429107"/>
                <a:gd name="connsiteX2" fmla="*/ 299466 w 461864"/>
                <a:gd name="connsiteY2" fmla="*/ 163646 h 429107"/>
                <a:gd name="connsiteX3" fmla="*/ 232791 w 461864"/>
                <a:gd name="connsiteY3" fmla="*/ 370815 h 429107"/>
                <a:gd name="connsiteX4" fmla="*/ 180403 w 461864"/>
                <a:gd name="connsiteY4" fmla="*/ 219082 h 429107"/>
                <a:gd name="connsiteX5" fmla="*/ 187071 w 461864"/>
                <a:gd name="connsiteY5" fmla="*/ 218224 h 429107"/>
                <a:gd name="connsiteX6" fmla="*/ 171355 w 461864"/>
                <a:gd name="connsiteY6" fmla="*/ 181934 h 429107"/>
                <a:gd name="connsiteX7" fmla="*/ 210979 w 461864"/>
                <a:gd name="connsiteY7" fmla="*/ 182410 h 429107"/>
                <a:gd name="connsiteX8" fmla="*/ 182975 w 461864"/>
                <a:gd name="connsiteY8" fmla="*/ 155264 h 429107"/>
                <a:gd name="connsiteX9" fmla="*/ 219170 w 461864"/>
                <a:gd name="connsiteY9" fmla="*/ 140786 h 429107"/>
                <a:gd name="connsiteX10" fmla="*/ 182404 w 461864"/>
                <a:gd name="connsiteY10" fmla="*/ 126213 h 429107"/>
                <a:gd name="connsiteX11" fmla="*/ 210979 w 461864"/>
                <a:gd name="connsiteY11" fmla="*/ 98495 h 429107"/>
                <a:gd name="connsiteX12" fmla="*/ 171926 w 461864"/>
                <a:gd name="connsiteY12" fmla="*/ 99162 h 429107"/>
                <a:gd name="connsiteX13" fmla="*/ 187262 w 461864"/>
                <a:gd name="connsiteY13" fmla="*/ 63253 h 429107"/>
                <a:gd name="connsiteX14" fmla="*/ 150971 w 461864"/>
                <a:gd name="connsiteY14" fmla="*/ 78969 h 429107"/>
                <a:gd name="connsiteX15" fmla="*/ 151448 w 461864"/>
                <a:gd name="connsiteY15" fmla="*/ 39345 h 429107"/>
                <a:gd name="connsiteX16" fmla="*/ 123825 w 461864"/>
                <a:gd name="connsiteY16" fmla="*/ 67253 h 429107"/>
                <a:gd name="connsiteX17" fmla="*/ 109347 w 461864"/>
                <a:gd name="connsiteY17" fmla="*/ 31058 h 429107"/>
                <a:gd name="connsiteX18" fmla="*/ 95250 w 461864"/>
                <a:gd name="connsiteY18" fmla="*/ 67825 h 429107"/>
                <a:gd name="connsiteX19" fmla="*/ 67532 w 461864"/>
                <a:gd name="connsiteY19" fmla="*/ 39250 h 429107"/>
                <a:gd name="connsiteX20" fmla="*/ 68009 w 461864"/>
                <a:gd name="connsiteY20" fmla="*/ 78493 h 429107"/>
                <a:gd name="connsiteX21" fmla="*/ 32099 w 461864"/>
                <a:gd name="connsiteY21" fmla="*/ 63157 h 429107"/>
                <a:gd name="connsiteX22" fmla="*/ 47625 w 461864"/>
                <a:gd name="connsiteY22" fmla="*/ 99448 h 429107"/>
                <a:gd name="connsiteX23" fmla="*/ 8001 w 461864"/>
                <a:gd name="connsiteY23" fmla="*/ 99448 h 429107"/>
                <a:gd name="connsiteX24" fmla="*/ 36576 w 461864"/>
                <a:gd name="connsiteY24" fmla="*/ 126689 h 429107"/>
                <a:gd name="connsiteX25" fmla="*/ 0 w 461864"/>
                <a:gd name="connsiteY25" fmla="*/ 140691 h 429107"/>
                <a:gd name="connsiteX26" fmla="*/ 36767 w 461864"/>
                <a:gd name="connsiteY26" fmla="*/ 155264 h 429107"/>
                <a:gd name="connsiteX27" fmla="*/ 8192 w 461864"/>
                <a:gd name="connsiteY27" fmla="*/ 182887 h 429107"/>
                <a:gd name="connsiteX28" fmla="*/ 47244 w 461864"/>
                <a:gd name="connsiteY28" fmla="*/ 182220 h 429107"/>
                <a:gd name="connsiteX29" fmla="*/ 32099 w 461864"/>
                <a:gd name="connsiteY29" fmla="*/ 218129 h 429107"/>
                <a:gd name="connsiteX30" fmla="*/ 68390 w 461864"/>
                <a:gd name="connsiteY30" fmla="*/ 202413 h 429107"/>
                <a:gd name="connsiteX31" fmla="*/ 68390 w 461864"/>
                <a:gd name="connsiteY31" fmla="*/ 242037 h 429107"/>
                <a:gd name="connsiteX32" fmla="*/ 95631 w 461864"/>
                <a:gd name="connsiteY32" fmla="*/ 214033 h 429107"/>
                <a:gd name="connsiteX33" fmla="*/ 110109 w 461864"/>
                <a:gd name="connsiteY33" fmla="*/ 250228 h 429107"/>
                <a:gd name="connsiteX34" fmla="*/ 124682 w 461864"/>
                <a:gd name="connsiteY34" fmla="*/ 213462 h 429107"/>
                <a:gd name="connsiteX35" fmla="*/ 152305 w 461864"/>
                <a:gd name="connsiteY35" fmla="*/ 242037 h 429107"/>
                <a:gd name="connsiteX36" fmla="*/ 155448 w 461864"/>
                <a:gd name="connsiteY36" fmla="*/ 236798 h 429107"/>
                <a:gd name="connsiteX37" fmla="*/ 195643 w 461864"/>
                <a:gd name="connsiteY37" fmla="*/ 336239 h 429107"/>
                <a:gd name="connsiteX38" fmla="*/ 203930 w 461864"/>
                <a:gd name="connsiteY38" fmla="*/ 389103 h 429107"/>
                <a:gd name="connsiteX39" fmla="*/ 80486 w 461864"/>
                <a:gd name="connsiteY39" fmla="*/ 266707 h 429107"/>
                <a:gd name="connsiteX40" fmla="*/ 164211 w 461864"/>
                <a:gd name="connsiteY40" fmla="*/ 429108 h 429107"/>
                <a:gd name="connsiteX41" fmla="*/ 307086 w 461864"/>
                <a:gd name="connsiteY41" fmla="*/ 429108 h 429107"/>
                <a:gd name="connsiteX42" fmla="*/ 365284 w 461864"/>
                <a:gd name="connsiteY42" fmla="*/ 245466 h 429107"/>
                <a:gd name="connsiteX43" fmla="*/ 262223 w 461864"/>
                <a:gd name="connsiteY43" fmla="*/ 400057 h 429107"/>
                <a:gd name="connsiteX44" fmla="*/ 273844 w 461864"/>
                <a:gd name="connsiteY44" fmla="*/ 308617 h 429107"/>
                <a:gd name="connsiteX45" fmla="*/ 325088 w 461864"/>
                <a:gd name="connsiteY45" fmla="*/ 180982 h 429107"/>
                <a:gd name="connsiteX46" fmla="*/ 452325 w 461864"/>
                <a:gd name="connsiteY46" fmla="*/ 136755 h 429107"/>
                <a:gd name="connsiteX47" fmla="*/ 408098 w 461864"/>
                <a:gd name="connsiteY47" fmla="*/ 9518 h 429107"/>
                <a:gd name="connsiteX48" fmla="*/ 365474 w 461864"/>
                <a:gd name="connsiteY48" fmla="*/ 7 h 429107"/>
                <a:gd name="connsiteX49" fmla="*/ 365474 w 461864"/>
                <a:gd name="connsiteY49" fmla="*/ 171457 h 429107"/>
                <a:gd name="connsiteX50" fmla="*/ 289274 w 461864"/>
                <a:gd name="connsiteY50" fmla="*/ 95257 h 429107"/>
                <a:gd name="connsiteX51" fmla="*/ 365474 w 461864"/>
                <a:gd name="connsiteY51" fmla="*/ 19057 h 429107"/>
                <a:gd name="connsiteX52" fmla="*/ 441674 w 461864"/>
                <a:gd name="connsiteY52" fmla="*/ 95257 h 429107"/>
                <a:gd name="connsiteX53" fmla="*/ 365474 w 461864"/>
                <a:gd name="connsiteY53" fmla="*/ 171457 h 429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61864" h="429107">
                  <a:moveTo>
                    <a:pt x="365474" y="7"/>
                  </a:moveTo>
                  <a:cubicBezTo>
                    <a:pt x="312869" y="166"/>
                    <a:pt x="270354" y="42941"/>
                    <a:pt x="270514" y="95546"/>
                  </a:cubicBezTo>
                  <a:cubicBezTo>
                    <a:pt x="270592" y="121220"/>
                    <a:pt x="281032" y="145776"/>
                    <a:pt x="299466" y="163646"/>
                  </a:cubicBezTo>
                  <a:cubicBezTo>
                    <a:pt x="261721" y="226709"/>
                    <a:pt x="238913" y="297575"/>
                    <a:pt x="232791" y="370815"/>
                  </a:cubicBezTo>
                  <a:cubicBezTo>
                    <a:pt x="226131" y="317130"/>
                    <a:pt x="208284" y="265440"/>
                    <a:pt x="180403" y="219082"/>
                  </a:cubicBezTo>
                  <a:cubicBezTo>
                    <a:pt x="183452" y="219748"/>
                    <a:pt x="185833" y="219558"/>
                    <a:pt x="187071" y="218224"/>
                  </a:cubicBezTo>
                  <a:cubicBezTo>
                    <a:pt x="191167" y="214129"/>
                    <a:pt x="184785" y="200413"/>
                    <a:pt x="171355" y="181934"/>
                  </a:cubicBezTo>
                  <a:cubicBezTo>
                    <a:pt x="193548" y="187173"/>
                    <a:pt x="208788" y="187744"/>
                    <a:pt x="210979" y="182410"/>
                  </a:cubicBezTo>
                  <a:cubicBezTo>
                    <a:pt x="213169" y="177076"/>
                    <a:pt x="202121" y="166980"/>
                    <a:pt x="182975" y="155264"/>
                  </a:cubicBezTo>
                  <a:cubicBezTo>
                    <a:pt x="205169" y="151645"/>
                    <a:pt x="219170" y="146501"/>
                    <a:pt x="219170" y="140786"/>
                  </a:cubicBezTo>
                  <a:cubicBezTo>
                    <a:pt x="219170" y="135071"/>
                    <a:pt x="204883" y="129737"/>
                    <a:pt x="182404" y="126213"/>
                  </a:cubicBezTo>
                  <a:cubicBezTo>
                    <a:pt x="201454" y="114211"/>
                    <a:pt x="212979" y="103924"/>
                    <a:pt x="210979" y="98495"/>
                  </a:cubicBezTo>
                  <a:cubicBezTo>
                    <a:pt x="208979" y="93066"/>
                    <a:pt x="193739" y="93828"/>
                    <a:pt x="171926" y="99162"/>
                  </a:cubicBezTo>
                  <a:cubicBezTo>
                    <a:pt x="185071" y="80874"/>
                    <a:pt x="190976" y="67348"/>
                    <a:pt x="187262" y="63253"/>
                  </a:cubicBezTo>
                  <a:cubicBezTo>
                    <a:pt x="183547" y="59157"/>
                    <a:pt x="169450" y="65539"/>
                    <a:pt x="150971" y="78969"/>
                  </a:cubicBezTo>
                  <a:cubicBezTo>
                    <a:pt x="156210" y="56776"/>
                    <a:pt x="156877" y="41631"/>
                    <a:pt x="151448" y="39345"/>
                  </a:cubicBezTo>
                  <a:cubicBezTo>
                    <a:pt x="146018" y="37059"/>
                    <a:pt x="135827" y="48108"/>
                    <a:pt x="123825" y="67253"/>
                  </a:cubicBezTo>
                  <a:cubicBezTo>
                    <a:pt x="120206" y="45060"/>
                    <a:pt x="115062" y="31058"/>
                    <a:pt x="109347" y="31058"/>
                  </a:cubicBezTo>
                  <a:cubicBezTo>
                    <a:pt x="103632" y="31058"/>
                    <a:pt x="98584" y="45346"/>
                    <a:pt x="95250" y="67825"/>
                  </a:cubicBezTo>
                  <a:cubicBezTo>
                    <a:pt x="83249" y="48775"/>
                    <a:pt x="72962" y="37249"/>
                    <a:pt x="67532" y="39250"/>
                  </a:cubicBezTo>
                  <a:cubicBezTo>
                    <a:pt x="62103" y="41250"/>
                    <a:pt x="62675" y="57157"/>
                    <a:pt x="68009" y="78493"/>
                  </a:cubicBezTo>
                  <a:cubicBezTo>
                    <a:pt x="49720" y="65348"/>
                    <a:pt x="36195" y="59062"/>
                    <a:pt x="32099" y="63157"/>
                  </a:cubicBezTo>
                  <a:cubicBezTo>
                    <a:pt x="28004" y="67253"/>
                    <a:pt x="34385" y="81064"/>
                    <a:pt x="47625" y="99448"/>
                  </a:cubicBezTo>
                  <a:cubicBezTo>
                    <a:pt x="25432" y="94209"/>
                    <a:pt x="10287" y="93637"/>
                    <a:pt x="8001" y="99448"/>
                  </a:cubicBezTo>
                  <a:cubicBezTo>
                    <a:pt x="5715" y="105258"/>
                    <a:pt x="16859" y="114878"/>
                    <a:pt x="36576" y="126689"/>
                  </a:cubicBezTo>
                  <a:cubicBezTo>
                    <a:pt x="14002" y="129737"/>
                    <a:pt x="0" y="134881"/>
                    <a:pt x="0" y="140691"/>
                  </a:cubicBezTo>
                  <a:cubicBezTo>
                    <a:pt x="0" y="146501"/>
                    <a:pt x="14288" y="151645"/>
                    <a:pt x="36767" y="155264"/>
                  </a:cubicBezTo>
                  <a:cubicBezTo>
                    <a:pt x="17717" y="167170"/>
                    <a:pt x="6191" y="177457"/>
                    <a:pt x="8192" y="182887"/>
                  </a:cubicBezTo>
                  <a:cubicBezTo>
                    <a:pt x="10192" y="188316"/>
                    <a:pt x="25337" y="187554"/>
                    <a:pt x="47244" y="182220"/>
                  </a:cubicBezTo>
                  <a:cubicBezTo>
                    <a:pt x="34290" y="200508"/>
                    <a:pt x="28004" y="214033"/>
                    <a:pt x="32099" y="218129"/>
                  </a:cubicBezTo>
                  <a:cubicBezTo>
                    <a:pt x="36195" y="222225"/>
                    <a:pt x="50006" y="215843"/>
                    <a:pt x="68390" y="202413"/>
                  </a:cubicBezTo>
                  <a:cubicBezTo>
                    <a:pt x="63151" y="224606"/>
                    <a:pt x="62579" y="239846"/>
                    <a:pt x="68390" y="242037"/>
                  </a:cubicBezTo>
                  <a:cubicBezTo>
                    <a:pt x="74200" y="244228"/>
                    <a:pt x="83820" y="233179"/>
                    <a:pt x="95631" y="214033"/>
                  </a:cubicBezTo>
                  <a:cubicBezTo>
                    <a:pt x="99155" y="236227"/>
                    <a:pt x="104299" y="250228"/>
                    <a:pt x="110109" y="250228"/>
                  </a:cubicBezTo>
                  <a:cubicBezTo>
                    <a:pt x="115919" y="250228"/>
                    <a:pt x="121063" y="235941"/>
                    <a:pt x="124682" y="213462"/>
                  </a:cubicBezTo>
                  <a:cubicBezTo>
                    <a:pt x="136589" y="232512"/>
                    <a:pt x="146971" y="244037"/>
                    <a:pt x="152305" y="242037"/>
                  </a:cubicBezTo>
                  <a:cubicBezTo>
                    <a:pt x="153829" y="241370"/>
                    <a:pt x="154781" y="239465"/>
                    <a:pt x="155448" y="236798"/>
                  </a:cubicBezTo>
                  <a:cubicBezTo>
                    <a:pt x="173603" y="267818"/>
                    <a:pt x="187144" y="301316"/>
                    <a:pt x="195643" y="336239"/>
                  </a:cubicBezTo>
                  <a:cubicBezTo>
                    <a:pt x="199772" y="353619"/>
                    <a:pt x="202542" y="371293"/>
                    <a:pt x="203930" y="389103"/>
                  </a:cubicBezTo>
                  <a:cubicBezTo>
                    <a:pt x="178845" y="334783"/>
                    <a:pt x="135018" y="291328"/>
                    <a:pt x="80486" y="266707"/>
                  </a:cubicBezTo>
                  <a:cubicBezTo>
                    <a:pt x="115348" y="300044"/>
                    <a:pt x="148495" y="384531"/>
                    <a:pt x="164211" y="429108"/>
                  </a:cubicBezTo>
                  <a:lnTo>
                    <a:pt x="307086" y="429108"/>
                  </a:lnTo>
                  <a:cubicBezTo>
                    <a:pt x="318135" y="371958"/>
                    <a:pt x="338423" y="284518"/>
                    <a:pt x="365284" y="245466"/>
                  </a:cubicBezTo>
                  <a:cubicBezTo>
                    <a:pt x="316089" y="285389"/>
                    <a:pt x="280154" y="339290"/>
                    <a:pt x="262223" y="400057"/>
                  </a:cubicBezTo>
                  <a:cubicBezTo>
                    <a:pt x="262751" y="369244"/>
                    <a:pt x="266647" y="338582"/>
                    <a:pt x="273844" y="308617"/>
                  </a:cubicBezTo>
                  <a:cubicBezTo>
                    <a:pt x="284574" y="263789"/>
                    <a:pt x="301840" y="220783"/>
                    <a:pt x="325088" y="180982"/>
                  </a:cubicBezTo>
                  <a:cubicBezTo>
                    <a:pt x="372436" y="203904"/>
                    <a:pt x="429402" y="184103"/>
                    <a:pt x="452325" y="136755"/>
                  </a:cubicBezTo>
                  <a:cubicBezTo>
                    <a:pt x="475247" y="89407"/>
                    <a:pt x="455446" y="32441"/>
                    <a:pt x="408098" y="9518"/>
                  </a:cubicBezTo>
                  <a:cubicBezTo>
                    <a:pt x="394819" y="3089"/>
                    <a:pt x="380227" y="-167"/>
                    <a:pt x="365474" y="7"/>
                  </a:cubicBezTo>
                  <a:close/>
                  <a:moveTo>
                    <a:pt x="365474" y="171457"/>
                  </a:moveTo>
                  <a:cubicBezTo>
                    <a:pt x="323390" y="171457"/>
                    <a:pt x="289274" y="137341"/>
                    <a:pt x="289274" y="95257"/>
                  </a:cubicBezTo>
                  <a:cubicBezTo>
                    <a:pt x="289274" y="53172"/>
                    <a:pt x="323390" y="19057"/>
                    <a:pt x="365474" y="19057"/>
                  </a:cubicBezTo>
                  <a:cubicBezTo>
                    <a:pt x="407558" y="19057"/>
                    <a:pt x="441674" y="53172"/>
                    <a:pt x="441674" y="95257"/>
                  </a:cubicBezTo>
                  <a:cubicBezTo>
                    <a:pt x="441674" y="137341"/>
                    <a:pt x="407558" y="171457"/>
                    <a:pt x="365474" y="1714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6" name="Freihandform: Form 130">
              <a:extLst>
                <a:ext uri="{FF2B5EF4-FFF2-40B4-BE49-F238E27FC236}">
                  <a16:creationId xmlns:a16="http://schemas.microsoft.com/office/drawing/2014/main" id="{AB3DD0E9-5291-488B-981E-7CB954F38768}"/>
                </a:ext>
              </a:extLst>
            </p:cNvPr>
            <p:cNvSpPr/>
            <p:nvPr/>
          </p:nvSpPr>
          <p:spPr>
            <a:xfrm>
              <a:off x="4734972" y="3258311"/>
              <a:ext cx="23050" cy="23050"/>
            </a:xfrm>
            <a:custGeom>
              <a:avLst/>
              <a:gdLst>
                <a:gd name="connsiteX0" fmla="*/ 11430 w 23050"/>
                <a:gd name="connsiteY0" fmla="*/ 23050 h 23050"/>
                <a:gd name="connsiteX1" fmla="*/ 23050 w 23050"/>
                <a:gd name="connsiteY1" fmla="*/ 11620 h 23050"/>
                <a:gd name="connsiteX2" fmla="*/ 11620 w 23050"/>
                <a:gd name="connsiteY2" fmla="*/ 0 h 23050"/>
                <a:gd name="connsiteX3" fmla="*/ 0 w 23050"/>
                <a:gd name="connsiteY3" fmla="*/ 11430 h 23050"/>
                <a:gd name="connsiteX4" fmla="*/ 0 w 23050"/>
                <a:gd name="connsiteY4" fmla="*/ 11620 h 23050"/>
                <a:gd name="connsiteX5" fmla="*/ 11430 w 23050"/>
                <a:gd name="connsiteY5" fmla="*/ 23050 h 23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50" h="23050">
                  <a:moveTo>
                    <a:pt x="11430" y="23050"/>
                  </a:moveTo>
                  <a:cubicBezTo>
                    <a:pt x="17795" y="23103"/>
                    <a:pt x="22998" y="17985"/>
                    <a:pt x="23050" y="11620"/>
                  </a:cubicBezTo>
                  <a:cubicBezTo>
                    <a:pt x="23102" y="5255"/>
                    <a:pt x="17985" y="53"/>
                    <a:pt x="11620" y="0"/>
                  </a:cubicBezTo>
                  <a:cubicBezTo>
                    <a:pt x="5255" y="-52"/>
                    <a:pt x="53" y="5065"/>
                    <a:pt x="0" y="11430"/>
                  </a:cubicBezTo>
                  <a:cubicBezTo>
                    <a:pt x="0" y="11494"/>
                    <a:pt x="0" y="11557"/>
                    <a:pt x="0" y="11620"/>
                  </a:cubicBezTo>
                  <a:cubicBezTo>
                    <a:pt x="52" y="17911"/>
                    <a:pt x="5139" y="22998"/>
                    <a:pt x="11430" y="230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7" name="Freihandform: Form 131">
              <a:extLst>
                <a:ext uri="{FF2B5EF4-FFF2-40B4-BE49-F238E27FC236}">
                  <a16:creationId xmlns:a16="http://schemas.microsoft.com/office/drawing/2014/main" id="{3FBE5751-9049-4F66-9D44-3EE9DCCEBDDD}"/>
                </a:ext>
              </a:extLst>
            </p:cNvPr>
            <p:cNvSpPr/>
            <p:nvPr/>
          </p:nvSpPr>
          <p:spPr>
            <a:xfrm>
              <a:off x="4748497" y="3301364"/>
              <a:ext cx="23050" cy="23050"/>
            </a:xfrm>
            <a:custGeom>
              <a:avLst/>
              <a:gdLst>
                <a:gd name="connsiteX0" fmla="*/ 0 w 23050"/>
                <a:gd name="connsiteY0" fmla="*/ 11526 h 23050"/>
                <a:gd name="connsiteX1" fmla="*/ 11526 w 23050"/>
                <a:gd name="connsiteY1" fmla="*/ 23051 h 23050"/>
                <a:gd name="connsiteX2" fmla="*/ 23051 w 23050"/>
                <a:gd name="connsiteY2" fmla="*/ 11525 h 23050"/>
                <a:gd name="connsiteX3" fmla="*/ 11525 w 23050"/>
                <a:gd name="connsiteY3" fmla="*/ 0 h 23050"/>
                <a:gd name="connsiteX4" fmla="*/ 11430 w 23050"/>
                <a:gd name="connsiteY4" fmla="*/ 0 h 23050"/>
                <a:gd name="connsiteX5" fmla="*/ 0 w 23050"/>
                <a:gd name="connsiteY5" fmla="*/ 11430 h 23050"/>
                <a:gd name="connsiteX6" fmla="*/ 0 w 23050"/>
                <a:gd name="connsiteY6" fmla="*/ 11526 h 23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050" h="23050">
                  <a:moveTo>
                    <a:pt x="0" y="11526"/>
                  </a:moveTo>
                  <a:cubicBezTo>
                    <a:pt x="1" y="17891"/>
                    <a:pt x="5161" y="23051"/>
                    <a:pt x="11526" y="23051"/>
                  </a:cubicBezTo>
                  <a:cubicBezTo>
                    <a:pt x="17891" y="23050"/>
                    <a:pt x="23051" y="17890"/>
                    <a:pt x="23051" y="11525"/>
                  </a:cubicBezTo>
                  <a:cubicBezTo>
                    <a:pt x="23051" y="5160"/>
                    <a:pt x="17890" y="0"/>
                    <a:pt x="11525" y="0"/>
                  </a:cubicBezTo>
                  <a:cubicBezTo>
                    <a:pt x="11494" y="0"/>
                    <a:pt x="11462" y="0"/>
                    <a:pt x="11430" y="0"/>
                  </a:cubicBezTo>
                  <a:cubicBezTo>
                    <a:pt x="5118" y="0"/>
                    <a:pt x="0" y="5117"/>
                    <a:pt x="0" y="11430"/>
                  </a:cubicBezTo>
                  <a:cubicBezTo>
                    <a:pt x="0" y="11462"/>
                    <a:pt x="0" y="11494"/>
                    <a:pt x="0" y="115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8" name="Freihandform: Form 132">
              <a:extLst>
                <a:ext uri="{FF2B5EF4-FFF2-40B4-BE49-F238E27FC236}">
                  <a16:creationId xmlns:a16="http://schemas.microsoft.com/office/drawing/2014/main" id="{1E8A3628-103A-4AE2-A32F-09748E7FDC2C}"/>
                </a:ext>
              </a:extLst>
            </p:cNvPr>
            <p:cNvSpPr/>
            <p:nvPr/>
          </p:nvSpPr>
          <p:spPr>
            <a:xfrm>
              <a:off x="4703826" y="3286410"/>
              <a:ext cx="30099" cy="30099"/>
            </a:xfrm>
            <a:custGeom>
              <a:avLst/>
              <a:gdLst>
                <a:gd name="connsiteX0" fmla="*/ 30099 w 30099"/>
                <a:gd name="connsiteY0" fmla="*/ 14954 h 30099"/>
                <a:gd name="connsiteX1" fmla="*/ 14954 w 30099"/>
                <a:gd name="connsiteY1" fmla="*/ 0 h 30099"/>
                <a:gd name="connsiteX2" fmla="*/ 0 w 30099"/>
                <a:gd name="connsiteY2" fmla="*/ 15145 h 30099"/>
                <a:gd name="connsiteX3" fmla="*/ 15049 w 30099"/>
                <a:gd name="connsiteY3" fmla="*/ 30099 h 30099"/>
                <a:gd name="connsiteX4" fmla="*/ 30099 w 30099"/>
                <a:gd name="connsiteY4" fmla="*/ 15050 h 30099"/>
                <a:gd name="connsiteX5" fmla="*/ 30099 w 30099"/>
                <a:gd name="connsiteY5" fmla="*/ 14954 h 30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099" h="30099">
                  <a:moveTo>
                    <a:pt x="30099" y="14954"/>
                  </a:moveTo>
                  <a:cubicBezTo>
                    <a:pt x="30046" y="6643"/>
                    <a:pt x="23266" y="-52"/>
                    <a:pt x="14954" y="0"/>
                  </a:cubicBezTo>
                  <a:cubicBezTo>
                    <a:pt x="6643" y="53"/>
                    <a:pt x="-52" y="6833"/>
                    <a:pt x="0" y="15145"/>
                  </a:cubicBezTo>
                  <a:cubicBezTo>
                    <a:pt x="53" y="23419"/>
                    <a:pt x="6775" y="30099"/>
                    <a:pt x="15049" y="30099"/>
                  </a:cubicBezTo>
                  <a:cubicBezTo>
                    <a:pt x="23361" y="30099"/>
                    <a:pt x="30099" y="23361"/>
                    <a:pt x="30099" y="15050"/>
                  </a:cubicBezTo>
                  <a:cubicBezTo>
                    <a:pt x="30099" y="15018"/>
                    <a:pt x="30099" y="14986"/>
                    <a:pt x="30099" y="1495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9" name="Freihandform: Form 133">
              <a:extLst>
                <a:ext uri="{FF2B5EF4-FFF2-40B4-BE49-F238E27FC236}">
                  <a16:creationId xmlns:a16="http://schemas.microsoft.com/office/drawing/2014/main" id="{86D9100E-7D49-4120-AEA0-F1A9D395E364}"/>
                </a:ext>
              </a:extLst>
            </p:cNvPr>
            <p:cNvSpPr/>
            <p:nvPr/>
          </p:nvSpPr>
          <p:spPr>
            <a:xfrm>
              <a:off x="4688300" y="3247548"/>
              <a:ext cx="25146" cy="25146"/>
            </a:xfrm>
            <a:custGeom>
              <a:avLst/>
              <a:gdLst>
                <a:gd name="connsiteX0" fmla="*/ 25146 w 25146"/>
                <a:gd name="connsiteY0" fmla="*/ 12668 h 25146"/>
                <a:gd name="connsiteX1" fmla="*/ 12668 w 25146"/>
                <a:gd name="connsiteY1" fmla="*/ 0 h 25146"/>
                <a:gd name="connsiteX2" fmla="*/ 0 w 25146"/>
                <a:gd name="connsiteY2" fmla="*/ 12478 h 25146"/>
                <a:gd name="connsiteX3" fmla="*/ 12478 w 25146"/>
                <a:gd name="connsiteY3" fmla="*/ 25146 h 25146"/>
                <a:gd name="connsiteX4" fmla="*/ 12573 w 25146"/>
                <a:gd name="connsiteY4" fmla="*/ 25146 h 25146"/>
                <a:gd name="connsiteX5" fmla="*/ 25146 w 25146"/>
                <a:gd name="connsiteY5" fmla="*/ 12668 h 25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146" h="25146">
                  <a:moveTo>
                    <a:pt x="25146" y="12668"/>
                  </a:moveTo>
                  <a:cubicBezTo>
                    <a:pt x="25198" y="5725"/>
                    <a:pt x="19612" y="53"/>
                    <a:pt x="12668" y="0"/>
                  </a:cubicBezTo>
                  <a:cubicBezTo>
                    <a:pt x="5725" y="-52"/>
                    <a:pt x="53" y="5534"/>
                    <a:pt x="0" y="12478"/>
                  </a:cubicBezTo>
                  <a:cubicBezTo>
                    <a:pt x="-52" y="19421"/>
                    <a:pt x="5534" y="25093"/>
                    <a:pt x="12478" y="25146"/>
                  </a:cubicBezTo>
                  <a:cubicBezTo>
                    <a:pt x="12509" y="25146"/>
                    <a:pt x="12541" y="25146"/>
                    <a:pt x="12573" y="25146"/>
                  </a:cubicBezTo>
                  <a:cubicBezTo>
                    <a:pt x="19480" y="25146"/>
                    <a:pt x="25093" y="19575"/>
                    <a:pt x="25146" y="12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0" name="Freihandform: Form 134">
              <a:extLst>
                <a:ext uri="{FF2B5EF4-FFF2-40B4-BE49-F238E27FC236}">
                  <a16:creationId xmlns:a16="http://schemas.microsoft.com/office/drawing/2014/main" id="{062F6494-D6F8-455B-B35E-577AFD9033BA}"/>
                </a:ext>
              </a:extLst>
            </p:cNvPr>
            <p:cNvSpPr/>
            <p:nvPr/>
          </p:nvSpPr>
          <p:spPr>
            <a:xfrm>
              <a:off x="4724972" y="3335273"/>
              <a:ext cx="25146" cy="25146"/>
            </a:xfrm>
            <a:custGeom>
              <a:avLst/>
              <a:gdLst>
                <a:gd name="connsiteX0" fmla="*/ 12667 w 25146"/>
                <a:gd name="connsiteY0" fmla="*/ 0 h 25146"/>
                <a:gd name="connsiteX1" fmla="*/ 0 w 25146"/>
                <a:gd name="connsiteY1" fmla="*/ 12479 h 25146"/>
                <a:gd name="connsiteX2" fmla="*/ 12479 w 25146"/>
                <a:gd name="connsiteY2" fmla="*/ 25146 h 25146"/>
                <a:gd name="connsiteX3" fmla="*/ 25145 w 25146"/>
                <a:gd name="connsiteY3" fmla="*/ 12764 h 25146"/>
                <a:gd name="connsiteX4" fmla="*/ 12764 w 25146"/>
                <a:gd name="connsiteY4" fmla="*/ 1 h 25146"/>
                <a:gd name="connsiteX5" fmla="*/ 12667 w 25146"/>
                <a:gd name="connsiteY5" fmla="*/ 0 h 25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146" h="25146">
                  <a:moveTo>
                    <a:pt x="12667" y="0"/>
                  </a:moveTo>
                  <a:cubicBezTo>
                    <a:pt x="5723" y="-51"/>
                    <a:pt x="52" y="5536"/>
                    <a:pt x="0" y="12479"/>
                  </a:cubicBezTo>
                  <a:cubicBezTo>
                    <a:pt x="-51" y="19423"/>
                    <a:pt x="5536" y="25094"/>
                    <a:pt x="12479" y="25146"/>
                  </a:cubicBezTo>
                  <a:cubicBezTo>
                    <a:pt x="19385" y="25197"/>
                    <a:pt x="25040" y="19669"/>
                    <a:pt x="25145" y="12764"/>
                  </a:cubicBezTo>
                  <a:cubicBezTo>
                    <a:pt x="25250" y="5821"/>
                    <a:pt x="19707" y="107"/>
                    <a:pt x="12764" y="1"/>
                  </a:cubicBezTo>
                  <a:cubicBezTo>
                    <a:pt x="12732" y="1"/>
                    <a:pt x="12699" y="1"/>
                    <a:pt x="1266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261" name="Grafik 142">
            <a:extLst>
              <a:ext uri="{FF2B5EF4-FFF2-40B4-BE49-F238E27FC236}">
                <a16:creationId xmlns:a16="http://schemas.microsoft.com/office/drawing/2014/main" id="{2516DD5A-326E-40BD-9DED-607C9FC1B685}"/>
              </a:ext>
            </a:extLst>
          </p:cNvPr>
          <p:cNvSpPr/>
          <p:nvPr/>
        </p:nvSpPr>
        <p:spPr>
          <a:xfrm>
            <a:off x="3270621" y="3401079"/>
            <a:ext cx="510579" cy="510132"/>
          </a:xfrm>
          <a:custGeom>
            <a:avLst/>
            <a:gdLst>
              <a:gd name="connsiteX0" fmla="*/ 434721 w 435102"/>
              <a:gd name="connsiteY0" fmla="*/ 215456 h 434721"/>
              <a:gd name="connsiteX1" fmla="*/ 434721 w 435102"/>
              <a:gd name="connsiteY1" fmla="*/ 213455 h 434721"/>
              <a:gd name="connsiteX2" fmla="*/ 416866 w 435102"/>
              <a:gd name="connsiteY2" fmla="*/ 196852 h 434721"/>
              <a:gd name="connsiteX3" fmla="*/ 410528 w 435102"/>
              <a:gd name="connsiteY3" fmla="*/ 198311 h 434721"/>
              <a:gd name="connsiteX4" fmla="*/ 362903 w 435102"/>
              <a:gd name="connsiteY4" fmla="*/ 191834 h 434721"/>
              <a:gd name="connsiteX5" fmla="*/ 344710 w 435102"/>
              <a:gd name="connsiteY5" fmla="*/ 174974 h 434721"/>
              <a:gd name="connsiteX6" fmla="*/ 370523 w 435102"/>
              <a:gd name="connsiteY6" fmla="*/ 161925 h 434721"/>
              <a:gd name="connsiteX7" fmla="*/ 384671 w 435102"/>
              <a:gd name="connsiteY7" fmla="*/ 146755 h 434721"/>
              <a:gd name="connsiteX8" fmla="*/ 383477 w 435102"/>
              <a:gd name="connsiteY8" fmla="*/ 141446 h 434721"/>
              <a:gd name="connsiteX9" fmla="*/ 382810 w 435102"/>
              <a:gd name="connsiteY9" fmla="*/ 140113 h 434721"/>
              <a:gd name="connsiteX10" fmla="*/ 382143 w 435102"/>
              <a:gd name="connsiteY10" fmla="*/ 138684 h 434721"/>
              <a:gd name="connsiteX11" fmla="*/ 362421 w 435102"/>
              <a:gd name="connsiteY11" fmla="*/ 132251 h 434721"/>
              <a:gd name="connsiteX12" fmla="*/ 358140 w 435102"/>
              <a:gd name="connsiteY12" fmla="*/ 135541 h 434721"/>
              <a:gd name="connsiteX13" fmla="*/ 335090 w 435102"/>
              <a:gd name="connsiteY13" fmla="*/ 146399 h 434721"/>
              <a:gd name="connsiteX14" fmla="*/ 336709 w 435102"/>
              <a:gd name="connsiteY14" fmla="*/ 131254 h 434721"/>
              <a:gd name="connsiteX15" fmla="*/ 365284 w 435102"/>
              <a:gd name="connsiteY15" fmla="*/ 92107 h 434721"/>
              <a:gd name="connsiteX16" fmla="*/ 375114 w 435102"/>
              <a:gd name="connsiteY16" fmla="*/ 69501 h 434721"/>
              <a:gd name="connsiteX17" fmla="*/ 371189 w 435102"/>
              <a:gd name="connsiteY17" fmla="*/ 63532 h 434721"/>
              <a:gd name="connsiteX18" fmla="*/ 369856 w 435102"/>
              <a:gd name="connsiteY18" fmla="*/ 62294 h 434721"/>
              <a:gd name="connsiteX19" fmla="*/ 368522 w 435102"/>
              <a:gd name="connsiteY19" fmla="*/ 60960 h 434721"/>
              <a:gd name="connsiteX20" fmla="*/ 344020 w 435102"/>
              <a:gd name="connsiteY20" fmla="*/ 61774 h 434721"/>
              <a:gd name="connsiteX21" fmla="*/ 340519 w 435102"/>
              <a:gd name="connsiteY21" fmla="*/ 67342 h 434721"/>
              <a:gd name="connsiteX22" fmla="*/ 305943 w 435102"/>
              <a:gd name="connsiteY22" fmla="*/ 95250 h 434721"/>
              <a:gd name="connsiteX23" fmla="*/ 277368 w 435102"/>
              <a:gd name="connsiteY23" fmla="*/ 96393 h 434721"/>
              <a:gd name="connsiteX24" fmla="*/ 286893 w 435102"/>
              <a:gd name="connsiteY24" fmla="*/ 69533 h 434721"/>
              <a:gd name="connsiteX25" fmla="*/ 286034 w 435102"/>
              <a:gd name="connsiteY25" fmla="*/ 49076 h 434721"/>
              <a:gd name="connsiteX26" fmla="*/ 281368 w 435102"/>
              <a:gd name="connsiteY26" fmla="*/ 46196 h 434721"/>
              <a:gd name="connsiteX27" fmla="*/ 279845 w 435102"/>
              <a:gd name="connsiteY27" fmla="*/ 45625 h 434721"/>
              <a:gd name="connsiteX28" fmla="*/ 278416 w 435102"/>
              <a:gd name="connsiteY28" fmla="*/ 45625 h 434721"/>
              <a:gd name="connsiteX29" fmla="*/ 260055 w 435102"/>
              <a:gd name="connsiteY29" fmla="*/ 54987 h 434721"/>
              <a:gd name="connsiteX30" fmla="*/ 259366 w 435102"/>
              <a:gd name="connsiteY30" fmla="*/ 60293 h 434721"/>
              <a:gd name="connsiteX31" fmla="*/ 251174 w 435102"/>
              <a:gd name="connsiteY31" fmla="*/ 83630 h 434721"/>
              <a:gd name="connsiteX32" fmla="*/ 238125 w 435102"/>
              <a:gd name="connsiteY32" fmla="*/ 67532 h 434721"/>
              <a:gd name="connsiteX33" fmla="*/ 232886 w 435102"/>
              <a:gd name="connsiteY33" fmla="*/ 23717 h 434721"/>
              <a:gd name="connsiteX34" fmla="*/ 223394 w 435102"/>
              <a:gd name="connsiteY34" fmla="*/ 1259 h 434721"/>
              <a:gd name="connsiteX35" fmla="*/ 217360 w 435102"/>
              <a:gd name="connsiteY35" fmla="*/ 0 h 434721"/>
              <a:gd name="connsiteX36" fmla="*/ 213646 w 435102"/>
              <a:gd name="connsiteY36" fmla="*/ 0 h 434721"/>
              <a:gd name="connsiteX37" fmla="*/ 196870 w 435102"/>
              <a:gd name="connsiteY37" fmla="*/ 18062 h 434721"/>
              <a:gd name="connsiteX38" fmla="*/ 198311 w 435102"/>
              <a:gd name="connsiteY38" fmla="*/ 24384 h 434721"/>
              <a:gd name="connsiteX39" fmla="*/ 197453 w 435102"/>
              <a:gd name="connsiteY39" fmla="*/ 58960 h 434721"/>
              <a:gd name="connsiteX40" fmla="*/ 172593 w 435102"/>
              <a:gd name="connsiteY40" fmla="*/ 87535 h 434721"/>
              <a:gd name="connsiteX41" fmla="*/ 161925 w 435102"/>
              <a:gd name="connsiteY41" fmla="*/ 63056 h 434721"/>
              <a:gd name="connsiteX42" fmla="*/ 146693 w 435102"/>
              <a:gd name="connsiteY42" fmla="*/ 49985 h 434721"/>
              <a:gd name="connsiteX43" fmla="*/ 141637 w 435102"/>
              <a:gd name="connsiteY43" fmla="*/ 51340 h 434721"/>
              <a:gd name="connsiteX44" fmla="*/ 140208 w 435102"/>
              <a:gd name="connsiteY44" fmla="*/ 52007 h 434721"/>
              <a:gd name="connsiteX45" fmla="*/ 138779 w 435102"/>
              <a:gd name="connsiteY45" fmla="*/ 52673 h 434721"/>
              <a:gd name="connsiteX46" fmla="*/ 132334 w 435102"/>
              <a:gd name="connsiteY46" fmla="*/ 72249 h 434721"/>
              <a:gd name="connsiteX47" fmla="*/ 135255 w 435102"/>
              <a:gd name="connsiteY47" fmla="*/ 76200 h 434721"/>
              <a:gd name="connsiteX48" fmla="*/ 145733 w 435102"/>
              <a:gd name="connsiteY48" fmla="*/ 96869 h 434721"/>
              <a:gd name="connsiteX49" fmla="*/ 121825 w 435102"/>
              <a:gd name="connsiteY49" fmla="*/ 95250 h 434721"/>
              <a:gd name="connsiteX50" fmla="*/ 91250 w 435102"/>
              <a:gd name="connsiteY50" fmla="*/ 68390 h 434721"/>
              <a:gd name="connsiteX51" fmla="*/ 68761 w 435102"/>
              <a:gd name="connsiteY51" fmla="*/ 60072 h 434721"/>
              <a:gd name="connsiteX52" fmla="*/ 63627 w 435102"/>
              <a:gd name="connsiteY52" fmla="*/ 63722 h 434721"/>
              <a:gd name="connsiteX53" fmla="*/ 62389 w 435102"/>
              <a:gd name="connsiteY53" fmla="*/ 65056 h 434721"/>
              <a:gd name="connsiteX54" fmla="*/ 61055 w 435102"/>
              <a:gd name="connsiteY54" fmla="*/ 66675 h 434721"/>
              <a:gd name="connsiteX55" fmla="*/ 61255 w 435102"/>
              <a:gd name="connsiteY55" fmla="*/ 91325 h 434721"/>
              <a:gd name="connsiteX56" fmla="*/ 67437 w 435102"/>
              <a:gd name="connsiteY56" fmla="*/ 95250 h 434721"/>
              <a:gd name="connsiteX57" fmla="*/ 87916 w 435102"/>
              <a:gd name="connsiteY57" fmla="*/ 114300 h 434721"/>
              <a:gd name="connsiteX58" fmla="*/ 91345 w 435102"/>
              <a:gd name="connsiteY58" fmla="*/ 157925 h 434721"/>
              <a:gd name="connsiteX59" fmla="*/ 91345 w 435102"/>
              <a:gd name="connsiteY59" fmla="*/ 157925 h 434721"/>
              <a:gd name="connsiteX60" fmla="*/ 70009 w 435102"/>
              <a:gd name="connsiteY60" fmla="*/ 149352 h 434721"/>
              <a:gd name="connsiteX61" fmla="*/ 49411 w 435102"/>
              <a:gd name="connsiteY61" fmla="*/ 150040 h 434721"/>
              <a:gd name="connsiteX62" fmla="*/ 46482 w 435102"/>
              <a:gd name="connsiteY62" fmla="*/ 154686 h 434721"/>
              <a:gd name="connsiteX63" fmla="*/ 45911 w 435102"/>
              <a:gd name="connsiteY63" fmla="*/ 156115 h 434721"/>
              <a:gd name="connsiteX64" fmla="*/ 45911 w 435102"/>
              <a:gd name="connsiteY64" fmla="*/ 157639 h 434721"/>
              <a:gd name="connsiteX65" fmla="*/ 55056 w 435102"/>
              <a:gd name="connsiteY65" fmla="*/ 175958 h 434721"/>
              <a:gd name="connsiteX66" fmla="*/ 60293 w 435102"/>
              <a:gd name="connsiteY66" fmla="*/ 176689 h 434721"/>
              <a:gd name="connsiteX67" fmla="*/ 79343 w 435102"/>
              <a:gd name="connsiteY67" fmla="*/ 182118 h 434721"/>
              <a:gd name="connsiteX68" fmla="*/ 80486 w 435102"/>
              <a:gd name="connsiteY68" fmla="*/ 182880 h 434721"/>
              <a:gd name="connsiteX69" fmla="*/ 51911 w 435102"/>
              <a:gd name="connsiteY69" fmla="*/ 203168 h 434721"/>
              <a:gd name="connsiteX70" fmla="*/ 24670 w 435102"/>
              <a:gd name="connsiteY70" fmla="*/ 202502 h 434721"/>
              <a:gd name="connsiteX71" fmla="*/ 1562 w 435102"/>
              <a:gd name="connsiteY71" fmla="*/ 211086 h 434721"/>
              <a:gd name="connsiteX72" fmla="*/ 0 w 435102"/>
              <a:gd name="connsiteY72" fmla="*/ 217456 h 434721"/>
              <a:gd name="connsiteX73" fmla="*/ 0 w 435102"/>
              <a:gd name="connsiteY73" fmla="*/ 221171 h 434721"/>
              <a:gd name="connsiteX74" fmla="*/ 17894 w 435102"/>
              <a:gd name="connsiteY74" fmla="*/ 237929 h 434721"/>
              <a:gd name="connsiteX75" fmla="*/ 24003 w 435102"/>
              <a:gd name="connsiteY75" fmla="*/ 236601 h 434721"/>
              <a:gd name="connsiteX76" fmla="*/ 47625 w 435102"/>
              <a:gd name="connsiteY76" fmla="*/ 234506 h 434721"/>
              <a:gd name="connsiteX77" fmla="*/ 84487 w 435102"/>
              <a:gd name="connsiteY77" fmla="*/ 264414 h 434721"/>
              <a:gd name="connsiteX78" fmla="*/ 62960 w 435102"/>
              <a:gd name="connsiteY78" fmla="*/ 273177 h 434721"/>
              <a:gd name="connsiteX79" fmla="*/ 49608 w 435102"/>
              <a:gd name="connsiteY79" fmla="*/ 288342 h 434721"/>
              <a:gd name="connsiteX80" fmla="*/ 50959 w 435102"/>
              <a:gd name="connsiteY80" fmla="*/ 293561 h 434721"/>
              <a:gd name="connsiteX81" fmla="*/ 51625 w 435102"/>
              <a:gd name="connsiteY81" fmla="*/ 294989 h 434721"/>
              <a:gd name="connsiteX82" fmla="*/ 52292 w 435102"/>
              <a:gd name="connsiteY82" fmla="*/ 296323 h 434721"/>
              <a:gd name="connsiteX83" fmla="*/ 71827 w 435102"/>
              <a:gd name="connsiteY83" fmla="*/ 302891 h 434721"/>
              <a:gd name="connsiteX84" fmla="*/ 76200 w 435102"/>
              <a:gd name="connsiteY84" fmla="*/ 299561 h 434721"/>
              <a:gd name="connsiteX85" fmla="*/ 95250 w 435102"/>
              <a:gd name="connsiteY85" fmla="*/ 289560 h 434721"/>
              <a:gd name="connsiteX86" fmla="*/ 89535 w 435102"/>
              <a:gd name="connsiteY86" fmla="*/ 323850 h 434721"/>
              <a:gd name="connsiteX87" fmla="*/ 68580 w 435102"/>
              <a:gd name="connsiteY87" fmla="*/ 342900 h 434721"/>
              <a:gd name="connsiteX88" fmla="*/ 59064 w 435102"/>
              <a:gd name="connsiteY88" fmla="*/ 364908 h 434721"/>
              <a:gd name="connsiteX89" fmla="*/ 63722 w 435102"/>
              <a:gd name="connsiteY89" fmla="*/ 371475 h 434721"/>
              <a:gd name="connsiteX90" fmla="*/ 65056 w 435102"/>
              <a:gd name="connsiteY90" fmla="*/ 372809 h 434721"/>
              <a:gd name="connsiteX91" fmla="*/ 66294 w 435102"/>
              <a:gd name="connsiteY91" fmla="*/ 374047 h 434721"/>
              <a:gd name="connsiteX92" fmla="*/ 90944 w 435102"/>
              <a:gd name="connsiteY92" fmla="*/ 373847 h 434721"/>
              <a:gd name="connsiteX93" fmla="*/ 94869 w 435102"/>
              <a:gd name="connsiteY93" fmla="*/ 367665 h 434721"/>
              <a:gd name="connsiteX94" fmla="*/ 157067 w 435102"/>
              <a:gd name="connsiteY94" fmla="*/ 342900 h 434721"/>
              <a:gd name="connsiteX95" fmla="*/ 147542 w 435102"/>
              <a:gd name="connsiteY95" fmla="*/ 365760 h 434721"/>
              <a:gd name="connsiteX96" fmla="*/ 148870 w 435102"/>
              <a:gd name="connsiteY96" fmla="*/ 385922 h 434721"/>
              <a:gd name="connsiteX97" fmla="*/ 153448 w 435102"/>
              <a:gd name="connsiteY97" fmla="*/ 388620 h 434721"/>
              <a:gd name="connsiteX98" fmla="*/ 154877 w 435102"/>
              <a:gd name="connsiteY98" fmla="*/ 389192 h 434721"/>
              <a:gd name="connsiteX99" fmla="*/ 156305 w 435102"/>
              <a:gd name="connsiteY99" fmla="*/ 389763 h 434721"/>
              <a:gd name="connsiteX100" fmla="*/ 174700 w 435102"/>
              <a:gd name="connsiteY100" fmla="*/ 380172 h 434721"/>
              <a:gd name="connsiteX101" fmla="*/ 175355 w 435102"/>
              <a:gd name="connsiteY101" fmla="*/ 374999 h 434721"/>
              <a:gd name="connsiteX102" fmla="*/ 181737 w 435102"/>
              <a:gd name="connsiteY102" fmla="*/ 354140 h 434721"/>
              <a:gd name="connsiteX103" fmla="*/ 200787 w 435102"/>
              <a:gd name="connsiteY103" fmla="*/ 380810 h 434721"/>
              <a:gd name="connsiteX104" fmla="*/ 200787 w 435102"/>
              <a:gd name="connsiteY104" fmla="*/ 411671 h 434721"/>
              <a:gd name="connsiteX105" fmla="*/ 210510 w 435102"/>
              <a:gd name="connsiteY105" fmla="*/ 433588 h 434721"/>
              <a:gd name="connsiteX106" fmla="*/ 216789 w 435102"/>
              <a:gd name="connsiteY106" fmla="*/ 434721 h 434721"/>
              <a:gd name="connsiteX107" fmla="*/ 220504 w 435102"/>
              <a:gd name="connsiteY107" fmla="*/ 434721 h 434721"/>
              <a:gd name="connsiteX108" fmla="*/ 237290 w 435102"/>
              <a:gd name="connsiteY108" fmla="*/ 416853 h 434721"/>
              <a:gd name="connsiteX109" fmla="*/ 235839 w 435102"/>
              <a:gd name="connsiteY109" fmla="*/ 410432 h 434721"/>
              <a:gd name="connsiteX110" fmla="*/ 239268 w 435102"/>
              <a:gd name="connsiteY110" fmla="*/ 369475 h 434721"/>
              <a:gd name="connsiteX111" fmla="*/ 261176 w 435102"/>
              <a:gd name="connsiteY111" fmla="*/ 346805 h 434721"/>
              <a:gd name="connsiteX112" fmla="*/ 272510 w 435102"/>
              <a:gd name="connsiteY112" fmla="*/ 370523 h 434721"/>
              <a:gd name="connsiteX113" fmla="*/ 287681 w 435102"/>
              <a:gd name="connsiteY113" fmla="*/ 384671 h 434721"/>
              <a:gd name="connsiteX114" fmla="*/ 292989 w 435102"/>
              <a:gd name="connsiteY114" fmla="*/ 383477 h 434721"/>
              <a:gd name="connsiteX115" fmla="*/ 294418 w 435102"/>
              <a:gd name="connsiteY115" fmla="*/ 382810 h 434721"/>
              <a:gd name="connsiteX116" fmla="*/ 295751 w 435102"/>
              <a:gd name="connsiteY116" fmla="*/ 382143 h 434721"/>
              <a:gd name="connsiteX117" fmla="*/ 302276 w 435102"/>
              <a:gd name="connsiteY117" fmla="*/ 362451 h 434721"/>
              <a:gd name="connsiteX118" fmla="*/ 298990 w 435102"/>
              <a:gd name="connsiteY118" fmla="*/ 358140 h 434721"/>
              <a:gd name="connsiteX119" fmla="*/ 288322 w 435102"/>
              <a:gd name="connsiteY119" fmla="*/ 336709 h 434721"/>
              <a:gd name="connsiteX120" fmla="*/ 342424 w 435102"/>
              <a:gd name="connsiteY120" fmla="*/ 365284 h 434721"/>
              <a:gd name="connsiteX121" fmla="*/ 364462 w 435102"/>
              <a:gd name="connsiteY121" fmla="*/ 376024 h 434721"/>
              <a:gd name="connsiteX122" fmla="*/ 371475 w 435102"/>
              <a:gd name="connsiteY122" fmla="*/ 371475 h 434721"/>
              <a:gd name="connsiteX123" fmla="*/ 372809 w 435102"/>
              <a:gd name="connsiteY123" fmla="*/ 370142 h 434721"/>
              <a:gd name="connsiteX124" fmla="*/ 374047 w 435102"/>
              <a:gd name="connsiteY124" fmla="*/ 368808 h 434721"/>
              <a:gd name="connsiteX125" fmla="*/ 373233 w 435102"/>
              <a:gd name="connsiteY125" fmla="*/ 344305 h 434721"/>
              <a:gd name="connsiteX126" fmla="*/ 367665 w 435102"/>
              <a:gd name="connsiteY126" fmla="*/ 340805 h 434721"/>
              <a:gd name="connsiteX127" fmla="*/ 339757 w 435102"/>
              <a:gd name="connsiteY127" fmla="*/ 305657 h 434721"/>
              <a:gd name="connsiteX128" fmla="*/ 338423 w 435102"/>
              <a:gd name="connsiteY128" fmla="*/ 277749 h 434721"/>
              <a:gd name="connsiteX129" fmla="*/ 366046 w 435102"/>
              <a:gd name="connsiteY129" fmla="*/ 287274 h 434721"/>
              <a:gd name="connsiteX130" fmla="*/ 386341 w 435102"/>
              <a:gd name="connsiteY130" fmla="*/ 285926 h 434721"/>
              <a:gd name="connsiteX131" fmla="*/ 389001 w 435102"/>
              <a:gd name="connsiteY131" fmla="*/ 281464 h 434721"/>
              <a:gd name="connsiteX132" fmla="*/ 389573 w 435102"/>
              <a:gd name="connsiteY132" fmla="*/ 279940 h 434721"/>
              <a:gd name="connsiteX133" fmla="*/ 390144 w 435102"/>
              <a:gd name="connsiteY133" fmla="*/ 278416 h 434721"/>
              <a:gd name="connsiteX134" fmla="*/ 381020 w 435102"/>
              <a:gd name="connsiteY134" fmla="*/ 260086 h 434721"/>
              <a:gd name="connsiteX135" fmla="*/ 375475 w 435102"/>
              <a:gd name="connsiteY135" fmla="*/ 259366 h 434721"/>
              <a:gd name="connsiteX136" fmla="*/ 351663 w 435102"/>
              <a:gd name="connsiteY136" fmla="*/ 250984 h 434721"/>
              <a:gd name="connsiteX137" fmla="*/ 365379 w 435102"/>
              <a:gd name="connsiteY137" fmla="*/ 239935 h 434721"/>
              <a:gd name="connsiteX138" fmla="*/ 411861 w 435102"/>
              <a:gd name="connsiteY138" fmla="*/ 233839 h 434721"/>
              <a:gd name="connsiteX139" fmla="*/ 433938 w 435102"/>
              <a:gd name="connsiteY139" fmla="*/ 224145 h 434721"/>
              <a:gd name="connsiteX140" fmla="*/ 435102 w 435102"/>
              <a:gd name="connsiteY140" fmla="*/ 217837 h 434721"/>
              <a:gd name="connsiteX141" fmla="*/ 171450 w 435102"/>
              <a:gd name="connsiteY141" fmla="*/ 232982 h 434721"/>
              <a:gd name="connsiteX142" fmla="*/ 128115 w 435102"/>
              <a:gd name="connsiteY142" fmla="*/ 190597 h 434721"/>
              <a:gd name="connsiteX143" fmla="*/ 170499 w 435102"/>
              <a:gd name="connsiteY143" fmla="*/ 147262 h 434721"/>
              <a:gd name="connsiteX144" fmla="*/ 213835 w 435102"/>
              <a:gd name="connsiteY144" fmla="*/ 189646 h 434721"/>
              <a:gd name="connsiteX145" fmla="*/ 213836 w 435102"/>
              <a:gd name="connsiteY145" fmla="*/ 189833 h 434721"/>
              <a:gd name="connsiteX146" fmla="*/ 171450 w 435102"/>
              <a:gd name="connsiteY146" fmla="*/ 232982 h 434721"/>
              <a:gd name="connsiteX147" fmla="*/ 216218 w 435102"/>
              <a:gd name="connsiteY147" fmla="*/ 290989 h 434721"/>
              <a:gd name="connsiteX148" fmla="*/ 188977 w 435102"/>
              <a:gd name="connsiteY148" fmla="*/ 264128 h 434721"/>
              <a:gd name="connsiteX149" fmla="*/ 215838 w 435102"/>
              <a:gd name="connsiteY149" fmla="*/ 236888 h 434721"/>
              <a:gd name="connsiteX150" fmla="*/ 243078 w 435102"/>
              <a:gd name="connsiteY150" fmla="*/ 263747 h 434721"/>
              <a:gd name="connsiteX151" fmla="*/ 216410 w 435102"/>
              <a:gd name="connsiteY151" fmla="*/ 290988 h 434721"/>
              <a:gd name="connsiteX152" fmla="*/ 215932 w 435102"/>
              <a:gd name="connsiteY152" fmla="*/ 290989 h 434721"/>
              <a:gd name="connsiteX153" fmla="*/ 251174 w 435102"/>
              <a:gd name="connsiteY153" fmla="*/ 225647 h 434721"/>
              <a:gd name="connsiteX154" fmla="*/ 227935 w 435102"/>
              <a:gd name="connsiteY154" fmla="*/ 202787 h 434721"/>
              <a:gd name="connsiteX155" fmla="*/ 250795 w 435102"/>
              <a:gd name="connsiteY155" fmla="*/ 179548 h 434721"/>
              <a:gd name="connsiteX156" fmla="*/ 274034 w 435102"/>
              <a:gd name="connsiteY156" fmla="*/ 202406 h 434721"/>
              <a:gd name="connsiteX157" fmla="*/ 250984 w 435102"/>
              <a:gd name="connsiteY157" fmla="*/ 225647 h 434721"/>
              <a:gd name="connsiteX158" fmla="*/ 250889 w 435102"/>
              <a:gd name="connsiteY158" fmla="*/ 225647 h 434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</a:cxnLst>
            <a:rect l="l" t="t" r="r" b="b"/>
            <a:pathLst>
              <a:path w="435102" h="434721">
                <a:moveTo>
                  <a:pt x="434721" y="215456"/>
                </a:moveTo>
                <a:lnTo>
                  <a:pt x="434721" y="213455"/>
                </a:lnTo>
                <a:cubicBezTo>
                  <a:pt x="434375" y="203940"/>
                  <a:pt x="426381" y="196507"/>
                  <a:pt x="416866" y="196852"/>
                </a:cubicBezTo>
                <a:cubicBezTo>
                  <a:pt x="414680" y="196932"/>
                  <a:pt x="412529" y="197427"/>
                  <a:pt x="410528" y="198311"/>
                </a:cubicBezTo>
                <a:cubicBezTo>
                  <a:pt x="394454" y="203026"/>
                  <a:pt x="377133" y="200670"/>
                  <a:pt x="362903" y="191834"/>
                </a:cubicBezTo>
                <a:cubicBezTo>
                  <a:pt x="355497" y="187862"/>
                  <a:pt x="349233" y="182057"/>
                  <a:pt x="344710" y="174974"/>
                </a:cubicBezTo>
                <a:cubicBezTo>
                  <a:pt x="351503" y="167713"/>
                  <a:pt x="360647" y="163090"/>
                  <a:pt x="370523" y="161925"/>
                </a:cubicBezTo>
                <a:cubicBezTo>
                  <a:pt x="378619" y="161643"/>
                  <a:pt x="384953" y="154851"/>
                  <a:pt x="384671" y="146755"/>
                </a:cubicBezTo>
                <a:cubicBezTo>
                  <a:pt x="384608" y="144926"/>
                  <a:pt x="384202" y="143126"/>
                  <a:pt x="383477" y="141446"/>
                </a:cubicBezTo>
                <a:cubicBezTo>
                  <a:pt x="383198" y="141032"/>
                  <a:pt x="382974" y="140584"/>
                  <a:pt x="382810" y="140113"/>
                </a:cubicBezTo>
                <a:cubicBezTo>
                  <a:pt x="382548" y="139656"/>
                  <a:pt x="382325" y="139178"/>
                  <a:pt x="382143" y="138684"/>
                </a:cubicBezTo>
                <a:cubicBezTo>
                  <a:pt x="378473" y="131462"/>
                  <a:pt x="369644" y="128581"/>
                  <a:pt x="362421" y="132251"/>
                </a:cubicBezTo>
                <a:cubicBezTo>
                  <a:pt x="360803" y="133073"/>
                  <a:pt x="359351" y="134189"/>
                  <a:pt x="358140" y="135541"/>
                </a:cubicBezTo>
                <a:cubicBezTo>
                  <a:pt x="351866" y="141605"/>
                  <a:pt x="343761" y="145423"/>
                  <a:pt x="335090" y="146399"/>
                </a:cubicBezTo>
                <a:cubicBezTo>
                  <a:pt x="334813" y="141297"/>
                  <a:pt x="335360" y="136183"/>
                  <a:pt x="336709" y="131254"/>
                </a:cubicBezTo>
                <a:cubicBezTo>
                  <a:pt x="340216" y="114728"/>
                  <a:pt x="350613" y="100485"/>
                  <a:pt x="365284" y="92107"/>
                </a:cubicBezTo>
                <a:cubicBezTo>
                  <a:pt x="374241" y="88579"/>
                  <a:pt x="378642" y="78458"/>
                  <a:pt x="375114" y="69501"/>
                </a:cubicBezTo>
                <a:cubicBezTo>
                  <a:pt x="374232" y="67261"/>
                  <a:pt x="372895" y="65229"/>
                  <a:pt x="371189" y="63532"/>
                </a:cubicBezTo>
                <a:lnTo>
                  <a:pt x="369856" y="62294"/>
                </a:lnTo>
                <a:lnTo>
                  <a:pt x="368522" y="60960"/>
                </a:lnTo>
                <a:cubicBezTo>
                  <a:pt x="361531" y="54419"/>
                  <a:pt x="350561" y="54783"/>
                  <a:pt x="344020" y="61774"/>
                </a:cubicBezTo>
                <a:cubicBezTo>
                  <a:pt x="342508" y="63390"/>
                  <a:pt x="341320" y="65280"/>
                  <a:pt x="340519" y="67342"/>
                </a:cubicBezTo>
                <a:cubicBezTo>
                  <a:pt x="333326" y="81007"/>
                  <a:pt x="320818" y="91102"/>
                  <a:pt x="305943" y="95250"/>
                </a:cubicBezTo>
                <a:cubicBezTo>
                  <a:pt x="296746" y="98478"/>
                  <a:pt x="286793" y="98876"/>
                  <a:pt x="277368" y="96393"/>
                </a:cubicBezTo>
                <a:cubicBezTo>
                  <a:pt x="277250" y="86592"/>
                  <a:pt x="280627" y="77070"/>
                  <a:pt x="286893" y="69533"/>
                </a:cubicBezTo>
                <a:cubicBezTo>
                  <a:pt x="292305" y="63646"/>
                  <a:pt x="291920" y="54487"/>
                  <a:pt x="286034" y="49076"/>
                </a:cubicBezTo>
                <a:cubicBezTo>
                  <a:pt x="284676" y="47827"/>
                  <a:pt x="283093" y="46850"/>
                  <a:pt x="281368" y="46196"/>
                </a:cubicBezTo>
                <a:lnTo>
                  <a:pt x="279845" y="45625"/>
                </a:lnTo>
                <a:lnTo>
                  <a:pt x="278416" y="45625"/>
                </a:lnTo>
                <a:cubicBezTo>
                  <a:pt x="270760" y="43140"/>
                  <a:pt x="262540" y="47332"/>
                  <a:pt x="260055" y="54987"/>
                </a:cubicBezTo>
                <a:cubicBezTo>
                  <a:pt x="259500" y="56698"/>
                  <a:pt x="259266" y="58497"/>
                  <a:pt x="259366" y="60293"/>
                </a:cubicBezTo>
                <a:cubicBezTo>
                  <a:pt x="259182" y="68744"/>
                  <a:pt x="256313" y="76918"/>
                  <a:pt x="251174" y="83630"/>
                </a:cubicBezTo>
                <a:cubicBezTo>
                  <a:pt x="245696" y="79287"/>
                  <a:pt x="241241" y="73791"/>
                  <a:pt x="238125" y="67532"/>
                </a:cubicBezTo>
                <a:cubicBezTo>
                  <a:pt x="230424" y="54270"/>
                  <a:pt x="228529" y="38421"/>
                  <a:pt x="232886" y="23717"/>
                </a:cubicBezTo>
                <a:cubicBezTo>
                  <a:pt x="236467" y="14895"/>
                  <a:pt x="232217" y="4840"/>
                  <a:pt x="223394" y="1259"/>
                </a:cubicBezTo>
                <a:cubicBezTo>
                  <a:pt x="221475" y="481"/>
                  <a:pt x="219431" y="54"/>
                  <a:pt x="217360" y="0"/>
                </a:cubicBezTo>
                <a:lnTo>
                  <a:pt x="213646" y="0"/>
                </a:lnTo>
                <a:cubicBezTo>
                  <a:pt x="204026" y="355"/>
                  <a:pt x="196515" y="8442"/>
                  <a:pt x="196870" y="18062"/>
                </a:cubicBezTo>
                <a:cubicBezTo>
                  <a:pt x="196951" y="20241"/>
                  <a:pt x="197439" y="22385"/>
                  <a:pt x="198311" y="24384"/>
                </a:cubicBezTo>
                <a:cubicBezTo>
                  <a:pt x="202180" y="35639"/>
                  <a:pt x="201876" y="47910"/>
                  <a:pt x="197453" y="58960"/>
                </a:cubicBezTo>
                <a:cubicBezTo>
                  <a:pt x="193094" y="71295"/>
                  <a:pt x="184207" y="81511"/>
                  <a:pt x="172593" y="87535"/>
                </a:cubicBezTo>
                <a:cubicBezTo>
                  <a:pt x="166325" y="80846"/>
                  <a:pt x="162557" y="72200"/>
                  <a:pt x="161925" y="63056"/>
                </a:cubicBezTo>
                <a:cubicBezTo>
                  <a:pt x="161328" y="55240"/>
                  <a:pt x="154508" y="49388"/>
                  <a:pt x="146693" y="49985"/>
                </a:cubicBezTo>
                <a:cubicBezTo>
                  <a:pt x="144938" y="50119"/>
                  <a:pt x="143224" y="50579"/>
                  <a:pt x="141637" y="51340"/>
                </a:cubicBezTo>
                <a:lnTo>
                  <a:pt x="140208" y="52007"/>
                </a:lnTo>
                <a:lnTo>
                  <a:pt x="138779" y="52673"/>
                </a:lnTo>
                <a:cubicBezTo>
                  <a:pt x="131594" y="56299"/>
                  <a:pt x="128708" y="65063"/>
                  <a:pt x="132334" y="72249"/>
                </a:cubicBezTo>
                <a:cubicBezTo>
                  <a:pt x="133077" y="73722"/>
                  <a:pt x="134065" y="75058"/>
                  <a:pt x="135255" y="76200"/>
                </a:cubicBezTo>
                <a:cubicBezTo>
                  <a:pt x="140773" y="81860"/>
                  <a:pt x="144429" y="89072"/>
                  <a:pt x="145733" y="96869"/>
                </a:cubicBezTo>
                <a:cubicBezTo>
                  <a:pt x="137765" y="98517"/>
                  <a:pt x="129498" y="97957"/>
                  <a:pt x="121825" y="95250"/>
                </a:cubicBezTo>
                <a:cubicBezTo>
                  <a:pt x="108419" y="90802"/>
                  <a:pt x="97387" y="81111"/>
                  <a:pt x="91250" y="68390"/>
                </a:cubicBezTo>
                <a:cubicBezTo>
                  <a:pt x="87336" y="59883"/>
                  <a:pt x="77268" y="56159"/>
                  <a:pt x="68761" y="60072"/>
                </a:cubicBezTo>
                <a:cubicBezTo>
                  <a:pt x="66837" y="60958"/>
                  <a:pt x="65095" y="62196"/>
                  <a:pt x="63627" y="63722"/>
                </a:cubicBezTo>
                <a:lnTo>
                  <a:pt x="62389" y="65056"/>
                </a:lnTo>
                <a:lnTo>
                  <a:pt x="61055" y="66675"/>
                </a:lnTo>
                <a:cubicBezTo>
                  <a:pt x="54303" y="73537"/>
                  <a:pt x="54393" y="84573"/>
                  <a:pt x="61255" y="91325"/>
                </a:cubicBezTo>
                <a:cubicBezTo>
                  <a:pt x="63014" y="93056"/>
                  <a:pt x="65122" y="94394"/>
                  <a:pt x="67437" y="95250"/>
                </a:cubicBezTo>
                <a:cubicBezTo>
                  <a:pt x="76089" y="99299"/>
                  <a:pt x="83252" y="105963"/>
                  <a:pt x="87916" y="114300"/>
                </a:cubicBezTo>
                <a:cubicBezTo>
                  <a:pt x="95900" y="127479"/>
                  <a:pt x="97171" y="143660"/>
                  <a:pt x="91345" y="157925"/>
                </a:cubicBezTo>
                <a:lnTo>
                  <a:pt x="91345" y="157925"/>
                </a:lnTo>
                <a:cubicBezTo>
                  <a:pt x="83531" y="157285"/>
                  <a:pt x="76093" y="154296"/>
                  <a:pt x="70009" y="149352"/>
                </a:cubicBezTo>
                <a:cubicBezTo>
                  <a:pt x="64131" y="143854"/>
                  <a:pt x="54909" y="144162"/>
                  <a:pt x="49411" y="150040"/>
                </a:cubicBezTo>
                <a:cubicBezTo>
                  <a:pt x="48149" y="151389"/>
                  <a:pt x="47155" y="152966"/>
                  <a:pt x="46482" y="154686"/>
                </a:cubicBezTo>
                <a:lnTo>
                  <a:pt x="45911" y="156115"/>
                </a:lnTo>
                <a:cubicBezTo>
                  <a:pt x="45965" y="156621"/>
                  <a:pt x="45965" y="157132"/>
                  <a:pt x="45911" y="157639"/>
                </a:cubicBezTo>
                <a:cubicBezTo>
                  <a:pt x="43377" y="165223"/>
                  <a:pt x="47472" y="173425"/>
                  <a:pt x="55056" y="175958"/>
                </a:cubicBezTo>
                <a:cubicBezTo>
                  <a:pt x="56742" y="176521"/>
                  <a:pt x="58517" y="176769"/>
                  <a:pt x="60293" y="176689"/>
                </a:cubicBezTo>
                <a:cubicBezTo>
                  <a:pt x="67020" y="176722"/>
                  <a:pt x="73610" y="178600"/>
                  <a:pt x="79343" y="182118"/>
                </a:cubicBezTo>
                <a:lnTo>
                  <a:pt x="80486" y="182880"/>
                </a:lnTo>
                <a:cubicBezTo>
                  <a:pt x="73811" y="192956"/>
                  <a:pt x="63625" y="200188"/>
                  <a:pt x="51911" y="203168"/>
                </a:cubicBezTo>
                <a:cubicBezTo>
                  <a:pt x="42973" y="205708"/>
                  <a:pt x="33474" y="205476"/>
                  <a:pt x="24670" y="202502"/>
                </a:cubicBezTo>
                <a:cubicBezTo>
                  <a:pt x="15918" y="198491"/>
                  <a:pt x="5572" y="202334"/>
                  <a:pt x="1562" y="211086"/>
                </a:cubicBezTo>
                <a:cubicBezTo>
                  <a:pt x="643" y="213091"/>
                  <a:pt x="113" y="215253"/>
                  <a:pt x="0" y="217456"/>
                </a:cubicBezTo>
                <a:lnTo>
                  <a:pt x="0" y="221171"/>
                </a:lnTo>
                <a:cubicBezTo>
                  <a:pt x="313" y="230740"/>
                  <a:pt x="8325" y="238243"/>
                  <a:pt x="17894" y="237929"/>
                </a:cubicBezTo>
                <a:cubicBezTo>
                  <a:pt x="19994" y="237860"/>
                  <a:pt x="22064" y="237410"/>
                  <a:pt x="24003" y="236601"/>
                </a:cubicBezTo>
                <a:cubicBezTo>
                  <a:pt x="31538" y="233759"/>
                  <a:pt x="39707" y="233034"/>
                  <a:pt x="47625" y="234506"/>
                </a:cubicBezTo>
                <a:cubicBezTo>
                  <a:pt x="64270" y="237402"/>
                  <a:pt x="78223" y="248722"/>
                  <a:pt x="84487" y="264414"/>
                </a:cubicBezTo>
                <a:cubicBezTo>
                  <a:pt x="78399" y="269506"/>
                  <a:pt x="70873" y="272569"/>
                  <a:pt x="62960" y="273177"/>
                </a:cubicBezTo>
                <a:cubicBezTo>
                  <a:pt x="55085" y="273678"/>
                  <a:pt x="49107" y="280467"/>
                  <a:pt x="49608" y="288342"/>
                </a:cubicBezTo>
                <a:cubicBezTo>
                  <a:pt x="49723" y="290152"/>
                  <a:pt x="50182" y="291923"/>
                  <a:pt x="50959" y="293561"/>
                </a:cubicBezTo>
                <a:cubicBezTo>
                  <a:pt x="51141" y="294054"/>
                  <a:pt x="51364" y="294532"/>
                  <a:pt x="51625" y="294989"/>
                </a:cubicBezTo>
                <a:cubicBezTo>
                  <a:pt x="51790" y="295461"/>
                  <a:pt x="52014" y="295909"/>
                  <a:pt x="52292" y="296323"/>
                </a:cubicBezTo>
                <a:cubicBezTo>
                  <a:pt x="55873" y="303531"/>
                  <a:pt x="64619" y="306471"/>
                  <a:pt x="71827" y="302891"/>
                </a:cubicBezTo>
                <a:cubicBezTo>
                  <a:pt x="73483" y="302068"/>
                  <a:pt x="74967" y="300938"/>
                  <a:pt x="76200" y="299561"/>
                </a:cubicBezTo>
                <a:cubicBezTo>
                  <a:pt x="81457" y="294467"/>
                  <a:pt x="88071" y="290994"/>
                  <a:pt x="95250" y="289560"/>
                </a:cubicBezTo>
                <a:cubicBezTo>
                  <a:pt x="97734" y="301302"/>
                  <a:pt x="95693" y="313548"/>
                  <a:pt x="89535" y="323850"/>
                </a:cubicBezTo>
                <a:cubicBezTo>
                  <a:pt x="84722" y="332241"/>
                  <a:pt x="77391" y="338906"/>
                  <a:pt x="68580" y="342900"/>
                </a:cubicBezTo>
                <a:cubicBezTo>
                  <a:pt x="59875" y="346349"/>
                  <a:pt x="55614" y="356203"/>
                  <a:pt x="59064" y="364908"/>
                </a:cubicBezTo>
                <a:cubicBezTo>
                  <a:pt x="60067" y="367439"/>
                  <a:pt x="61665" y="369692"/>
                  <a:pt x="63722" y="371475"/>
                </a:cubicBezTo>
                <a:lnTo>
                  <a:pt x="65056" y="372809"/>
                </a:lnTo>
                <a:lnTo>
                  <a:pt x="66294" y="374047"/>
                </a:lnTo>
                <a:cubicBezTo>
                  <a:pt x="73156" y="380799"/>
                  <a:pt x="84192" y="380709"/>
                  <a:pt x="90944" y="373847"/>
                </a:cubicBezTo>
                <a:cubicBezTo>
                  <a:pt x="92675" y="372088"/>
                  <a:pt x="94013" y="369980"/>
                  <a:pt x="94869" y="367665"/>
                </a:cubicBezTo>
                <a:cubicBezTo>
                  <a:pt x="106203" y="344702"/>
                  <a:pt x="133052" y="334012"/>
                  <a:pt x="157067" y="342900"/>
                </a:cubicBezTo>
                <a:cubicBezTo>
                  <a:pt x="156463" y="351353"/>
                  <a:pt x="153119" y="359379"/>
                  <a:pt x="147542" y="365760"/>
                </a:cubicBezTo>
                <a:cubicBezTo>
                  <a:pt x="142341" y="371694"/>
                  <a:pt x="142936" y="380721"/>
                  <a:pt x="148870" y="385922"/>
                </a:cubicBezTo>
                <a:cubicBezTo>
                  <a:pt x="150214" y="387100"/>
                  <a:pt x="151767" y="388015"/>
                  <a:pt x="153448" y="388620"/>
                </a:cubicBezTo>
                <a:lnTo>
                  <a:pt x="154877" y="389192"/>
                </a:lnTo>
                <a:lnTo>
                  <a:pt x="156305" y="389763"/>
                </a:lnTo>
                <a:cubicBezTo>
                  <a:pt x="164033" y="392194"/>
                  <a:pt x="172268" y="387900"/>
                  <a:pt x="174700" y="380172"/>
                </a:cubicBezTo>
                <a:cubicBezTo>
                  <a:pt x="175225" y="378501"/>
                  <a:pt x="175447" y="376749"/>
                  <a:pt x="175355" y="374999"/>
                </a:cubicBezTo>
                <a:cubicBezTo>
                  <a:pt x="175404" y="367573"/>
                  <a:pt x="177622" y="360322"/>
                  <a:pt x="181737" y="354140"/>
                </a:cubicBezTo>
                <a:cubicBezTo>
                  <a:pt x="190930" y="360610"/>
                  <a:pt x="197648" y="370015"/>
                  <a:pt x="200787" y="380810"/>
                </a:cubicBezTo>
                <a:cubicBezTo>
                  <a:pt x="204212" y="390811"/>
                  <a:pt x="204212" y="401669"/>
                  <a:pt x="200787" y="411671"/>
                </a:cubicBezTo>
                <a:cubicBezTo>
                  <a:pt x="197420" y="420408"/>
                  <a:pt x="201773" y="430221"/>
                  <a:pt x="210510" y="433588"/>
                </a:cubicBezTo>
                <a:cubicBezTo>
                  <a:pt x="212513" y="434359"/>
                  <a:pt x="214643" y="434744"/>
                  <a:pt x="216789" y="434721"/>
                </a:cubicBezTo>
                <a:lnTo>
                  <a:pt x="220504" y="434721"/>
                </a:lnTo>
                <a:cubicBezTo>
                  <a:pt x="230073" y="434422"/>
                  <a:pt x="237589" y="426422"/>
                  <a:pt x="237290" y="416853"/>
                </a:cubicBezTo>
                <a:cubicBezTo>
                  <a:pt x="237221" y="414640"/>
                  <a:pt x="236728" y="412460"/>
                  <a:pt x="235839" y="410432"/>
                </a:cubicBezTo>
                <a:cubicBezTo>
                  <a:pt x="231539" y="396861"/>
                  <a:pt x="232772" y="382142"/>
                  <a:pt x="239268" y="369475"/>
                </a:cubicBezTo>
                <a:cubicBezTo>
                  <a:pt x="243785" y="359650"/>
                  <a:pt x="251511" y="351656"/>
                  <a:pt x="261176" y="346805"/>
                </a:cubicBezTo>
                <a:cubicBezTo>
                  <a:pt x="267536" y="353195"/>
                  <a:pt x="271533" y="361559"/>
                  <a:pt x="272510" y="370523"/>
                </a:cubicBezTo>
                <a:cubicBezTo>
                  <a:pt x="272792" y="378619"/>
                  <a:pt x="279584" y="384953"/>
                  <a:pt x="287681" y="384671"/>
                </a:cubicBezTo>
                <a:cubicBezTo>
                  <a:pt x="289509" y="384608"/>
                  <a:pt x="291310" y="384202"/>
                  <a:pt x="292989" y="383477"/>
                </a:cubicBezTo>
                <a:lnTo>
                  <a:pt x="294418" y="382810"/>
                </a:lnTo>
                <a:lnTo>
                  <a:pt x="295751" y="382143"/>
                </a:lnTo>
                <a:cubicBezTo>
                  <a:pt x="302991" y="378507"/>
                  <a:pt x="305912" y="369691"/>
                  <a:pt x="302276" y="362451"/>
                </a:cubicBezTo>
                <a:cubicBezTo>
                  <a:pt x="301458" y="360823"/>
                  <a:pt x="300344" y="359360"/>
                  <a:pt x="298990" y="358140"/>
                </a:cubicBezTo>
                <a:cubicBezTo>
                  <a:pt x="293223" y="352328"/>
                  <a:pt x="289483" y="344813"/>
                  <a:pt x="288322" y="336709"/>
                </a:cubicBezTo>
                <a:cubicBezTo>
                  <a:pt x="310395" y="334820"/>
                  <a:pt x="331539" y="345988"/>
                  <a:pt x="342424" y="365284"/>
                </a:cubicBezTo>
                <a:cubicBezTo>
                  <a:pt x="345544" y="374335"/>
                  <a:pt x="355411" y="379144"/>
                  <a:pt x="364462" y="376024"/>
                </a:cubicBezTo>
                <a:cubicBezTo>
                  <a:pt x="367136" y="375102"/>
                  <a:pt x="369543" y="373541"/>
                  <a:pt x="371475" y="371475"/>
                </a:cubicBezTo>
                <a:lnTo>
                  <a:pt x="372809" y="370142"/>
                </a:lnTo>
                <a:lnTo>
                  <a:pt x="374047" y="368808"/>
                </a:lnTo>
                <a:cubicBezTo>
                  <a:pt x="380588" y="361817"/>
                  <a:pt x="380224" y="350847"/>
                  <a:pt x="373233" y="344305"/>
                </a:cubicBezTo>
                <a:cubicBezTo>
                  <a:pt x="371617" y="342794"/>
                  <a:pt x="369727" y="341606"/>
                  <a:pt x="367665" y="340805"/>
                </a:cubicBezTo>
                <a:cubicBezTo>
                  <a:pt x="353959" y="333384"/>
                  <a:pt x="343878" y="320688"/>
                  <a:pt x="339757" y="305657"/>
                </a:cubicBezTo>
                <a:cubicBezTo>
                  <a:pt x="336701" y="296664"/>
                  <a:pt x="336239" y="286992"/>
                  <a:pt x="338423" y="277749"/>
                </a:cubicBezTo>
                <a:cubicBezTo>
                  <a:pt x="348479" y="277482"/>
                  <a:pt x="358292" y="280866"/>
                  <a:pt x="366046" y="287274"/>
                </a:cubicBezTo>
                <a:cubicBezTo>
                  <a:pt x="372022" y="292506"/>
                  <a:pt x="381109" y="291903"/>
                  <a:pt x="386341" y="285926"/>
                </a:cubicBezTo>
                <a:cubicBezTo>
                  <a:pt x="387491" y="284612"/>
                  <a:pt x="388393" y="283100"/>
                  <a:pt x="389001" y="281464"/>
                </a:cubicBezTo>
                <a:lnTo>
                  <a:pt x="389573" y="279940"/>
                </a:lnTo>
                <a:lnTo>
                  <a:pt x="390144" y="278416"/>
                </a:lnTo>
                <a:cubicBezTo>
                  <a:pt x="392686" y="270835"/>
                  <a:pt x="388601" y="262628"/>
                  <a:pt x="381020" y="260086"/>
                </a:cubicBezTo>
                <a:cubicBezTo>
                  <a:pt x="379236" y="259488"/>
                  <a:pt x="377353" y="259243"/>
                  <a:pt x="375475" y="259366"/>
                </a:cubicBezTo>
                <a:cubicBezTo>
                  <a:pt x="366844" y="259202"/>
                  <a:pt x="358494" y="256262"/>
                  <a:pt x="351663" y="250984"/>
                </a:cubicBezTo>
                <a:cubicBezTo>
                  <a:pt x="355508" y="246480"/>
                  <a:pt x="360160" y="242733"/>
                  <a:pt x="365379" y="239935"/>
                </a:cubicBezTo>
                <a:cubicBezTo>
                  <a:pt x="379288" y="231349"/>
                  <a:pt x="396208" y="229130"/>
                  <a:pt x="411861" y="233839"/>
                </a:cubicBezTo>
                <a:cubicBezTo>
                  <a:pt x="420634" y="237258"/>
                  <a:pt x="430519" y="232918"/>
                  <a:pt x="433938" y="224145"/>
                </a:cubicBezTo>
                <a:cubicBezTo>
                  <a:pt x="434722" y="222135"/>
                  <a:pt x="435117" y="219994"/>
                  <a:pt x="435102" y="217837"/>
                </a:cubicBezTo>
                <a:close/>
                <a:moveTo>
                  <a:pt x="171450" y="232982"/>
                </a:moveTo>
                <a:cubicBezTo>
                  <a:pt x="147779" y="233244"/>
                  <a:pt x="128377" y="214268"/>
                  <a:pt x="128115" y="190597"/>
                </a:cubicBezTo>
                <a:cubicBezTo>
                  <a:pt x="127852" y="166926"/>
                  <a:pt x="146829" y="147524"/>
                  <a:pt x="170499" y="147262"/>
                </a:cubicBezTo>
                <a:cubicBezTo>
                  <a:pt x="194170" y="146999"/>
                  <a:pt x="213572" y="165976"/>
                  <a:pt x="213835" y="189646"/>
                </a:cubicBezTo>
                <a:cubicBezTo>
                  <a:pt x="213835" y="189709"/>
                  <a:pt x="213836" y="189771"/>
                  <a:pt x="213836" y="189833"/>
                </a:cubicBezTo>
                <a:cubicBezTo>
                  <a:pt x="213995" y="213432"/>
                  <a:pt x="195048" y="232720"/>
                  <a:pt x="171450" y="232982"/>
                </a:cubicBezTo>
                <a:close/>
                <a:moveTo>
                  <a:pt x="216218" y="290989"/>
                </a:moveTo>
                <a:cubicBezTo>
                  <a:pt x="201278" y="291094"/>
                  <a:pt x="189082" y="279068"/>
                  <a:pt x="188977" y="264128"/>
                </a:cubicBezTo>
                <a:cubicBezTo>
                  <a:pt x="188873" y="249189"/>
                  <a:pt x="200898" y="236993"/>
                  <a:pt x="215838" y="236888"/>
                </a:cubicBezTo>
                <a:cubicBezTo>
                  <a:pt x="230777" y="236783"/>
                  <a:pt x="242972" y="248808"/>
                  <a:pt x="243078" y="263747"/>
                </a:cubicBezTo>
                <a:cubicBezTo>
                  <a:pt x="243236" y="278634"/>
                  <a:pt x="231297" y="290830"/>
                  <a:pt x="216410" y="290988"/>
                </a:cubicBezTo>
                <a:cubicBezTo>
                  <a:pt x="216251" y="290990"/>
                  <a:pt x="216091" y="290990"/>
                  <a:pt x="215932" y="290989"/>
                </a:cubicBezTo>
                <a:close/>
                <a:moveTo>
                  <a:pt x="251174" y="225647"/>
                </a:moveTo>
                <a:cubicBezTo>
                  <a:pt x="238444" y="225752"/>
                  <a:pt x="228040" y="215517"/>
                  <a:pt x="227935" y="202787"/>
                </a:cubicBezTo>
                <a:cubicBezTo>
                  <a:pt x="227830" y="190057"/>
                  <a:pt x="238065" y="179653"/>
                  <a:pt x="250795" y="179548"/>
                </a:cubicBezTo>
                <a:cubicBezTo>
                  <a:pt x="263524" y="179443"/>
                  <a:pt x="273929" y="189677"/>
                  <a:pt x="274034" y="202406"/>
                </a:cubicBezTo>
                <a:cubicBezTo>
                  <a:pt x="274087" y="215189"/>
                  <a:pt x="263767" y="225594"/>
                  <a:pt x="250984" y="225647"/>
                </a:cubicBezTo>
                <a:cubicBezTo>
                  <a:pt x="250952" y="225647"/>
                  <a:pt x="250920" y="225647"/>
                  <a:pt x="250889" y="225647"/>
                </a:cubicBez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62" name="Grafik 3">
            <a:extLst>
              <a:ext uri="{FF2B5EF4-FFF2-40B4-BE49-F238E27FC236}">
                <a16:creationId xmlns:a16="http://schemas.microsoft.com/office/drawing/2014/main" id="{BA48D0B1-D316-406E-A72E-5B073D3D19D7}"/>
              </a:ext>
            </a:extLst>
          </p:cNvPr>
          <p:cNvSpPr/>
          <p:nvPr/>
        </p:nvSpPr>
        <p:spPr>
          <a:xfrm>
            <a:off x="4036930" y="3398273"/>
            <a:ext cx="360580" cy="515742"/>
          </a:xfrm>
          <a:custGeom>
            <a:avLst/>
            <a:gdLst>
              <a:gd name="connsiteX0" fmla="*/ 303363 w 307277"/>
              <a:gd name="connsiteY0" fmla="*/ 264810 h 439502"/>
              <a:gd name="connsiteX1" fmla="*/ 281075 w 307277"/>
              <a:gd name="connsiteY1" fmla="*/ 264810 h 439502"/>
              <a:gd name="connsiteX2" fmla="*/ 237069 w 307277"/>
              <a:gd name="connsiteY2" fmla="*/ 220709 h 439502"/>
              <a:gd name="connsiteX3" fmla="*/ 203827 w 307277"/>
              <a:gd name="connsiteY3" fmla="*/ 220709 h 439502"/>
              <a:gd name="connsiteX4" fmla="*/ 201636 w 307277"/>
              <a:gd name="connsiteY4" fmla="*/ 221281 h 439502"/>
              <a:gd name="connsiteX5" fmla="*/ 188206 w 307277"/>
              <a:gd name="connsiteY5" fmla="*/ 180133 h 439502"/>
              <a:gd name="connsiteX6" fmla="*/ 188206 w 307277"/>
              <a:gd name="connsiteY6" fmla="*/ 177371 h 439502"/>
              <a:gd name="connsiteX7" fmla="*/ 188206 w 307277"/>
              <a:gd name="connsiteY7" fmla="*/ 176609 h 439502"/>
              <a:gd name="connsiteX8" fmla="*/ 204589 w 307277"/>
              <a:gd name="connsiteY8" fmla="*/ 160797 h 439502"/>
              <a:gd name="connsiteX9" fmla="*/ 237165 w 307277"/>
              <a:gd name="connsiteY9" fmla="*/ 160797 h 439502"/>
              <a:gd name="connsiteX10" fmla="*/ 273455 w 307277"/>
              <a:gd name="connsiteY10" fmla="*/ 124507 h 439502"/>
              <a:gd name="connsiteX11" fmla="*/ 273455 w 307277"/>
              <a:gd name="connsiteY11" fmla="*/ 118030 h 439502"/>
              <a:gd name="connsiteX12" fmla="*/ 266978 w 307277"/>
              <a:gd name="connsiteY12" fmla="*/ 118030 h 439502"/>
              <a:gd name="connsiteX13" fmla="*/ 233355 w 307277"/>
              <a:gd name="connsiteY13" fmla="*/ 151653 h 439502"/>
              <a:gd name="connsiteX14" fmla="*/ 200684 w 307277"/>
              <a:gd name="connsiteY14" fmla="*/ 151653 h 439502"/>
              <a:gd name="connsiteX15" fmla="*/ 187539 w 307277"/>
              <a:gd name="connsiteY15" fmla="*/ 164417 h 439502"/>
              <a:gd name="connsiteX16" fmla="*/ 178014 w 307277"/>
              <a:gd name="connsiteY16" fmla="*/ 146319 h 439502"/>
              <a:gd name="connsiteX17" fmla="*/ 174300 w 307277"/>
              <a:gd name="connsiteY17" fmla="*/ 143081 h 439502"/>
              <a:gd name="connsiteX18" fmla="*/ 165822 w 307277"/>
              <a:gd name="connsiteY18" fmla="*/ 126221 h 439502"/>
              <a:gd name="connsiteX19" fmla="*/ 287361 w 307277"/>
              <a:gd name="connsiteY19" fmla="*/ 5063 h 439502"/>
              <a:gd name="connsiteX20" fmla="*/ 287377 w 307277"/>
              <a:gd name="connsiteY20" fmla="*/ 888 h 439502"/>
              <a:gd name="connsiteX21" fmla="*/ 287361 w 307277"/>
              <a:gd name="connsiteY21" fmla="*/ 872 h 439502"/>
              <a:gd name="connsiteX22" fmla="*/ 283186 w 307277"/>
              <a:gd name="connsiteY22" fmla="*/ 857 h 439502"/>
              <a:gd name="connsiteX23" fmla="*/ 283170 w 307277"/>
              <a:gd name="connsiteY23" fmla="*/ 872 h 439502"/>
              <a:gd name="connsiteX24" fmla="*/ 162584 w 307277"/>
              <a:gd name="connsiteY24" fmla="*/ 121459 h 439502"/>
              <a:gd name="connsiteX25" fmla="*/ 146106 w 307277"/>
              <a:gd name="connsiteY25" fmla="*/ 121459 h 439502"/>
              <a:gd name="connsiteX26" fmla="*/ 25519 w 307277"/>
              <a:gd name="connsiteY26" fmla="*/ 872 h 439502"/>
              <a:gd name="connsiteX27" fmla="*/ 21478 w 307277"/>
              <a:gd name="connsiteY27" fmla="*/ 817 h 439502"/>
              <a:gd name="connsiteX28" fmla="*/ 21423 w 307277"/>
              <a:gd name="connsiteY28" fmla="*/ 872 h 439502"/>
              <a:gd name="connsiteX29" fmla="*/ 21408 w 307277"/>
              <a:gd name="connsiteY29" fmla="*/ 5048 h 439502"/>
              <a:gd name="connsiteX30" fmla="*/ 21423 w 307277"/>
              <a:gd name="connsiteY30" fmla="*/ 5063 h 439502"/>
              <a:gd name="connsiteX31" fmla="*/ 142581 w 307277"/>
              <a:gd name="connsiteY31" fmla="*/ 126221 h 439502"/>
              <a:gd name="connsiteX32" fmla="*/ 134009 w 307277"/>
              <a:gd name="connsiteY32" fmla="*/ 142890 h 439502"/>
              <a:gd name="connsiteX33" fmla="*/ 120769 w 307277"/>
              <a:gd name="connsiteY33" fmla="*/ 164417 h 439502"/>
              <a:gd name="connsiteX34" fmla="*/ 107529 w 307277"/>
              <a:gd name="connsiteY34" fmla="*/ 151463 h 439502"/>
              <a:gd name="connsiteX35" fmla="*/ 75049 w 307277"/>
              <a:gd name="connsiteY35" fmla="*/ 151463 h 439502"/>
              <a:gd name="connsiteX36" fmla="*/ 41426 w 307277"/>
              <a:gd name="connsiteY36" fmla="*/ 118030 h 439502"/>
              <a:gd name="connsiteX37" fmla="*/ 34960 w 307277"/>
              <a:gd name="connsiteY37" fmla="*/ 118019 h 439502"/>
              <a:gd name="connsiteX38" fmla="*/ 34949 w 307277"/>
              <a:gd name="connsiteY38" fmla="*/ 118030 h 439502"/>
              <a:gd name="connsiteX39" fmla="*/ 34949 w 307277"/>
              <a:gd name="connsiteY39" fmla="*/ 124507 h 439502"/>
              <a:gd name="connsiteX40" fmla="*/ 71239 w 307277"/>
              <a:gd name="connsiteY40" fmla="*/ 160797 h 439502"/>
              <a:gd name="connsiteX41" fmla="*/ 103910 w 307277"/>
              <a:gd name="connsiteY41" fmla="*/ 160797 h 439502"/>
              <a:gd name="connsiteX42" fmla="*/ 120388 w 307277"/>
              <a:gd name="connsiteY42" fmla="*/ 176894 h 439502"/>
              <a:gd name="connsiteX43" fmla="*/ 120388 w 307277"/>
              <a:gd name="connsiteY43" fmla="*/ 177371 h 439502"/>
              <a:gd name="connsiteX44" fmla="*/ 120388 w 307277"/>
              <a:gd name="connsiteY44" fmla="*/ 179657 h 439502"/>
              <a:gd name="connsiteX45" fmla="*/ 106672 w 307277"/>
              <a:gd name="connsiteY45" fmla="*/ 221281 h 439502"/>
              <a:gd name="connsiteX46" fmla="*/ 104577 w 307277"/>
              <a:gd name="connsiteY46" fmla="*/ 220709 h 439502"/>
              <a:gd name="connsiteX47" fmla="*/ 71430 w 307277"/>
              <a:gd name="connsiteY47" fmla="*/ 220709 h 439502"/>
              <a:gd name="connsiteX48" fmla="*/ 27424 w 307277"/>
              <a:gd name="connsiteY48" fmla="*/ 264810 h 439502"/>
              <a:gd name="connsiteX49" fmla="*/ 5231 w 307277"/>
              <a:gd name="connsiteY49" fmla="*/ 264810 h 439502"/>
              <a:gd name="connsiteX50" fmla="*/ 48 w 307277"/>
              <a:gd name="connsiteY50" fmla="*/ 268676 h 439502"/>
              <a:gd name="connsiteX51" fmla="*/ 3914 w 307277"/>
              <a:gd name="connsiteY51" fmla="*/ 273859 h 439502"/>
              <a:gd name="connsiteX52" fmla="*/ 5231 w 307277"/>
              <a:gd name="connsiteY52" fmla="*/ 273859 h 439502"/>
              <a:gd name="connsiteX53" fmla="*/ 31234 w 307277"/>
              <a:gd name="connsiteY53" fmla="*/ 273859 h 439502"/>
              <a:gd name="connsiteX54" fmla="*/ 75240 w 307277"/>
              <a:gd name="connsiteY54" fmla="*/ 229853 h 439502"/>
              <a:gd name="connsiteX55" fmla="*/ 105434 w 307277"/>
              <a:gd name="connsiteY55" fmla="*/ 229853 h 439502"/>
              <a:gd name="connsiteX56" fmla="*/ 102672 w 307277"/>
              <a:gd name="connsiteY56" fmla="*/ 266715 h 439502"/>
              <a:gd name="connsiteX57" fmla="*/ 103719 w 307277"/>
              <a:gd name="connsiteY57" fmla="*/ 290337 h 439502"/>
              <a:gd name="connsiteX58" fmla="*/ 101529 w 307277"/>
              <a:gd name="connsiteY58" fmla="*/ 291575 h 439502"/>
              <a:gd name="connsiteX59" fmla="*/ 74097 w 307277"/>
              <a:gd name="connsiteY59" fmla="*/ 319007 h 439502"/>
              <a:gd name="connsiteX60" fmla="*/ 74097 w 307277"/>
              <a:gd name="connsiteY60" fmla="*/ 398160 h 439502"/>
              <a:gd name="connsiteX61" fmla="*/ 40473 w 307277"/>
              <a:gd name="connsiteY61" fmla="*/ 431783 h 439502"/>
              <a:gd name="connsiteX62" fmla="*/ 40422 w 307277"/>
              <a:gd name="connsiteY62" fmla="*/ 438114 h 439502"/>
              <a:gd name="connsiteX63" fmla="*/ 40473 w 307277"/>
              <a:gd name="connsiteY63" fmla="*/ 438165 h 439502"/>
              <a:gd name="connsiteX64" fmla="*/ 43712 w 307277"/>
              <a:gd name="connsiteY64" fmla="*/ 439499 h 439502"/>
              <a:gd name="connsiteX65" fmla="*/ 46950 w 307277"/>
              <a:gd name="connsiteY65" fmla="*/ 438165 h 439502"/>
              <a:gd name="connsiteX66" fmla="*/ 83241 w 307277"/>
              <a:gd name="connsiteY66" fmla="*/ 401875 h 439502"/>
              <a:gd name="connsiteX67" fmla="*/ 83241 w 307277"/>
              <a:gd name="connsiteY67" fmla="*/ 322722 h 439502"/>
              <a:gd name="connsiteX68" fmla="*/ 105434 w 307277"/>
              <a:gd name="connsiteY68" fmla="*/ 301005 h 439502"/>
              <a:gd name="connsiteX69" fmla="*/ 144677 w 307277"/>
              <a:gd name="connsiteY69" fmla="*/ 379586 h 439502"/>
              <a:gd name="connsiteX70" fmla="*/ 150963 w 307277"/>
              <a:gd name="connsiteY70" fmla="*/ 381491 h 439502"/>
              <a:gd name="connsiteX71" fmla="*/ 164775 w 307277"/>
              <a:gd name="connsiteY71" fmla="*/ 379586 h 439502"/>
              <a:gd name="connsiteX72" fmla="*/ 204018 w 307277"/>
              <a:gd name="connsiteY72" fmla="*/ 301005 h 439502"/>
              <a:gd name="connsiteX73" fmla="*/ 225830 w 307277"/>
              <a:gd name="connsiteY73" fmla="*/ 322722 h 439502"/>
              <a:gd name="connsiteX74" fmla="*/ 225830 w 307277"/>
              <a:gd name="connsiteY74" fmla="*/ 401875 h 439502"/>
              <a:gd name="connsiteX75" fmla="*/ 261644 w 307277"/>
              <a:gd name="connsiteY75" fmla="*/ 438165 h 439502"/>
              <a:gd name="connsiteX76" fmla="*/ 264882 w 307277"/>
              <a:gd name="connsiteY76" fmla="*/ 439499 h 439502"/>
              <a:gd name="connsiteX77" fmla="*/ 268026 w 307277"/>
              <a:gd name="connsiteY77" fmla="*/ 438165 h 439502"/>
              <a:gd name="connsiteX78" fmla="*/ 268076 w 307277"/>
              <a:gd name="connsiteY78" fmla="*/ 431834 h 439502"/>
              <a:gd name="connsiteX79" fmla="*/ 268026 w 307277"/>
              <a:gd name="connsiteY79" fmla="*/ 431783 h 439502"/>
              <a:gd name="connsiteX80" fmla="*/ 234402 w 307277"/>
              <a:gd name="connsiteY80" fmla="*/ 398160 h 439502"/>
              <a:gd name="connsiteX81" fmla="*/ 234402 w 307277"/>
              <a:gd name="connsiteY81" fmla="*/ 319007 h 439502"/>
              <a:gd name="connsiteX82" fmla="*/ 206970 w 307277"/>
              <a:gd name="connsiteY82" fmla="*/ 291575 h 439502"/>
              <a:gd name="connsiteX83" fmla="*/ 204780 w 307277"/>
              <a:gd name="connsiteY83" fmla="*/ 290337 h 439502"/>
              <a:gd name="connsiteX84" fmla="*/ 205827 w 307277"/>
              <a:gd name="connsiteY84" fmla="*/ 266715 h 439502"/>
              <a:gd name="connsiteX85" fmla="*/ 203160 w 307277"/>
              <a:gd name="connsiteY85" fmla="*/ 229853 h 439502"/>
              <a:gd name="connsiteX86" fmla="*/ 233259 w 307277"/>
              <a:gd name="connsiteY86" fmla="*/ 229853 h 439502"/>
              <a:gd name="connsiteX87" fmla="*/ 277360 w 307277"/>
              <a:gd name="connsiteY87" fmla="*/ 273859 h 439502"/>
              <a:gd name="connsiteX88" fmla="*/ 303363 w 307277"/>
              <a:gd name="connsiteY88" fmla="*/ 273859 h 439502"/>
              <a:gd name="connsiteX89" fmla="*/ 307229 w 307277"/>
              <a:gd name="connsiteY89" fmla="*/ 268676 h 439502"/>
              <a:gd name="connsiteX90" fmla="*/ 303363 w 307277"/>
              <a:gd name="connsiteY90" fmla="*/ 264810 h 439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</a:cxnLst>
            <a:rect l="l" t="t" r="r" b="b"/>
            <a:pathLst>
              <a:path w="307277" h="439502">
                <a:moveTo>
                  <a:pt x="303363" y="264810"/>
                </a:moveTo>
                <a:lnTo>
                  <a:pt x="281075" y="264810"/>
                </a:lnTo>
                <a:lnTo>
                  <a:pt x="237069" y="220709"/>
                </a:lnTo>
                <a:lnTo>
                  <a:pt x="203827" y="220709"/>
                </a:lnTo>
                <a:cubicBezTo>
                  <a:pt x="203059" y="220705"/>
                  <a:pt x="202304" y="220902"/>
                  <a:pt x="201636" y="221281"/>
                </a:cubicBezTo>
                <a:cubicBezTo>
                  <a:pt x="199097" y="207007"/>
                  <a:pt x="194576" y="193157"/>
                  <a:pt x="188206" y="180133"/>
                </a:cubicBezTo>
                <a:cubicBezTo>
                  <a:pt x="188253" y="179213"/>
                  <a:pt x="188253" y="178291"/>
                  <a:pt x="188206" y="177371"/>
                </a:cubicBezTo>
                <a:cubicBezTo>
                  <a:pt x="188206" y="177371"/>
                  <a:pt x="188206" y="176894"/>
                  <a:pt x="188206" y="176609"/>
                </a:cubicBezTo>
                <a:lnTo>
                  <a:pt x="204589" y="160797"/>
                </a:lnTo>
                <a:lnTo>
                  <a:pt x="237165" y="160797"/>
                </a:lnTo>
                <a:lnTo>
                  <a:pt x="273455" y="124507"/>
                </a:lnTo>
                <a:cubicBezTo>
                  <a:pt x="275243" y="122718"/>
                  <a:pt x="275243" y="119819"/>
                  <a:pt x="273455" y="118030"/>
                </a:cubicBezTo>
                <a:cubicBezTo>
                  <a:pt x="271666" y="116241"/>
                  <a:pt x="268766" y="116241"/>
                  <a:pt x="266978" y="118030"/>
                </a:cubicBezTo>
                <a:lnTo>
                  <a:pt x="233355" y="151653"/>
                </a:lnTo>
                <a:lnTo>
                  <a:pt x="200684" y="151653"/>
                </a:lnTo>
                <a:lnTo>
                  <a:pt x="187539" y="164417"/>
                </a:lnTo>
                <a:cubicBezTo>
                  <a:pt x="186297" y="157550"/>
                  <a:pt x="182971" y="151231"/>
                  <a:pt x="178014" y="146319"/>
                </a:cubicBezTo>
                <a:cubicBezTo>
                  <a:pt x="176842" y="145166"/>
                  <a:pt x="175601" y="144085"/>
                  <a:pt x="174300" y="143081"/>
                </a:cubicBezTo>
                <a:lnTo>
                  <a:pt x="165822" y="126221"/>
                </a:lnTo>
                <a:lnTo>
                  <a:pt x="287361" y="5063"/>
                </a:lnTo>
                <a:cubicBezTo>
                  <a:pt x="288519" y="3915"/>
                  <a:pt x="288525" y="2045"/>
                  <a:pt x="287377" y="888"/>
                </a:cubicBezTo>
                <a:cubicBezTo>
                  <a:pt x="287371" y="883"/>
                  <a:pt x="287366" y="878"/>
                  <a:pt x="287361" y="872"/>
                </a:cubicBezTo>
                <a:cubicBezTo>
                  <a:pt x="286212" y="-285"/>
                  <a:pt x="284343" y="-292"/>
                  <a:pt x="283186" y="857"/>
                </a:cubicBezTo>
                <a:cubicBezTo>
                  <a:pt x="283180" y="862"/>
                  <a:pt x="283175" y="867"/>
                  <a:pt x="283170" y="872"/>
                </a:cubicBezTo>
                <a:lnTo>
                  <a:pt x="162584" y="121459"/>
                </a:lnTo>
                <a:lnTo>
                  <a:pt x="146106" y="121459"/>
                </a:lnTo>
                <a:lnTo>
                  <a:pt x="25519" y="872"/>
                </a:lnTo>
                <a:cubicBezTo>
                  <a:pt x="24418" y="-259"/>
                  <a:pt x="22609" y="-283"/>
                  <a:pt x="21478" y="817"/>
                </a:cubicBezTo>
                <a:cubicBezTo>
                  <a:pt x="21460" y="836"/>
                  <a:pt x="21441" y="854"/>
                  <a:pt x="21423" y="872"/>
                </a:cubicBezTo>
                <a:cubicBezTo>
                  <a:pt x="20266" y="2021"/>
                  <a:pt x="20259" y="3891"/>
                  <a:pt x="21408" y="5048"/>
                </a:cubicBezTo>
                <a:cubicBezTo>
                  <a:pt x="21413" y="5053"/>
                  <a:pt x="21418" y="5058"/>
                  <a:pt x="21423" y="5063"/>
                </a:cubicBezTo>
                <a:lnTo>
                  <a:pt x="142581" y="126221"/>
                </a:lnTo>
                <a:lnTo>
                  <a:pt x="134009" y="142890"/>
                </a:lnTo>
                <a:cubicBezTo>
                  <a:pt x="127016" y="148118"/>
                  <a:pt x="122281" y="155817"/>
                  <a:pt x="120769" y="164417"/>
                </a:cubicBezTo>
                <a:lnTo>
                  <a:pt x="107529" y="151463"/>
                </a:lnTo>
                <a:lnTo>
                  <a:pt x="75049" y="151463"/>
                </a:lnTo>
                <a:lnTo>
                  <a:pt x="41426" y="118030"/>
                </a:lnTo>
                <a:cubicBezTo>
                  <a:pt x="39643" y="116241"/>
                  <a:pt x="36749" y="116236"/>
                  <a:pt x="34960" y="118019"/>
                </a:cubicBezTo>
                <a:cubicBezTo>
                  <a:pt x="34956" y="118022"/>
                  <a:pt x="34953" y="118026"/>
                  <a:pt x="34949" y="118030"/>
                </a:cubicBezTo>
                <a:cubicBezTo>
                  <a:pt x="33255" y="119857"/>
                  <a:pt x="33255" y="122680"/>
                  <a:pt x="34949" y="124507"/>
                </a:cubicBezTo>
                <a:lnTo>
                  <a:pt x="71239" y="160797"/>
                </a:lnTo>
                <a:lnTo>
                  <a:pt x="103910" y="160797"/>
                </a:lnTo>
                <a:lnTo>
                  <a:pt x="120388" y="176894"/>
                </a:lnTo>
                <a:lnTo>
                  <a:pt x="120388" y="177371"/>
                </a:lnTo>
                <a:cubicBezTo>
                  <a:pt x="120337" y="178132"/>
                  <a:pt x="120337" y="178896"/>
                  <a:pt x="120388" y="179657"/>
                </a:cubicBezTo>
                <a:cubicBezTo>
                  <a:pt x="113878" y="192816"/>
                  <a:pt x="109260" y="206829"/>
                  <a:pt x="106672" y="221281"/>
                </a:cubicBezTo>
                <a:cubicBezTo>
                  <a:pt x="106038" y="220905"/>
                  <a:pt x="105314" y="220708"/>
                  <a:pt x="104577" y="220709"/>
                </a:cubicBezTo>
                <a:lnTo>
                  <a:pt x="71430" y="220709"/>
                </a:lnTo>
                <a:lnTo>
                  <a:pt x="27424" y="264810"/>
                </a:lnTo>
                <a:lnTo>
                  <a:pt x="5231" y="264810"/>
                </a:lnTo>
                <a:cubicBezTo>
                  <a:pt x="2732" y="264447"/>
                  <a:pt x="412" y="266178"/>
                  <a:pt x="48" y="268676"/>
                </a:cubicBezTo>
                <a:cubicBezTo>
                  <a:pt x="-315" y="271175"/>
                  <a:pt x="1416" y="273495"/>
                  <a:pt x="3914" y="273859"/>
                </a:cubicBezTo>
                <a:cubicBezTo>
                  <a:pt x="4351" y="273922"/>
                  <a:pt x="4794" y="273922"/>
                  <a:pt x="5231" y="273859"/>
                </a:cubicBezTo>
                <a:lnTo>
                  <a:pt x="31234" y="273859"/>
                </a:lnTo>
                <a:lnTo>
                  <a:pt x="75240" y="229853"/>
                </a:lnTo>
                <a:lnTo>
                  <a:pt x="105434" y="229853"/>
                </a:lnTo>
                <a:cubicBezTo>
                  <a:pt x="103613" y="242057"/>
                  <a:pt x="102689" y="254377"/>
                  <a:pt x="102672" y="266715"/>
                </a:cubicBezTo>
                <a:cubicBezTo>
                  <a:pt x="102672" y="274811"/>
                  <a:pt x="102672" y="282717"/>
                  <a:pt x="103719" y="290337"/>
                </a:cubicBezTo>
                <a:cubicBezTo>
                  <a:pt x="102889" y="290542"/>
                  <a:pt x="102132" y="290970"/>
                  <a:pt x="101529" y="291575"/>
                </a:cubicBezTo>
                <a:lnTo>
                  <a:pt x="74097" y="319007"/>
                </a:lnTo>
                <a:lnTo>
                  <a:pt x="74097" y="398160"/>
                </a:lnTo>
                <a:lnTo>
                  <a:pt x="40473" y="431783"/>
                </a:lnTo>
                <a:cubicBezTo>
                  <a:pt x="38711" y="433518"/>
                  <a:pt x="38688" y="436352"/>
                  <a:pt x="40422" y="438114"/>
                </a:cubicBezTo>
                <a:cubicBezTo>
                  <a:pt x="40439" y="438131"/>
                  <a:pt x="40456" y="438148"/>
                  <a:pt x="40473" y="438165"/>
                </a:cubicBezTo>
                <a:cubicBezTo>
                  <a:pt x="41314" y="439051"/>
                  <a:pt x="42492" y="439536"/>
                  <a:pt x="43712" y="439499"/>
                </a:cubicBezTo>
                <a:cubicBezTo>
                  <a:pt x="44928" y="439512"/>
                  <a:pt x="46097" y="439031"/>
                  <a:pt x="46950" y="438165"/>
                </a:cubicBezTo>
                <a:lnTo>
                  <a:pt x="83241" y="401875"/>
                </a:lnTo>
                <a:lnTo>
                  <a:pt x="83241" y="322722"/>
                </a:lnTo>
                <a:lnTo>
                  <a:pt x="105434" y="301005"/>
                </a:lnTo>
                <a:cubicBezTo>
                  <a:pt x="111054" y="340820"/>
                  <a:pt x="126103" y="371395"/>
                  <a:pt x="144677" y="379586"/>
                </a:cubicBezTo>
                <a:cubicBezTo>
                  <a:pt x="146700" y="380438"/>
                  <a:pt x="148807" y="381076"/>
                  <a:pt x="150963" y="381491"/>
                </a:cubicBezTo>
                <a:cubicBezTo>
                  <a:pt x="155654" y="382214"/>
                  <a:pt x="160454" y="381552"/>
                  <a:pt x="164775" y="379586"/>
                </a:cubicBezTo>
                <a:cubicBezTo>
                  <a:pt x="183825" y="371395"/>
                  <a:pt x="198493" y="340820"/>
                  <a:pt x="204018" y="301005"/>
                </a:cubicBezTo>
                <a:lnTo>
                  <a:pt x="225830" y="322722"/>
                </a:lnTo>
                <a:lnTo>
                  <a:pt x="225830" y="401875"/>
                </a:lnTo>
                <a:lnTo>
                  <a:pt x="261644" y="438165"/>
                </a:lnTo>
                <a:cubicBezTo>
                  <a:pt x="262477" y="439061"/>
                  <a:pt x="263660" y="439548"/>
                  <a:pt x="264882" y="439499"/>
                </a:cubicBezTo>
                <a:cubicBezTo>
                  <a:pt x="266074" y="439533"/>
                  <a:pt x="267222" y="439046"/>
                  <a:pt x="268026" y="438165"/>
                </a:cubicBezTo>
                <a:cubicBezTo>
                  <a:pt x="269788" y="436431"/>
                  <a:pt x="269811" y="433597"/>
                  <a:pt x="268076" y="431834"/>
                </a:cubicBezTo>
                <a:cubicBezTo>
                  <a:pt x="268060" y="431817"/>
                  <a:pt x="268043" y="431800"/>
                  <a:pt x="268026" y="431783"/>
                </a:cubicBezTo>
                <a:lnTo>
                  <a:pt x="234402" y="398160"/>
                </a:lnTo>
                <a:lnTo>
                  <a:pt x="234402" y="319007"/>
                </a:lnTo>
                <a:lnTo>
                  <a:pt x="206970" y="291575"/>
                </a:lnTo>
                <a:cubicBezTo>
                  <a:pt x="206397" y="290932"/>
                  <a:pt x="205626" y="290497"/>
                  <a:pt x="204780" y="290337"/>
                </a:cubicBezTo>
                <a:cubicBezTo>
                  <a:pt x="205542" y="282717"/>
                  <a:pt x="205827" y="274811"/>
                  <a:pt x="205827" y="266715"/>
                </a:cubicBezTo>
                <a:cubicBezTo>
                  <a:pt x="205841" y="254379"/>
                  <a:pt x="204950" y="242059"/>
                  <a:pt x="203160" y="229853"/>
                </a:cubicBezTo>
                <a:lnTo>
                  <a:pt x="233259" y="229853"/>
                </a:lnTo>
                <a:lnTo>
                  <a:pt x="277360" y="273859"/>
                </a:lnTo>
                <a:lnTo>
                  <a:pt x="303363" y="273859"/>
                </a:lnTo>
                <a:cubicBezTo>
                  <a:pt x="305862" y="273495"/>
                  <a:pt x="307593" y="271175"/>
                  <a:pt x="307229" y="268676"/>
                </a:cubicBezTo>
                <a:cubicBezTo>
                  <a:pt x="306938" y="266674"/>
                  <a:pt x="305366" y="265101"/>
                  <a:pt x="303363" y="264810"/>
                </a:cubicBez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263" name="Grafik 13">
            <a:extLst>
              <a:ext uri="{FF2B5EF4-FFF2-40B4-BE49-F238E27FC236}">
                <a16:creationId xmlns:a16="http://schemas.microsoft.com/office/drawing/2014/main" id="{AF757F54-F19D-4563-858D-712D98ACBD71}"/>
              </a:ext>
            </a:extLst>
          </p:cNvPr>
          <p:cNvGrpSpPr/>
          <p:nvPr/>
        </p:nvGrpSpPr>
        <p:grpSpPr>
          <a:xfrm>
            <a:off x="4653239" y="3396250"/>
            <a:ext cx="557414" cy="519788"/>
            <a:chOff x="4333874" y="3209914"/>
            <a:chExt cx="475014" cy="442950"/>
          </a:xfrm>
          <a:solidFill>
            <a:srgbClr val="808080"/>
          </a:solidFill>
        </p:grpSpPr>
        <p:sp>
          <p:nvSpPr>
            <p:cNvPr id="264" name="Freihandform: Form 24">
              <a:extLst>
                <a:ext uri="{FF2B5EF4-FFF2-40B4-BE49-F238E27FC236}">
                  <a16:creationId xmlns:a16="http://schemas.microsoft.com/office/drawing/2014/main" id="{CDEC9D8F-DE5D-4A4E-B31C-D12BC75CFEB4}"/>
                </a:ext>
              </a:extLst>
            </p:cNvPr>
            <p:cNvSpPr/>
            <p:nvPr/>
          </p:nvSpPr>
          <p:spPr>
            <a:xfrm>
              <a:off x="4333874" y="3209914"/>
              <a:ext cx="285879" cy="296196"/>
            </a:xfrm>
            <a:custGeom>
              <a:avLst/>
              <a:gdLst>
                <a:gd name="connsiteX0" fmla="*/ 171927 w 285879"/>
                <a:gd name="connsiteY0" fmla="*/ 258043 h 296196"/>
                <a:gd name="connsiteX1" fmla="*/ 189453 w 285879"/>
                <a:gd name="connsiteY1" fmla="*/ 235088 h 296196"/>
                <a:gd name="connsiteX2" fmla="*/ 210598 w 285879"/>
                <a:gd name="connsiteY2" fmla="*/ 219086 h 296196"/>
                <a:gd name="connsiteX3" fmla="*/ 232315 w 285879"/>
                <a:gd name="connsiteY3" fmla="*/ 208037 h 296196"/>
                <a:gd name="connsiteX4" fmla="*/ 232315 w 285879"/>
                <a:gd name="connsiteY4" fmla="*/ 204608 h 296196"/>
                <a:gd name="connsiteX5" fmla="*/ 234601 w 285879"/>
                <a:gd name="connsiteY5" fmla="*/ 188606 h 296196"/>
                <a:gd name="connsiteX6" fmla="*/ 246603 w 285879"/>
                <a:gd name="connsiteY6" fmla="*/ 165174 h 296196"/>
                <a:gd name="connsiteX7" fmla="*/ 263176 w 285879"/>
                <a:gd name="connsiteY7" fmla="*/ 146124 h 296196"/>
                <a:gd name="connsiteX8" fmla="*/ 284227 w 285879"/>
                <a:gd name="connsiteY8" fmla="*/ 128789 h 296196"/>
                <a:gd name="connsiteX9" fmla="*/ 285465 w 285879"/>
                <a:gd name="connsiteY9" fmla="*/ 128313 h 296196"/>
                <a:gd name="connsiteX10" fmla="*/ 280893 w 285879"/>
                <a:gd name="connsiteY10" fmla="*/ 124979 h 296196"/>
                <a:gd name="connsiteX11" fmla="*/ 285751 w 285879"/>
                <a:gd name="connsiteY11" fmla="*/ 97833 h 296196"/>
                <a:gd name="connsiteX12" fmla="*/ 284417 w 285879"/>
                <a:gd name="connsiteY12" fmla="*/ 92403 h 296196"/>
                <a:gd name="connsiteX13" fmla="*/ 284417 w 285879"/>
                <a:gd name="connsiteY13" fmla="*/ 92403 h 296196"/>
                <a:gd name="connsiteX14" fmla="*/ 271273 w 285879"/>
                <a:gd name="connsiteY14" fmla="*/ 72401 h 296196"/>
                <a:gd name="connsiteX15" fmla="*/ 259366 w 285879"/>
                <a:gd name="connsiteY15" fmla="*/ 33348 h 296196"/>
                <a:gd name="connsiteX16" fmla="*/ 261843 w 285879"/>
                <a:gd name="connsiteY16" fmla="*/ 19061 h 296196"/>
                <a:gd name="connsiteX17" fmla="*/ 259070 w 285879"/>
                <a:gd name="connsiteY17" fmla="*/ 10190 h 296196"/>
                <a:gd name="connsiteX18" fmla="*/ 250199 w 285879"/>
                <a:gd name="connsiteY18" fmla="*/ 12962 h 296196"/>
                <a:gd name="connsiteX19" fmla="*/ 249651 w 285879"/>
                <a:gd name="connsiteY19" fmla="*/ 14394 h 296196"/>
                <a:gd name="connsiteX20" fmla="*/ 246222 w 285879"/>
                <a:gd name="connsiteY20" fmla="*/ 33444 h 296196"/>
                <a:gd name="connsiteX21" fmla="*/ 260319 w 285879"/>
                <a:gd name="connsiteY21" fmla="*/ 80021 h 296196"/>
                <a:gd name="connsiteX22" fmla="*/ 272321 w 285879"/>
                <a:gd name="connsiteY22" fmla="*/ 98404 h 296196"/>
                <a:gd name="connsiteX23" fmla="*/ 268225 w 285879"/>
                <a:gd name="connsiteY23" fmla="*/ 119835 h 296196"/>
                <a:gd name="connsiteX24" fmla="*/ 265462 w 285879"/>
                <a:gd name="connsiteY24" fmla="*/ 119835 h 296196"/>
                <a:gd name="connsiteX25" fmla="*/ 259271 w 285879"/>
                <a:gd name="connsiteY25" fmla="*/ 120883 h 296196"/>
                <a:gd name="connsiteX26" fmla="*/ 225838 w 285879"/>
                <a:gd name="connsiteY26" fmla="*/ 114025 h 296196"/>
                <a:gd name="connsiteX27" fmla="*/ 192787 w 285879"/>
                <a:gd name="connsiteY27" fmla="*/ 120597 h 296196"/>
                <a:gd name="connsiteX28" fmla="*/ 192787 w 285879"/>
                <a:gd name="connsiteY28" fmla="*/ 120597 h 296196"/>
                <a:gd name="connsiteX29" fmla="*/ 152401 w 285879"/>
                <a:gd name="connsiteY29" fmla="*/ 106881 h 296196"/>
                <a:gd name="connsiteX30" fmla="*/ 136589 w 285879"/>
                <a:gd name="connsiteY30" fmla="*/ 109263 h 296196"/>
                <a:gd name="connsiteX31" fmla="*/ 125635 w 285879"/>
                <a:gd name="connsiteY31" fmla="*/ 101262 h 296196"/>
                <a:gd name="connsiteX32" fmla="*/ 134398 w 285879"/>
                <a:gd name="connsiteY32" fmla="*/ 39159 h 296196"/>
                <a:gd name="connsiteX33" fmla="*/ 129636 w 285879"/>
                <a:gd name="connsiteY33" fmla="*/ 4488 h 296196"/>
                <a:gd name="connsiteX34" fmla="*/ 121302 w 285879"/>
                <a:gd name="connsiteY34" fmla="*/ 344 h 296196"/>
                <a:gd name="connsiteX35" fmla="*/ 117158 w 285879"/>
                <a:gd name="connsiteY35" fmla="*/ 8679 h 296196"/>
                <a:gd name="connsiteX36" fmla="*/ 121254 w 285879"/>
                <a:gd name="connsiteY36" fmla="*/ 39159 h 296196"/>
                <a:gd name="connsiteX37" fmla="*/ 116587 w 285879"/>
                <a:gd name="connsiteY37" fmla="*/ 82307 h 296196"/>
                <a:gd name="connsiteX38" fmla="*/ 113253 w 285879"/>
                <a:gd name="connsiteY38" fmla="*/ 96594 h 296196"/>
                <a:gd name="connsiteX39" fmla="*/ 112205 w 285879"/>
                <a:gd name="connsiteY39" fmla="*/ 100595 h 296196"/>
                <a:gd name="connsiteX40" fmla="*/ 112205 w 285879"/>
                <a:gd name="connsiteY40" fmla="*/ 101643 h 296196"/>
                <a:gd name="connsiteX41" fmla="*/ 112205 w 285879"/>
                <a:gd name="connsiteY41" fmla="*/ 101643 h 296196"/>
                <a:gd name="connsiteX42" fmla="*/ 114586 w 285879"/>
                <a:gd name="connsiteY42" fmla="*/ 108882 h 296196"/>
                <a:gd name="connsiteX43" fmla="*/ 124111 w 285879"/>
                <a:gd name="connsiteY43" fmla="*/ 115835 h 296196"/>
                <a:gd name="connsiteX44" fmla="*/ 117349 w 285879"/>
                <a:gd name="connsiteY44" fmla="*/ 122883 h 296196"/>
                <a:gd name="connsiteX45" fmla="*/ 112491 w 285879"/>
                <a:gd name="connsiteY45" fmla="*/ 132408 h 296196"/>
                <a:gd name="connsiteX46" fmla="*/ 102966 w 285879"/>
                <a:gd name="connsiteY46" fmla="*/ 125265 h 296196"/>
                <a:gd name="connsiteX47" fmla="*/ 95346 w 285879"/>
                <a:gd name="connsiteY47" fmla="*/ 125265 h 296196"/>
                <a:gd name="connsiteX48" fmla="*/ 95346 w 285879"/>
                <a:gd name="connsiteY48" fmla="*/ 125265 h 296196"/>
                <a:gd name="connsiteX49" fmla="*/ 64580 w 285879"/>
                <a:gd name="connsiteY49" fmla="*/ 142410 h 296196"/>
                <a:gd name="connsiteX50" fmla="*/ 37148 w 285879"/>
                <a:gd name="connsiteY50" fmla="*/ 153078 h 296196"/>
                <a:gd name="connsiteX51" fmla="*/ 9145 w 285879"/>
                <a:gd name="connsiteY51" fmla="*/ 157840 h 296196"/>
                <a:gd name="connsiteX52" fmla="*/ 6668 w 285879"/>
                <a:gd name="connsiteY52" fmla="*/ 157840 h 296196"/>
                <a:gd name="connsiteX53" fmla="*/ 1 w 285879"/>
                <a:gd name="connsiteY53" fmla="*/ 164317 h 296196"/>
                <a:gd name="connsiteX54" fmla="*/ 6476 w 285879"/>
                <a:gd name="connsiteY54" fmla="*/ 170985 h 296196"/>
                <a:gd name="connsiteX55" fmla="*/ 6478 w 285879"/>
                <a:gd name="connsiteY55" fmla="*/ 170985 h 296196"/>
                <a:gd name="connsiteX56" fmla="*/ 8002 w 285879"/>
                <a:gd name="connsiteY56" fmla="*/ 170985 h 296196"/>
                <a:gd name="connsiteX57" fmla="*/ 40768 w 285879"/>
                <a:gd name="connsiteY57" fmla="*/ 165460 h 296196"/>
                <a:gd name="connsiteX58" fmla="*/ 97918 w 285879"/>
                <a:gd name="connsiteY58" fmla="*/ 138695 h 296196"/>
                <a:gd name="connsiteX59" fmla="*/ 109062 w 285879"/>
                <a:gd name="connsiteY59" fmla="*/ 146982 h 296196"/>
                <a:gd name="connsiteX60" fmla="*/ 109062 w 285879"/>
                <a:gd name="connsiteY60" fmla="*/ 146982 h 296196"/>
                <a:gd name="connsiteX61" fmla="*/ 109062 w 285879"/>
                <a:gd name="connsiteY61" fmla="*/ 149172 h 296196"/>
                <a:gd name="connsiteX62" fmla="*/ 109062 w 285879"/>
                <a:gd name="connsiteY62" fmla="*/ 151839 h 296196"/>
                <a:gd name="connsiteX63" fmla="*/ 109538 w 285879"/>
                <a:gd name="connsiteY63" fmla="*/ 153173 h 296196"/>
                <a:gd name="connsiteX64" fmla="*/ 116968 w 285879"/>
                <a:gd name="connsiteY64" fmla="*/ 174890 h 296196"/>
                <a:gd name="connsiteX65" fmla="*/ 136018 w 285879"/>
                <a:gd name="connsiteY65" fmla="*/ 196607 h 296196"/>
                <a:gd name="connsiteX66" fmla="*/ 135446 w 285879"/>
                <a:gd name="connsiteY66" fmla="*/ 205656 h 296196"/>
                <a:gd name="connsiteX67" fmla="*/ 156687 w 285879"/>
                <a:gd name="connsiteY67" fmla="*/ 262806 h 296196"/>
                <a:gd name="connsiteX68" fmla="*/ 158782 w 285879"/>
                <a:gd name="connsiteY68" fmla="*/ 270045 h 296196"/>
                <a:gd name="connsiteX69" fmla="*/ 138208 w 285879"/>
                <a:gd name="connsiteY69" fmla="*/ 280903 h 296196"/>
                <a:gd name="connsiteX70" fmla="*/ 125731 w 285879"/>
                <a:gd name="connsiteY70" fmla="*/ 276998 h 296196"/>
                <a:gd name="connsiteX71" fmla="*/ 91155 w 285879"/>
                <a:gd name="connsiteY71" fmla="*/ 271950 h 296196"/>
                <a:gd name="connsiteX72" fmla="*/ 70486 w 285879"/>
                <a:gd name="connsiteY72" fmla="*/ 274521 h 296196"/>
                <a:gd name="connsiteX73" fmla="*/ 51436 w 285879"/>
                <a:gd name="connsiteY73" fmla="*/ 284046 h 296196"/>
                <a:gd name="connsiteX74" fmla="*/ 50148 w 285879"/>
                <a:gd name="connsiteY74" fmla="*/ 293387 h 296196"/>
                <a:gd name="connsiteX75" fmla="*/ 50293 w 285879"/>
                <a:gd name="connsiteY75" fmla="*/ 293571 h 296196"/>
                <a:gd name="connsiteX76" fmla="*/ 59495 w 285879"/>
                <a:gd name="connsiteY76" fmla="*/ 294878 h 296196"/>
                <a:gd name="connsiteX77" fmla="*/ 59818 w 285879"/>
                <a:gd name="connsiteY77" fmla="*/ 294619 h 296196"/>
                <a:gd name="connsiteX78" fmla="*/ 74581 w 285879"/>
                <a:gd name="connsiteY78" fmla="*/ 287475 h 296196"/>
                <a:gd name="connsiteX79" fmla="*/ 91822 w 285879"/>
                <a:gd name="connsiteY79" fmla="*/ 285380 h 296196"/>
                <a:gd name="connsiteX80" fmla="*/ 122968 w 285879"/>
                <a:gd name="connsiteY80" fmla="*/ 289952 h 296196"/>
                <a:gd name="connsiteX81" fmla="*/ 133160 w 285879"/>
                <a:gd name="connsiteY81" fmla="*/ 293095 h 296196"/>
                <a:gd name="connsiteX82" fmla="*/ 135922 w 285879"/>
                <a:gd name="connsiteY82" fmla="*/ 294143 h 296196"/>
                <a:gd name="connsiteX83" fmla="*/ 136589 w 285879"/>
                <a:gd name="connsiteY83" fmla="*/ 294143 h 296196"/>
                <a:gd name="connsiteX84" fmla="*/ 136589 w 285879"/>
                <a:gd name="connsiteY84" fmla="*/ 294143 h 296196"/>
                <a:gd name="connsiteX85" fmla="*/ 142209 w 285879"/>
                <a:gd name="connsiteY85" fmla="*/ 294143 h 296196"/>
                <a:gd name="connsiteX86" fmla="*/ 166498 w 285879"/>
                <a:gd name="connsiteY86" fmla="*/ 281189 h 296196"/>
                <a:gd name="connsiteX87" fmla="*/ 166974 w 285879"/>
                <a:gd name="connsiteY87" fmla="*/ 276522 h 296196"/>
                <a:gd name="connsiteX88" fmla="*/ 171927 w 285879"/>
                <a:gd name="connsiteY88" fmla="*/ 258043 h 296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285879" h="296196">
                  <a:moveTo>
                    <a:pt x="171927" y="258043"/>
                  </a:moveTo>
                  <a:cubicBezTo>
                    <a:pt x="176356" y="249409"/>
                    <a:pt x="182292" y="241636"/>
                    <a:pt x="189453" y="235088"/>
                  </a:cubicBezTo>
                  <a:cubicBezTo>
                    <a:pt x="195949" y="229061"/>
                    <a:pt x="203033" y="223700"/>
                    <a:pt x="210598" y="219086"/>
                  </a:cubicBezTo>
                  <a:cubicBezTo>
                    <a:pt x="217548" y="214859"/>
                    <a:pt x="224807" y="211165"/>
                    <a:pt x="232315" y="208037"/>
                  </a:cubicBezTo>
                  <a:cubicBezTo>
                    <a:pt x="232258" y="206895"/>
                    <a:pt x="232258" y="205750"/>
                    <a:pt x="232315" y="204608"/>
                  </a:cubicBezTo>
                  <a:cubicBezTo>
                    <a:pt x="232240" y="199187"/>
                    <a:pt x="233012" y="193789"/>
                    <a:pt x="234601" y="188606"/>
                  </a:cubicBezTo>
                  <a:cubicBezTo>
                    <a:pt x="237246" y="180172"/>
                    <a:pt x="241304" y="172249"/>
                    <a:pt x="246603" y="165174"/>
                  </a:cubicBezTo>
                  <a:cubicBezTo>
                    <a:pt x="251567" y="158358"/>
                    <a:pt x="257113" y="151984"/>
                    <a:pt x="263176" y="146124"/>
                  </a:cubicBezTo>
                  <a:cubicBezTo>
                    <a:pt x="269758" y="139837"/>
                    <a:pt x="276794" y="134043"/>
                    <a:pt x="284227" y="128789"/>
                  </a:cubicBezTo>
                  <a:cubicBezTo>
                    <a:pt x="284622" y="128589"/>
                    <a:pt x="285037" y="128429"/>
                    <a:pt x="285465" y="128313"/>
                  </a:cubicBezTo>
                  <a:lnTo>
                    <a:pt x="280893" y="124979"/>
                  </a:lnTo>
                  <a:lnTo>
                    <a:pt x="285751" y="97833"/>
                  </a:lnTo>
                  <a:cubicBezTo>
                    <a:pt x="286136" y="95915"/>
                    <a:pt x="285648" y="93925"/>
                    <a:pt x="284417" y="92403"/>
                  </a:cubicBezTo>
                  <a:lnTo>
                    <a:pt x="284417" y="92403"/>
                  </a:lnTo>
                  <a:cubicBezTo>
                    <a:pt x="279530" y="86083"/>
                    <a:pt x="275135" y="79395"/>
                    <a:pt x="271273" y="72401"/>
                  </a:cubicBezTo>
                  <a:cubicBezTo>
                    <a:pt x="264217" y="60532"/>
                    <a:pt x="260132" y="47135"/>
                    <a:pt x="259366" y="33348"/>
                  </a:cubicBezTo>
                  <a:cubicBezTo>
                    <a:pt x="259356" y="28478"/>
                    <a:pt x="260194" y="23643"/>
                    <a:pt x="261843" y="19061"/>
                  </a:cubicBezTo>
                  <a:cubicBezTo>
                    <a:pt x="263527" y="15846"/>
                    <a:pt x="262286" y="11874"/>
                    <a:pt x="259070" y="10190"/>
                  </a:cubicBezTo>
                  <a:cubicBezTo>
                    <a:pt x="255855" y="8505"/>
                    <a:pt x="251883" y="9747"/>
                    <a:pt x="250199" y="12962"/>
                  </a:cubicBezTo>
                  <a:cubicBezTo>
                    <a:pt x="249961" y="13416"/>
                    <a:pt x="249777" y="13897"/>
                    <a:pt x="249651" y="14394"/>
                  </a:cubicBezTo>
                  <a:cubicBezTo>
                    <a:pt x="247332" y="20475"/>
                    <a:pt x="246170" y="26936"/>
                    <a:pt x="246222" y="33444"/>
                  </a:cubicBezTo>
                  <a:cubicBezTo>
                    <a:pt x="246955" y="49903"/>
                    <a:pt x="251802" y="65917"/>
                    <a:pt x="260319" y="80021"/>
                  </a:cubicBezTo>
                  <a:cubicBezTo>
                    <a:pt x="263867" y="86433"/>
                    <a:pt x="267878" y="92577"/>
                    <a:pt x="272321" y="98404"/>
                  </a:cubicBezTo>
                  <a:lnTo>
                    <a:pt x="268225" y="119835"/>
                  </a:lnTo>
                  <a:lnTo>
                    <a:pt x="265462" y="119835"/>
                  </a:lnTo>
                  <a:cubicBezTo>
                    <a:pt x="263358" y="119875"/>
                    <a:pt x="261271" y="120228"/>
                    <a:pt x="259271" y="120883"/>
                  </a:cubicBezTo>
                  <a:cubicBezTo>
                    <a:pt x="248699" y="116379"/>
                    <a:pt x="237330" y="114047"/>
                    <a:pt x="225838" y="114025"/>
                  </a:cubicBezTo>
                  <a:cubicBezTo>
                    <a:pt x="214500" y="114062"/>
                    <a:pt x="203276" y="116294"/>
                    <a:pt x="192787" y="120597"/>
                  </a:cubicBezTo>
                  <a:lnTo>
                    <a:pt x="192787" y="120597"/>
                  </a:lnTo>
                  <a:cubicBezTo>
                    <a:pt x="180991" y="112105"/>
                    <a:pt x="166928" y="107329"/>
                    <a:pt x="152401" y="106881"/>
                  </a:cubicBezTo>
                  <a:cubicBezTo>
                    <a:pt x="147038" y="106837"/>
                    <a:pt x="141701" y="107640"/>
                    <a:pt x="136589" y="109263"/>
                  </a:cubicBezTo>
                  <a:lnTo>
                    <a:pt x="125635" y="101262"/>
                  </a:lnTo>
                  <a:cubicBezTo>
                    <a:pt x="131062" y="80992"/>
                    <a:pt x="134004" y="60138"/>
                    <a:pt x="134398" y="39159"/>
                  </a:cubicBezTo>
                  <a:cubicBezTo>
                    <a:pt x="134614" y="27425"/>
                    <a:pt x="133007" y="15729"/>
                    <a:pt x="129636" y="4488"/>
                  </a:cubicBezTo>
                  <a:cubicBezTo>
                    <a:pt x="128479" y="1042"/>
                    <a:pt x="124747" y="-813"/>
                    <a:pt x="121302" y="344"/>
                  </a:cubicBezTo>
                  <a:cubicBezTo>
                    <a:pt x="117856" y="1502"/>
                    <a:pt x="116001" y="5233"/>
                    <a:pt x="117158" y="8679"/>
                  </a:cubicBezTo>
                  <a:cubicBezTo>
                    <a:pt x="120146" y="18554"/>
                    <a:pt x="121529" y="28845"/>
                    <a:pt x="121254" y="39159"/>
                  </a:cubicBezTo>
                  <a:cubicBezTo>
                    <a:pt x="121119" y="53660"/>
                    <a:pt x="119556" y="68112"/>
                    <a:pt x="116587" y="82307"/>
                  </a:cubicBezTo>
                  <a:cubicBezTo>
                    <a:pt x="115348" y="88212"/>
                    <a:pt x="114205" y="93165"/>
                    <a:pt x="113253" y="96594"/>
                  </a:cubicBezTo>
                  <a:cubicBezTo>
                    <a:pt x="113253" y="98309"/>
                    <a:pt x="112491" y="99738"/>
                    <a:pt x="112205" y="100595"/>
                  </a:cubicBezTo>
                  <a:cubicBezTo>
                    <a:pt x="112242" y="100943"/>
                    <a:pt x="112242" y="101294"/>
                    <a:pt x="112205" y="101643"/>
                  </a:cubicBezTo>
                  <a:lnTo>
                    <a:pt x="112205" y="101643"/>
                  </a:lnTo>
                  <a:cubicBezTo>
                    <a:pt x="111462" y="104315"/>
                    <a:pt x="112402" y="107172"/>
                    <a:pt x="114586" y="108882"/>
                  </a:cubicBezTo>
                  <a:lnTo>
                    <a:pt x="124111" y="115835"/>
                  </a:lnTo>
                  <a:cubicBezTo>
                    <a:pt x="121552" y="117871"/>
                    <a:pt x="119278" y="120242"/>
                    <a:pt x="117349" y="122883"/>
                  </a:cubicBezTo>
                  <a:cubicBezTo>
                    <a:pt x="115290" y="125814"/>
                    <a:pt x="113654" y="129021"/>
                    <a:pt x="112491" y="132408"/>
                  </a:cubicBezTo>
                  <a:lnTo>
                    <a:pt x="102966" y="125265"/>
                  </a:lnTo>
                  <a:cubicBezTo>
                    <a:pt x="100685" y="123642"/>
                    <a:pt x="97627" y="123642"/>
                    <a:pt x="95346" y="125265"/>
                  </a:cubicBezTo>
                  <a:lnTo>
                    <a:pt x="95346" y="125265"/>
                  </a:lnTo>
                  <a:cubicBezTo>
                    <a:pt x="85495" y="131676"/>
                    <a:pt x="75215" y="137404"/>
                    <a:pt x="64580" y="142410"/>
                  </a:cubicBezTo>
                  <a:cubicBezTo>
                    <a:pt x="55700" y="146610"/>
                    <a:pt x="46533" y="150174"/>
                    <a:pt x="37148" y="153078"/>
                  </a:cubicBezTo>
                  <a:cubicBezTo>
                    <a:pt x="28085" y="155977"/>
                    <a:pt x="18657" y="157580"/>
                    <a:pt x="9145" y="157840"/>
                  </a:cubicBezTo>
                  <a:lnTo>
                    <a:pt x="6668" y="157840"/>
                  </a:lnTo>
                  <a:cubicBezTo>
                    <a:pt x="3059" y="157839"/>
                    <a:pt x="104" y="160709"/>
                    <a:pt x="1" y="164317"/>
                  </a:cubicBezTo>
                  <a:cubicBezTo>
                    <a:pt x="-52" y="167947"/>
                    <a:pt x="2847" y="170932"/>
                    <a:pt x="6476" y="170985"/>
                  </a:cubicBezTo>
                  <a:cubicBezTo>
                    <a:pt x="6477" y="170985"/>
                    <a:pt x="6477" y="170985"/>
                    <a:pt x="6478" y="170985"/>
                  </a:cubicBezTo>
                  <a:lnTo>
                    <a:pt x="8002" y="170985"/>
                  </a:lnTo>
                  <a:cubicBezTo>
                    <a:pt x="19138" y="170782"/>
                    <a:pt x="30181" y="168920"/>
                    <a:pt x="40768" y="165460"/>
                  </a:cubicBezTo>
                  <a:cubicBezTo>
                    <a:pt x="60839" y="158904"/>
                    <a:pt x="80031" y="149916"/>
                    <a:pt x="97918" y="138695"/>
                  </a:cubicBezTo>
                  <a:lnTo>
                    <a:pt x="109062" y="146982"/>
                  </a:lnTo>
                  <a:lnTo>
                    <a:pt x="109062" y="146982"/>
                  </a:lnTo>
                  <a:cubicBezTo>
                    <a:pt x="109062" y="147744"/>
                    <a:pt x="109062" y="148506"/>
                    <a:pt x="109062" y="149172"/>
                  </a:cubicBezTo>
                  <a:cubicBezTo>
                    <a:pt x="109011" y="150061"/>
                    <a:pt x="109011" y="150951"/>
                    <a:pt x="109062" y="151839"/>
                  </a:cubicBezTo>
                  <a:cubicBezTo>
                    <a:pt x="109106" y="152317"/>
                    <a:pt x="109270" y="152775"/>
                    <a:pt x="109538" y="153173"/>
                  </a:cubicBezTo>
                  <a:cubicBezTo>
                    <a:pt x="110626" y="160815"/>
                    <a:pt x="113147" y="168183"/>
                    <a:pt x="116968" y="174890"/>
                  </a:cubicBezTo>
                  <a:cubicBezTo>
                    <a:pt x="121892" y="183265"/>
                    <a:pt x="128355" y="190634"/>
                    <a:pt x="136018" y="196607"/>
                  </a:cubicBezTo>
                  <a:cubicBezTo>
                    <a:pt x="136018" y="199655"/>
                    <a:pt x="135446" y="202608"/>
                    <a:pt x="135446" y="205656"/>
                  </a:cubicBezTo>
                  <a:cubicBezTo>
                    <a:pt x="135415" y="226642"/>
                    <a:pt x="142957" y="246934"/>
                    <a:pt x="156687" y="262806"/>
                  </a:cubicBezTo>
                  <a:cubicBezTo>
                    <a:pt x="156938" y="265326"/>
                    <a:pt x="157648" y="267780"/>
                    <a:pt x="158782" y="270045"/>
                  </a:cubicBezTo>
                  <a:lnTo>
                    <a:pt x="138208" y="280903"/>
                  </a:lnTo>
                  <a:cubicBezTo>
                    <a:pt x="135541" y="279951"/>
                    <a:pt x="131255" y="278522"/>
                    <a:pt x="125731" y="276998"/>
                  </a:cubicBezTo>
                  <a:cubicBezTo>
                    <a:pt x="114472" y="273829"/>
                    <a:pt x="102850" y="272133"/>
                    <a:pt x="91155" y="271950"/>
                  </a:cubicBezTo>
                  <a:cubicBezTo>
                    <a:pt x="84180" y="271857"/>
                    <a:pt x="77225" y="272722"/>
                    <a:pt x="70486" y="274521"/>
                  </a:cubicBezTo>
                  <a:cubicBezTo>
                    <a:pt x="63555" y="276371"/>
                    <a:pt x="57074" y="279612"/>
                    <a:pt x="51436" y="284046"/>
                  </a:cubicBezTo>
                  <a:cubicBezTo>
                    <a:pt x="48501" y="286270"/>
                    <a:pt x="47924" y="290452"/>
                    <a:pt x="50148" y="293387"/>
                  </a:cubicBezTo>
                  <a:cubicBezTo>
                    <a:pt x="50195" y="293450"/>
                    <a:pt x="50243" y="293511"/>
                    <a:pt x="50293" y="293571"/>
                  </a:cubicBezTo>
                  <a:cubicBezTo>
                    <a:pt x="52473" y="296473"/>
                    <a:pt x="56593" y="297058"/>
                    <a:pt x="59495" y="294878"/>
                  </a:cubicBezTo>
                  <a:cubicBezTo>
                    <a:pt x="59605" y="294795"/>
                    <a:pt x="59713" y="294709"/>
                    <a:pt x="59818" y="294619"/>
                  </a:cubicBezTo>
                  <a:cubicBezTo>
                    <a:pt x="64207" y="291267"/>
                    <a:pt x="69229" y="288837"/>
                    <a:pt x="74581" y="287475"/>
                  </a:cubicBezTo>
                  <a:cubicBezTo>
                    <a:pt x="80207" y="286000"/>
                    <a:pt x="86007" y="285295"/>
                    <a:pt x="91822" y="285380"/>
                  </a:cubicBezTo>
                  <a:cubicBezTo>
                    <a:pt x="102356" y="285573"/>
                    <a:pt x="112823" y="287109"/>
                    <a:pt x="122968" y="289952"/>
                  </a:cubicBezTo>
                  <a:cubicBezTo>
                    <a:pt x="127159" y="291095"/>
                    <a:pt x="130684" y="292238"/>
                    <a:pt x="133160" y="293095"/>
                  </a:cubicBezTo>
                  <a:lnTo>
                    <a:pt x="135922" y="294143"/>
                  </a:lnTo>
                  <a:lnTo>
                    <a:pt x="136589" y="294143"/>
                  </a:lnTo>
                  <a:lnTo>
                    <a:pt x="136589" y="294143"/>
                  </a:lnTo>
                  <a:cubicBezTo>
                    <a:pt x="138365" y="294998"/>
                    <a:pt x="140433" y="294998"/>
                    <a:pt x="142209" y="294143"/>
                  </a:cubicBezTo>
                  <a:lnTo>
                    <a:pt x="166498" y="281189"/>
                  </a:lnTo>
                  <a:cubicBezTo>
                    <a:pt x="166567" y="279625"/>
                    <a:pt x="166726" y="278067"/>
                    <a:pt x="166974" y="276522"/>
                  </a:cubicBezTo>
                  <a:cubicBezTo>
                    <a:pt x="167703" y="270151"/>
                    <a:pt x="169372" y="263924"/>
                    <a:pt x="171927" y="2580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5" name="Freihandform: Form 95">
              <a:extLst>
                <a:ext uri="{FF2B5EF4-FFF2-40B4-BE49-F238E27FC236}">
                  <a16:creationId xmlns:a16="http://schemas.microsoft.com/office/drawing/2014/main" id="{13140931-FE9A-4E64-9458-2C36C42B3428}"/>
                </a:ext>
              </a:extLst>
            </p:cNvPr>
            <p:cNvSpPr/>
            <p:nvPr/>
          </p:nvSpPr>
          <p:spPr>
            <a:xfrm>
              <a:off x="4513074" y="3432619"/>
              <a:ext cx="208658" cy="220245"/>
            </a:xfrm>
            <a:custGeom>
              <a:avLst/>
              <a:gdLst>
                <a:gd name="connsiteX0" fmla="*/ 60640 w 208658"/>
                <a:gd name="connsiteY0" fmla="*/ 0 h 220245"/>
                <a:gd name="connsiteX1" fmla="*/ 57973 w 208658"/>
                <a:gd name="connsiteY1" fmla="*/ 1048 h 220245"/>
                <a:gd name="connsiteX2" fmla="*/ 47591 w 208658"/>
                <a:gd name="connsiteY2" fmla="*/ 5906 h 220245"/>
                <a:gd name="connsiteX3" fmla="*/ 19492 w 208658"/>
                <a:gd name="connsiteY3" fmla="*/ 24956 h 220245"/>
                <a:gd name="connsiteX4" fmla="*/ 4919 w 208658"/>
                <a:gd name="connsiteY4" fmla="*/ 44006 h 220245"/>
                <a:gd name="connsiteX5" fmla="*/ 347 w 208658"/>
                <a:gd name="connsiteY5" fmla="*/ 57245 h 220245"/>
                <a:gd name="connsiteX6" fmla="*/ 347 w 208658"/>
                <a:gd name="connsiteY6" fmla="*/ 64484 h 220245"/>
                <a:gd name="connsiteX7" fmla="*/ 1014 w 208658"/>
                <a:gd name="connsiteY7" fmla="*/ 66199 h 220245"/>
                <a:gd name="connsiteX8" fmla="*/ 25779 w 208658"/>
                <a:gd name="connsiteY8" fmla="*/ 84392 h 220245"/>
                <a:gd name="connsiteX9" fmla="*/ 25779 w 208658"/>
                <a:gd name="connsiteY9" fmla="*/ 84392 h 220245"/>
                <a:gd name="connsiteX10" fmla="*/ 13873 w 208658"/>
                <a:gd name="connsiteY10" fmla="*/ 92678 h 220245"/>
                <a:gd name="connsiteX11" fmla="*/ 11872 w 208658"/>
                <a:gd name="connsiteY11" fmla="*/ 101251 h 220245"/>
                <a:gd name="connsiteX12" fmla="*/ 11872 w 208658"/>
                <a:gd name="connsiteY12" fmla="*/ 101251 h 220245"/>
                <a:gd name="connsiteX13" fmla="*/ 17302 w 208658"/>
                <a:gd name="connsiteY13" fmla="*/ 114205 h 220245"/>
                <a:gd name="connsiteX14" fmla="*/ 22636 w 208658"/>
                <a:gd name="connsiteY14" fmla="*/ 143351 h 220245"/>
                <a:gd name="connsiteX15" fmla="*/ 13111 w 208658"/>
                <a:gd name="connsiteY15" fmla="*/ 174974 h 220245"/>
                <a:gd name="connsiteX16" fmla="*/ 14150 w 208658"/>
                <a:gd name="connsiteY16" fmla="*/ 184346 h 220245"/>
                <a:gd name="connsiteX17" fmla="*/ 14349 w 208658"/>
                <a:gd name="connsiteY17" fmla="*/ 184499 h 220245"/>
                <a:gd name="connsiteX18" fmla="*/ 23593 w 208658"/>
                <a:gd name="connsiteY18" fmla="*/ 183537 h 220245"/>
                <a:gd name="connsiteX19" fmla="*/ 23874 w 208658"/>
                <a:gd name="connsiteY19" fmla="*/ 183166 h 220245"/>
                <a:gd name="connsiteX20" fmla="*/ 36352 w 208658"/>
                <a:gd name="connsiteY20" fmla="*/ 143637 h 220245"/>
                <a:gd name="connsiteX21" fmla="*/ 30256 w 208658"/>
                <a:gd name="connsiteY21" fmla="*/ 109823 h 220245"/>
                <a:gd name="connsiteX22" fmla="*/ 26636 w 208658"/>
                <a:gd name="connsiteY22" fmla="*/ 100298 h 220245"/>
                <a:gd name="connsiteX23" fmla="*/ 37304 w 208658"/>
                <a:gd name="connsiteY23" fmla="*/ 92869 h 220245"/>
                <a:gd name="connsiteX24" fmla="*/ 45591 w 208658"/>
                <a:gd name="connsiteY24" fmla="*/ 98584 h 220245"/>
                <a:gd name="connsiteX25" fmla="*/ 77500 w 208658"/>
                <a:gd name="connsiteY25" fmla="*/ 122111 h 220245"/>
                <a:gd name="connsiteX26" fmla="*/ 70642 w 208658"/>
                <a:gd name="connsiteY26" fmla="*/ 158687 h 220245"/>
                <a:gd name="connsiteX27" fmla="*/ 75595 w 208658"/>
                <a:gd name="connsiteY27" fmla="*/ 166307 h 220245"/>
                <a:gd name="connsiteX28" fmla="*/ 75595 w 208658"/>
                <a:gd name="connsiteY28" fmla="*/ 166307 h 220245"/>
                <a:gd name="connsiteX29" fmla="*/ 94645 w 208658"/>
                <a:gd name="connsiteY29" fmla="*/ 174784 h 220245"/>
                <a:gd name="connsiteX30" fmla="*/ 106551 w 208658"/>
                <a:gd name="connsiteY30" fmla="*/ 186881 h 220245"/>
                <a:gd name="connsiteX31" fmla="*/ 111790 w 208658"/>
                <a:gd name="connsiteY31" fmla="*/ 204407 h 220245"/>
                <a:gd name="connsiteX32" fmla="*/ 110932 w 208658"/>
                <a:gd name="connsiteY32" fmla="*/ 212408 h 220245"/>
                <a:gd name="connsiteX33" fmla="*/ 116076 w 208658"/>
                <a:gd name="connsiteY33" fmla="*/ 220123 h 220245"/>
                <a:gd name="connsiteX34" fmla="*/ 123783 w 208658"/>
                <a:gd name="connsiteY34" fmla="*/ 214927 h 220245"/>
                <a:gd name="connsiteX35" fmla="*/ 123791 w 208658"/>
                <a:gd name="connsiteY35" fmla="*/ 214884 h 220245"/>
                <a:gd name="connsiteX36" fmla="*/ 124839 w 208658"/>
                <a:gd name="connsiteY36" fmla="*/ 204407 h 220245"/>
                <a:gd name="connsiteX37" fmla="*/ 117219 w 208658"/>
                <a:gd name="connsiteY37" fmla="*/ 179261 h 220245"/>
                <a:gd name="connsiteX38" fmla="*/ 92644 w 208658"/>
                <a:gd name="connsiteY38" fmla="*/ 159258 h 220245"/>
                <a:gd name="connsiteX39" fmla="*/ 84262 w 208658"/>
                <a:gd name="connsiteY39" fmla="*/ 155829 h 220245"/>
                <a:gd name="connsiteX40" fmla="*/ 89025 w 208658"/>
                <a:gd name="connsiteY40" fmla="*/ 130588 h 220245"/>
                <a:gd name="connsiteX41" fmla="*/ 135126 w 208658"/>
                <a:gd name="connsiteY41" fmla="*/ 142780 h 220245"/>
                <a:gd name="connsiteX42" fmla="*/ 208659 w 208658"/>
                <a:gd name="connsiteY42" fmla="*/ 108299 h 220245"/>
                <a:gd name="connsiteX43" fmla="*/ 205611 w 208658"/>
                <a:gd name="connsiteY43" fmla="*/ 107156 h 220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8658" h="220245">
                  <a:moveTo>
                    <a:pt x="60640" y="0"/>
                  </a:moveTo>
                  <a:lnTo>
                    <a:pt x="57973" y="1048"/>
                  </a:lnTo>
                  <a:cubicBezTo>
                    <a:pt x="55497" y="2096"/>
                    <a:pt x="51782" y="3810"/>
                    <a:pt x="47591" y="5906"/>
                  </a:cubicBezTo>
                  <a:cubicBezTo>
                    <a:pt x="37436" y="11006"/>
                    <a:pt x="27990" y="17410"/>
                    <a:pt x="19492" y="24956"/>
                  </a:cubicBezTo>
                  <a:cubicBezTo>
                    <a:pt x="13523" y="30372"/>
                    <a:pt x="8585" y="36827"/>
                    <a:pt x="4919" y="44006"/>
                  </a:cubicBezTo>
                  <a:cubicBezTo>
                    <a:pt x="2751" y="48169"/>
                    <a:pt x="1210" y="52631"/>
                    <a:pt x="347" y="57245"/>
                  </a:cubicBezTo>
                  <a:cubicBezTo>
                    <a:pt x="-116" y="59636"/>
                    <a:pt x="-116" y="62093"/>
                    <a:pt x="347" y="64484"/>
                  </a:cubicBezTo>
                  <a:cubicBezTo>
                    <a:pt x="347" y="65151"/>
                    <a:pt x="823" y="65627"/>
                    <a:pt x="1014" y="66199"/>
                  </a:cubicBezTo>
                  <a:lnTo>
                    <a:pt x="25779" y="84392"/>
                  </a:lnTo>
                  <a:lnTo>
                    <a:pt x="25779" y="84392"/>
                  </a:lnTo>
                  <a:lnTo>
                    <a:pt x="13873" y="92678"/>
                  </a:lnTo>
                  <a:cubicBezTo>
                    <a:pt x="11108" y="94601"/>
                    <a:pt x="10244" y="98303"/>
                    <a:pt x="11872" y="101251"/>
                  </a:cubicBezTo>
                  <a:lnTo>
                    <a:pt x="11872" y="101251"/>
                  </a:lnTo>
                  <a:cubicBezTo>
                    <a:pt x="13977" y="105439"/>
                    <a:pt x="15791" y="109767"/>
                    <a:pt x="17302" y="114205"/>
                  </a:cubicBezTo>
                  <a:cubicBezTo>
                    <a:pt x="20634" y="123570"/>
                    <a:pt x="22435" y="133412"/>
                    <a:pt x="22636" y="143351"/>
                  </a:cubicBezTo>
                  <a:cubicBezTo>
                    <a:pt x="22995" y="154649"/>
                    <a:pt x="19650" y="165754"/>
                    <a:pt x="13111" y="174974"/>
                  </a:cubicBezTo>
                  <a:cubicBezTo>
                    <a:pt x="10810" y="177849"/>
                    <a:pt x="11275" y="182045"/>
                    <a:pt x="14150" y="184346"/>
                  </a:cubicBezTo>
                  <a:cubicBezTo>
                    <a:pt x="14215" y="184398"/>
                    <a:pt x="14281" y="184449"/>
                    <a:pt x="14349" y="184499"/>
                  </a:cubicBezTo>
                  <a:cubicBezTo>
                    <a:pt x="17167" y="186786"/>
                    <a:pt x="21306" y="186356"/>
                    <a:pt x="23593" y="183537"/>
                  </a:cubicBezTo>
                  <a:cubicBezTo>
                    <a:pt x="23691" y="183417"/>
                    <a:pt x="23785" y="183293"/>
                    <a:pt x="23874" y="183166"/>
                  </a:cubicBezTo>
                  <a:cubicBezTo>
                    <a:pt x="32309" y="171742"/>
                    <a:pt x="36699" y="157834"/>
                    <a:pt x="36352" y="143637"/>
                  </a:cubicBezTo>
                  <a:cubicBezTo>
                    <a:pt x="36205" y="132106"/>
                    <a:pt x="34145" y="120680"/>
                    <a:pt x="30256" y="109823"/>
                  </a:cubicBezTo>
                  <a:cubicBezTo>
                    <a:pt x="28922" y="106109"/>
                    <a:pt x="27684" y="102965"/>
                    <a:pt x="26636" y="100298"/>
                  </a:cubicBezTo>
                  <a:lnTo>
                    <a:pt x="37304" y="92869"/>
                  </a:lnTo>
                  <a:cubicBezTo>
                    <a:pt x="40035" y="94901"/>
                    <a:pt x="42797" y="96806"/>
                    <a:pt x="45591" y="98584"/>
                  </a:cubicBezTo>
                  <a:lnTo>
                    <a:pt x="77500" y="122111"/>
                  </a:lnTo>
                  <a:lnTo>
                    <a:pt x="70642" y="158687"/>
                  </a:lnTo>
                  <a:cubicBezTo>
                    <a:pt x="69987" y="162143"/>
                    <a:pt x="72170" y="165501"/>
                    <a:pt x="75595" y="166307"/>
                  </a:cubicBezTo>
                  <a:lnTo>
                    <a:pt x="75595" y="166307"/>
                  </a:lnTo>
                  <a:cubicBezTo>
                    <a:pt x="82362" y="168082"/>
                    <a:pt x="88796" y="170945"/>
                    <a:pt x="94645" y="174784"/>
                  </a:cubicBezTo>
                  <a:cubicBezTo>
                    <a:pt x="99400" y="177958"/>
                    <a:pt x="103453" y="182075"/>
                    <a:pt x="106551" y="186881"/>
                  </a:cubicBezTo>
                  <a:cubicBezTo>
                    <a:pt x="110045" y="192051"/>
                    <a:pt x="111873" y="198167"/>
                    <a:pt x="111790" y="204407"/>
                  </a:cubicBezTo>
                  <a:cubicBezTo>
                    <a:pt x="111758" y="207095"/>
                    <a:pt x="111471" y="209774"/>
                    <a:pt x="110932" y="212408"/>
                  </a:cubicBezTo>
                  <a:cubicBezTo>
                    <a:pt x="110285" y="215946"/>
                    <a:pt x="112561" y="219359"/>
                    <a:pt x="116076" y="220123"/>
                  </a:cubicBezTo>
                  <a:cubicBezTo>
                    <a:pt x="119639" y="220816"/>
                    <a:pt x="123089" y="218490"/>
                    <a:pt x="123783" y="214927"/>
                  </a:cubicBezTo>
                  <a:cubicBezTo>
                    <a:pt x="123786" y="214913"/>
                    <a:pt x="123788" y="214899"/>
                    <a:pt x="123791" y="214884"/>
                  </a:cubicBezTo>
                  <a:cubicBezTo>
                    <a:pt x="124550" y="211445"/>
                    <a:pt x="124901" y="207928"/>
                    <a:pt x="124839" y="204407"/>
                  </a:cubicBezTo>
                  <a:cubicBezTo>
                    <a:pt x="124968" y="195437"/>
                    <a:pt x="122305" y="186649"/>
                    <a:pt x="117219" y="179261"/>
                  </a:cubicBezTo>
                  <a:cubicBezTo>
                    <a:pt x="110920" y="170556"/>
                    <a:pt x="102446" y="163658"/>
                    <a:pt x="92644" y="159258"/>
                  </a:cubicBezTo>
                  <a:cubicBezTo>
                    <a:pt x="89926" y="157939"/>
                    <a:pt x="87126" y="156793"/>
                    <a:pt x="84262" y="155829"/>
                  </a:cubicBezTo>
                  <a:lnTo>
                    <a:pt x="89025" y="130588"/>
                  </a:lnTo>
                  <a:cubicBezTo>
                    <a:pt x="103039" y="138666"/>
                    <a:pt x="118950" y="142874"/>
                    <a:pt x="135126" y="142780"/>
                  </a:cubicBezTo>
                  <a:cubicBezTo>
                    <a:pt x="163510" y="142638"/>
                    <a:pt x="190398" y="130030"/>
                    <a:pt x="208659" y="108299"/>
                  </a:cubicBezTo>
                  <a:cubicBezTo>
                    <a:pt x="207551" y="108233"/>
                    <a:pt x="206489" y="107835"/>
                    <a:pt x="205611" y="1071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6" name="Freihandform: Form 96">
              <a:extLst>
                <a:ext uri="{FF2B5EF4-FFF2-40B4-BE49-F238E27FC236}">
                  <a16:creationId xmlns:a16="http://schemas.microsoft.com/office/drawing/2014/main" id="{B4ABAF8F-3E79-4B1F-A21B-6F302D179B35}"/>
                </a:ext>
              </a:extLst>
            </p:cNvPr>
            <p:cNvSpPr/>
            <p:nvPr/>
          </p:nvSpPr>
          <p:spPr>
            <a:xfrm>
              <a:off x="4579714" y="3321965"/>
              <a:ext cx="229174" cy="209809"/>
            </a:xfrm>
            <a:custGeom>
              <a:avLst/>
              <a:gdLst>
                <a:gd name="connsiteX0" fmla="*/ 228125 w 229174"/>
                <a:gd name="connsiteY0" fmla="*/ 87984 h 209809"/>
                <a:gd name="connsiteX1" fmla="*/ 219171 w 229174"/>
                <a:gd name="connsiteY1" fmla="*/ 85317 h 209809"/>
                <a:gd name="connsiteX2" fmla="*/ 202312 w 229174"/>
                <a:gd name="connsiteY2" fmla="*/ 89985 h 209809"/>
                <a:gd name="connsiteX3" fmla="*/ 187453 w 229174"/>
                <a:gd name="connsiteY3" fmla="*/ 86175 h 209809"/>
                <a:gd name="connsiteX4" fmla="*/ 166498 w 229174"/>
                <a:gd name="connsiteY4" fmla="*/ 67125 h 209809"/>
                <a:gd name="connsiteX5" fmla="*/ 165355 w 229174"/>
                <a:gd name="connsiteY5" fmla="*/ 65410 h 209809"/>
                <a:gd name="connsiteX6" fmla="*/ 165355 w 229174"/>
                <a:gd name="connsiteY6" fmla="*/ 65410 h 209809"/>
                <a:gd name="connsiteX7" fmla="*/ 165355 w 229174"/>
                <a:gd name="connsiteY7" fmla="*/ 65410 h 209809"/>
                <a:gd name="connsiteX8" fmla="*/ 156592 w 229174"/>
                <a:gd name="connsiteY8" fmla="*/ 62838 h 209809"/>
                <a:gd name="connsiteX9" fmla="*/ 124398 w 229174"/>
                <a:gd name="connsiteY9" fmla="*/ 79888 h 209809"/>
                <a:gd name="connsiteX10" fmla="*/ 83726 w 229174"/>
                <a:gd name="connsiteY10" fmla="*/ 49884 h 209809"/>
                <a:gd name="connsiteX11" fmla="*/ 87536 w 229174"/>
                <a:gd name="connsiteY11" fmla="*/ 37883 h 209809"/>
                <a:gd name="connsiteX12" fmla="*/ 101919 w 229174"/>
                <a:gd name="connsiteY12" fmla="*/ 38645 h 209809"/>
                <a:gd name="connsiteX13" fmla="*/ 134208 w 229174"/>
                <a:gd name="connsiteY13" fmla="*/ 33692 h 209809"/>
                <a:gd name="connsiteX14" fmla="*/ 165736 w 229174"/>
                <a:gd name="connsiteY14" fmla="*/ 10927 h 209809"/>
                <a:gd name="connsiteX15" fmla="*/ 164464 w 229174"/>
                <a:gd name="connsiteY15" fmla="*/ 1584 h 209809"/>
                <a:gd name="connsiteX16" fmla="*/ 164212 w 229174"/>
                <a:gd name="connsiteY16" fmla="*/ 1402 h 209809"/>
                <a:gd name="connsiteX17" fmla="*/ 154985 w 229174"/>
                <a:gd name="connsiteY17" fmla="*/ 2515 h 209809"/>
                <a:gd name="connsiteX18" fmla="*/ 154687 w 229174"/>
                <a:gd name="connsiteY18" fmla="*/ 2926 h 209809"/>
                <a:gd name="connsiteX19" fmla="*/ 129922 w 229174"/>
                <a:gd name="connsiteY19" fmla="*/ 21309 h 209809"/>
                <a:gd name="connsiteX20" fmla="*/ 101919 w 229174"/>
                <a:gd name="connsiteY20" fmla="*/ 25596 h 209809"/>
                <a:gd name="connsiteX21" fmla="*/ 89060 w 229174"/>
                <a:gd name="connsiteY21" fmla="*/ 24929 h 209809"/>
                <a:gd name="connsiteX22" fmla="*/ 85440 w 229174"/>
                <a:gd name="connsiteY22" fmla="*/ 24357 h 209809"/>
                <a:gd name="connsiteX23" fmla="*/ 84297 w 229174"/>
                <a:gd name="connsiteY23" fmla="*/ 24357 h 209809"/>
                <a:gd name="connsiteX24" fmla="*/ 76773 w 229174"/>
                <a:gd name="connsiteY24" fmla="*/ 28834 h 209809"/>
                <a:gd name="connsiteX25" fmla="*/ 72582 w 229174"/>
                <a:gd name="connsiteY25" fmla="*/ 41883 h 209809"/>
                <a:gd name="connsiteX26" fmla="*/ 48102 w 229174"/>
                <a:gd name="connsiteY26" fmla="*/ 23881 h 209809"/>
                <a:gd name="connsiteX27" fmla="*/ 45340 w 229174"/>
                <a:gd name="connsiteY27" fmla="*/ 28644 h 209809"/>
                <a:gd name="connsiteX28" fmla="*/ 45340 w 229174"/>
                <a:gd name="connsiteY28" fmla="*/ 28644 h 209809"/>
                <a:gd name="connsiteX29" fmla="*/ 44673 w 229174"/>
                <a:gd name="connsiteY29" fmla="*/ 28644 h 209809"/>
                <a:gd name="connsiteX30" fmla="*/ 42197 w 229174"/>
                <a:gd name="connsiteY30" fmla="*/ 30453 h 209809"/>
                <a:gd name="connsiteX31" fmla="*/ 33529 w 229174"/>
                <a:gd name="connsiteY31" fmla="*/ 37311 h 209809"/>
                <a:gd name="connsiteX32" fmla="*/ 11336 w 229174"/>
                <a:gd name="connsiteY32" fmla="*/ 61029 h 209809"/>
                <a:gd name="connsiteX33" fmla="*/ 1811 w 229174"/>
                <a:gd name="connsiteY33" fmla="*/ 80079 h 209809"/>
                <a:gd name="connsiteX34" fmla="*/ 1 w 229174"/>
                <a:gd name="connsiteY34" fmla="*/ 91985 h 209809"/>
                <a:gd name="connsiteX35" fmla="*/ 1430 w 229174"/>
                <a:gd name="connsiteY35" fmla="*/ 97700 h 209809"/>
                <a:gd name="connsiteX36" fmla="*/ 4287 w 229174"/>
                <a:gd name="connsiteY36" fmla="*/ 100462 h 209809"/>
                <a:gd name="connsiteX37" fmla="*/ 4287 w 229174"/>
                <a:gd name="connsiteY37" fmla="*/ 100462 h 209809"/>
                <a:gd name="connsiteX38" fmla="*/ 146972 w 229174"/>
                <a:gd name="connsiteY38" fmla="*/ 206952 h 209809"/>
                <a:gd name="connsiteX39" fmla="*/ 149067 w 229174"/>
                <a:gd name="connsiteY39" fmla="*/ 209809 h 209809"/>
                <a:gd name="connsiteX40" fmla="*/ 164784 w 229174"/>
                <a:gd name="connsiteY40" fmla="*/ 157041 h 209809"/>
                <a:gd name="connsiteX41" fmla="*/ 135256 w 229174"/>
                <a:gd name="connsiteY41" fmla="*/ 88461 h 209809"/>
                <a:gd name="connsiteX42" fmla="*/ 157259 w 229174"/>
                <a:gd name="connsiteY42" fmla="*/ 76840 h 209809"/>
                <a:gd name="connsiteX43" fmla="*/ 166784 w 229174"/>
                <a:gd name="connsiteY43" fmla="*/ 87318 h 209809"/>
                <a:gd name="connsiteX44" fmla="*/ 181833 w 229174"/>
                <a:gd name="connsiteY44" fmla="*/ 98271 h 209809"/>
                <a:gd name="connsiteX45" fmla="*/ 202693 w 229174"/>
                <a:gd name="connsiteY45" fmla="*/ 103510 h 209809"/>
                <a:gd name="connsiteX46" fmla="*/ 225363 w 229174"/>
                <a:gd name="connsiteY46" fmla="*/ 97509 h 209809"/>
                <a:gd name="connsiteX47" fmla="*/ 228565 w 229174"/>
                <a:gd name="connsiteY47" fmla="*/ 88784 h 209809"/>
                <a:gd name="connsiteX48" fmla="*/ 228125 w 229174"/>
                <a:gd name="connsiteY48" fmla="*/ 87984 h 209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229174" h="209809">
                  <a:moveTo>
                    <a:pt x="228125" y="87984"/>
                  </a:moveTo>
                  <a:cubicBezTo>
                    <a:pt x="226366" y="84804"/>
                    <a:pt x="222384" y="83617"/>
                    <a:pt x="219171" y="85317"/>
                  </a:cubicBezTo>
                  <a:cubicBezTo>
                    <a:pt x="214045" y="88292"/>
                    <a:pt x="208239" y="89900"/>
                    <a:pt x="202312" y="89985"/>
                  </a:cubicBezTo>
                  <a:cubicBezTo>
                    <a:pt x="197122" y="89953"/>
                    <a:pt x="192018" y="88645"/>
                    <a:pt x="187453" y="86175"/>
                  </a:cubicBezTo>
                  <a:cubicBezTo>
                    <a:pt x="179057" y="81575"/>
                    <a:pt x="171874" y="75046"/>
                    <a:pt x="166498" y="67125"/>
                  </a:cubicBezTo>
                  <a:lnTo>
                    <a:pt x="165355" y="65410"/>
                  </a:lnTo>
                  <a:lnTo>
                    <a:pt x="165355" y="65410"/>
                  </a:lnTo>
                  <a:lnTo>
                    <a:pt x="165355" y="65410"/>
                  </a:lnTo>
                  <a:cubicBezTo>
                    <a:pt x="163572" y="62373"/>
                    <a:pt x="159734" y="61247"/>
                    <a:pt x="156592" y="62838"/>
                  </a:cubicBezTo>
                  <a:lnTo>
                    <a:pt x="124398" y="79888"/>
                  </a:lnTo>
                  <a:lnTo>
                    <a:pt x="83726" y="49884"/>
                  </a:lnTo>
                  <a:lnTo>
                    <a:pt x="87536" y="37883"/>
                  </a:lnTo>
                  <a:cubicBezTo>
                    <a:pt x="92314" y="38388"/>
                    <a:pt x="97114" y="38642"/>
                    <a:pt x="101919" y="38645"/>
                  </a:cubicBezTo>
                  <a:cubicBezTo>
                    <a:pt x="112879" y="38749"/>
                    <a:pt x="123783" y="37076"/>
                    <a:pt x="134208" y="33692"/>
                  </a:cubicBezTo>
                  <a:cubicBezTo>
                    <a:pt x="146796" y="29501"/>
                    <a:pt x="157798" y="21557"/>
                    <a:pt x="165736" y="10927"/>
                  </a:cubicBezTo>
                  <a:cubicBezTo>
                    <a:pt x="167965" y="7996"/>
                    <a:pt x="167395" y="3813"/>
                    <a:pt x="164464" y="1584"/>
                  </a:cubicBezTo>
                  <a:cubicBezTo>
                    <a:pt x="164381" y="1521"/>
                    <a:pt x="164297" y="1461"/>
                    <a:pt x="164212" y="1402"/>
                  </a:cubicBezTo>
                  <a:cubicBezTo>
                    <a:pt x="161357" y="-839"/>
                    <a:pt x="157225" y="-340"/>
                    <a:pt x="154985" y="2515"/>
                  </a:cubicBezTo>
                  <a:cubicBezTo>
                    <a:pt x="154880" y="2648"/>
                    <a:pt x="154781" y="2785"/>
                    <a:pt x="154687" y="2926"/>
                  </a:cubicBezTo>
                  <a:cubicBezTo>
                    <a:pt x="148552" y="11487"/>
                    <a:pt x="139893" y="17915"/>
                    <a:pt x="129922" y="21309"/>
                  </a:cubicBezTo>
                  <a:cubicBezTo>
                    <a:pt x="120896" y="24308"/>
                    <a:pt x="111428" y="25757"/>
                    <a:pt x="101919" y="25596"/>
                  </a:cubicBezTo>
                  <a:cubicBezTo>
                    <a:pt x="97623" y="25621"/>
                    <a:pt x="93330" y="25399"/>
                    <a:pt x="89060" y="24929"/>
                  </a:cubicBezTo>
                  <a:lnTo>
                    <a:pt x="85440" y="24357"/>
                  </a:lnTo>
                  <a:lnTo>
                    <a:pt x="84297" y="24357"/>
                  </a:lnTo>
                  <a:cubicBezTo>
                    <a:pt x="81008" y="23672"/>
                    <a:pt x="77740" y="25616"/>
                    <a:pt x="76773" y="28834"/>
                  </a:cubicBezTo>
                  <a:lnTo>
                    <a:pt x="72582" y="41883"/>
                  </a:lnTo>
                  <a:lnTo>
                    <a:pt x="48102" y="23881"/>
                  </a:lnTo>
                  <a:cubicBezTo>
                    <a:pt x="47992" y="25818"/>
                    <a:pt x="46966" y="27586"/>
                    <a:pt x="45340" y="28644"/>
                  </a:cubicBezTo>
                  <a:lnTo>
                    <a:pt x="45340" y="28644"/>
                  </a:lnTo>
                  <a:lnTo>
                    <a:pt x="44673" y="28644"/>
                  </a:lnTo>
                  <a:lnTo>
                    <a:pt x="42197" y="30453"/>
                  </a:lnTo>
                  <a:cubicBezTo>
                    <a:pt x="40101" y="31977"/>
                    <a:pt x="37053" y="34359"/>
                    <a:pt x="33529" y="37311"/>
                  </a:cubicBezTo>
                  <a:cubicBezTo>
                    <a:pt x="25262" y="44356"/>
                    <a:pt x="17817" y="52312"/>
                    <a:pt x="11336" y="61029"/>
                  </a:cubicBezTo>
                  <a:cubicBezTo>
                    <a:pt x="7148" y="66819"/>
                    <a:pt x="3931" y="73254"/>
                    <a:pt x="1811" y="80079"/>
                  </a:cubicBezTo>
                  <a:cubicBezTo>
                    <a:pt x="580" y="83926"/>
                    <a:pt x="-31" y="87945"/>
                    <a:pt x="1" y="91985"/>
                  </a:cubicBezTo>
                  <a:cubicBezTo>
                    <a:pt x="-5" y="93979"/>
                    <a:pt x="486" y="95943"/>
                    <a:pt x="1430" y="97700"/>
                  </a:cubicBezTo>
                  <a:cubicBezTo>
                    <a:pt x="2075" y="98893"/>
                    <a:pt x="3073" y="99858"/>
                    <a:pt x="4287" y="100462"/>
                  </a:cubicBezTo>
                  <a:lnTo>
                    <a:pt x="4287" y="100462"/>
                  </a:lnTo>
                  <a:lnTo>
                    <a:pt x="146972" y="206952"/>
                  </a:lnTo>
                  <a:cubicBezTo>
                    <a:pt x="147883" y="207729"/>
                    <a:pt x="148600" y="208707"/>
                    <a:pt x="149067" y="209809"/>
                  </a:cubicBezTo>
                  <a:cubicBezTo>
                    <a:pt x="159270" y="194096"/>
                    <a:pt x="164727" y="175775"/>
                    <a:pt x="164784" y="157041"/>
                  </a:cubicBezTo>
                  <a:cubicBezTo>
                    <a:pt x="164888" y="131073"/>
                    <a:pt x="154192" y="106231"/>
                    <a:pt x="135256" y="88461"/>
                  </a:cubicBezTo>
                  <a:lnTo>
                    <a:pt x="157259" y="76840"/>
                  </a:lnTo>
                  <a:cubicBezTo>
                    <a:pt x="160089" y="80632"/>
                    <a:pt x="163278" y="84140"/>
                    <a:pt x="166784" y="87318"/>
                  </a:cubicBezTo>
                  <a:cubicBezTo>
                    <a:pt x="171239" y="91684"/>
                    <a:pt x="176309" y="95374"/>
                    <a:pt x="181833" y="98271"/>
                  </a:cubicBezTo>
                  <a:cubicBezTo>
                    <a:pt x="188275" y="101641"/>
                    <a:pt x="195424" y="103436"/>
                    <a:pt x="202693" y="103510"/>
                  </a:cubicBezTo>
                  <a:cubicBezTo>
                    <a:pt x="210627" y="103395"/>
                    <a:pt x="218411" y="101334"/>
                    <a:pt x="225363" y="97509"/>
                  </a:cubicBezTo>
                  <a:cubicBezTo>
                    <a:pt x="228656" y="95984"/>
                    <a:pt x="230090" y="92078"/>
                    <a:pt x="228565" y="88784"/>
                  </a:cubicBezTo>
                  <a:cubicBezTo>
                    <a:pt x="228437" y="88507"/>
                    <a:pt x="228290" y="88240"/>
                    <a:pt x="228125" y="8798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267" name="Grafik 119">
            <a:extLst>
              <a:ext uri="{FF2B5EF4-FFF2-40B4-BE49-F238E27FC236}">
                <a16:creationId xmlns:a16="http://schemas.microsoft.com/office/drawing/2014/main" id="{069761E6-A8C6-4B8E-B843-FD3709B73D7D}"/>
              </a:ext>
            </a:extLst>
          </p:cNvPr>
          <p:cNvSpPr/>
          <p:nvPr/>
        </p:nvSpPr>
        <p:spPr>
          <a:xfrm>
            <a:off x="5466383" y="3379187"/>
            <a:ext cx="587956" cy="553916"/>
          </a:xfrm>
          <a:custGeom>
            <a:avLst/>
            <a:gdLst>
              <a:gd name="connsiteX0" fmla="*/ 500910 w 501041"/>
              <a:gd name="connsiteY0" fmla="*/ 282836 h 472033"/>
              <a:gd name="connsiteX1" fmla="*/ 500910 w 501041"/>
              <a:gd name="connsiteY1" fmla="*/ 282836 h 472033"/>
              <a:gd name="connsiteX2" fmla="*/ 500910 w 501041"/>
              <a:gd name="connsiteY2" fmla="*/ 282836 h 472033"/>
              <a:gd name="connsiteX3" fmla="*/ 457381 w 501041"/>
              <a:gd name="connsiteY3" fmla="*/ 284932 h 472033"/>
              <a:gd name="connsiteX4" fmla="*/ 436235 w 501041"/>
              <a:gd name="connsiteY4" fmla="*/ 283217 h 472033"/>
              <a:gd name="connsiteX5" fmla="*/ 418233 w 501041"/>
              <a:gd name="connsiteY5" fmla="*/ 264167 h 472033"/>
              <a:gd name="connsiteX6" fmla="*/ 403184 w 501041"/>
              <a:gd name="connsiteY6" fmla="*/ 258643 h 472033"/>
              <a:gd name="connsiteX7" fmla="*/ 401755 w 501041"/>
              <a:gd name="connsiteY7" fmla="*/ 257309 h 472033"/>
              <a:gd name="connsiteX8" fmla="*/ 384229 w 501041"/>
              <a:gd name="connsiteY8" fmla="*/ 226258 h 472033"/>
              <a:gd name="connsiteX9" fmla="*/ 381943 w 501041"/>
              <a:gd name="connsiteY9" fmla="*/ 211494 h 472033"/>
              <a:gd name="connsiteX10" fmla="*/ 370132 w 501041"/>
              <a:gd name="connsiteY10" fmla="*/ 167679 h 472033"/>
              <a:gd name="connsiteX11" fmla="*/ 370132 w 501041"/>
              <a:gd name="connsiteY11" fmla="*/ 166155 h 472033"/>
              <a:gd name="connsiteX12" fmla="*/ 357940 w 501041"/>
              <a:gd name="connsiteY12" fmla="*/ 70334 h 472033"/>
              <a:gd name="connsiteX13" fmla="*/ 333365 w 501041"/>
              <a:gd name="connsiteY13" fmla="*/ 46235 h 472033"/>
              <a:gd name="connsiteX14" fmla="*/ 300123 w 501041"/>
              <a:gd name="connsiteY14" fmla="*/ 91670 h 472033"/>
              <a:gd name="connsiteX15" fmla="*/ 273834 w 501041"/>
              <a:gd name="connsiteY15" fmla="*/ 24995 h 472033"/>
              <a:gd name="connsiteX16" fmla="*/ 236401 w 501041"/>
              <a:gd name="connsiteY16" fmla="*/ 4040 h 472033"/>
              <a:gd name="connsiteX17" fmla="*/ 217351 w 501041"/>
              <a:gd name="connsiteY17" fmla="*/ 96908 h 472033"/>
              <a:gd name="connsiteX18" fmla="*/ 279454 w 501041"/>
              <a:gd name="connsiteY18" fmla="*/ 178728 h 472033"/>
              <a:gd name="connsiteX19" fmla="*/ 300504 w 501041"/>
              <a:gd name="connsiteY19" fmla="*/ 205970 h 472033"/>
              <a:gd name="connsiteX20" fmla="*/ 316601 w 501041"/>
              <a:gd name="connsiteY20" fmla="*/ 221495 h 472033"/>
              <a:gd name="connsiteX21" fmla="*/ 315363 w 501041"/>
              <a:gd name="connsiteY21" fmla="*/ 224639 h 472033"/>
              <a:gd name="connsiteX22" fmla="*/ 312506 w 501041"/>
              <a:gd name="connsiteY22" fmla="*/ 231020 h 472033"/>
              <a:gd name="connsiteX23" fmla="*/ 304219 w 501041"/>
              <a:gd name="connsiteY23" fmla="*/ 244641 h 472033"/>
              <a:gd name="connsiteX24" fmla="*/ 243544 w 501041"/>
              <a:gd name="connsiteY24" fmla="*/ 248070 h 472033"/>
              <a:gd name="connsiteX25" fmla="*/ 241354 w 501041"/>
              <a:gd name="connsiteY25" fmla="*/ 242450 h 472033"/>
              <a:gd name="connsiteX26" fmla="*/ 235258 w 501041"/>
              <a:gd name="connsiteY26" fmla="*/ 227020 h 472033"/>
              <a:gd name="connsiteX27" fmla="*/ 234781 w 501041"/>
              <a:gd name="connsiteY27" fmla="*/ 225877 h 472033"/>
              <a:gd name="connsiteX28" fmla="*/ 230019 w 501041"/>
              <a:gd name="connsiteY28" fmla="*/ 214066 h 472033"/>
              <a:gd name="connsiteX29" fmla="*/ 229257 w 501041"/>
              <a:gd name="connsiteY29" fmla="*/ 211970 h 472033"/>
              <a:gd name="connsiteX30" fmla="*/ 227352 w 501041"/>
              <a:gd name="connsiteY30" fmla="*/ 207398 h 472033"/>
              <a:gd name="connsiteX31" fmla="*/ 227352 w 501041"/>
              <a:gd name="connsiteY31" fmla="*/ 207398 h 472033"/>
              <a:gd name="connsiteX32" fmla="*/ 225161 w 501041"/>
              <a:gd name="connsiteY32" fmla="*/ 204446 h 472033"/>
              <a:gd name="connsiteX33" fmla="*/ 224685 w 501041"/>
              <a:gd name="connsiteY33" fmla="*/ 204446 h 472033"/>
              <a:gd name="connsiteX34" fmla="*/ 218684 w 501041"/>
              <a:gd name="connsiteY34" fmla="*/ 203779 h 472033"/>
              <a:gd name="connsiteX35" fmla="*/ 218113 w 501041"/>
              <a:gd name="connsiteY35" fmla="*/ 203779 h 472033"/>
              <a:gd name="connsiteX36" fmla="*/ 214588 w 501041"/>
              <a:gd name="connsiteY36" fmla="*/ 205398 h 472033"/>
              <a:gd name="connsiteX37" fmla="*/ 213731 w 501041"/>
              <a:gd name="connsiteY37" fmla="*/ 206065 h 472033"/>
              <a:gd name="connsiteX38" fmla="*/ 211159 w 501041"/>
              <a:gd name="connsiteY38" fmla="*/ 208732 h 472033"/>
              <a:gd name="connsiteX39" fmla="*/ 207159 w 501041"/>
              <a:gd name="connsiteY39" fmla="*/ 215304 h 472033"/>
              <a:gd name="connsiteX40" fmla="*/ 205825 w 501041"/>
              <a:gd name="connsiteY40" fmla="*/ 211494 h 472033"/>
              <a:gd name="connsiteX41" fmla="*/ 204682 w 501041"/>
              <a:gd name="connsiteY41" fmla="*/ 208256 h 472033"/>
              <a:gd name="connsiteX42" fmla="*/ 204682 w 501041"/>
              <a:gd name="connsiteY42" fmla="*/ 207494 h 472033"/>
              <a:gd name="connsiteX43" fmla="*/ 203635 w 501041"/>
              <a:gd name="connsiteY43" fmla="*/ 204922 h 472033"/>
              <a:gd name="connsiteX44" fmla="*/ 202396 w 501041"/>
              <a:gd name="connsiteY44" fmla="*/ 203779 h 472033"/>
              <a:gd name="connsiteX45" fmla="*/ 198967 w 501041"/>
              <a:gd name="connsiteY45" fmla="*/ 203112 h 472033"/>
              <a:gd name="connsiteX46" fmla="*/ 198301 w 501041"/>
              <a:gd name="connsiteY46" fmla="*/ 203112 h 472033"/>
              <a:gd name="connsiteX47" fmla="*/ 192205 w 501041"/>
              <a:gd name="connsiteY47" fmla="*/ 207779 h 472033"/>
              <a:gd name="connsiteX48" fmla="*/ 192205 w 501041"/>
              <a:gd name="connsiteY48" fmla="*/ 208541 h 472033"/>
              <a:gd name="connsiteX49" fmla="*/ 189252 w 501041"/>
              <a:gd name="connsiteY49" fmla="*/ 213494 h 472033"/>
              <a:gd name="connsiteX50" fmla="*/ 186966 w 501041"/>
              <a:gd name="connsiteY50" fmla="*/ 217400 h 472033"/>
              <a:gd name="connsiteX51" fmla="*/ 168583 w 501041"/>
              <a:gd name="connsiteY51" fmla="*/ 246737 h 472033"/>
              <a:gd name="connsiteX52" fmla="*/ 159058 w 501041"/>
              <a:gd name="connsiteY52" fmla="*/ 260072 h 472033"/>
              <a:gd name="connsiteX53" fmla="*/ 110194 w 501041"/>
              <a:gd name="connsiteY53" fmla="*/ 314459 h 472033"/>
              <a:gd name="connsiteX54" fmla="*/ 104956 w 501041"/>
              <a:gd name="connsiteY54" fmla="*/ 315412 h 472033"/>
              <a:gd name="connsiteX55" fmla="*/ 90097 w 501041"/>
              <a:gd name="connsiteY55" fmla="*/ 312459 h 472033"/>
              <a:gd name="connsiteX56" fmla="*/ 75047 w 501041"/>
              <a:gd name="connsiteY56" fmla="*/ 303410 h 472033"/>
              <a:gd name="connsiteX57" fmla="*/ 68094 w 501041"/>
              <a:gd name="connsiteY57" fmla="*/ 297505 h 472033"/>
              <a:gd name="connsiteX58" fmla="*/ 65046 w 501041"/>
              <a:gd name="connsiteY58" fmla="*/ 297505 h 472033"/>
              <a:gd name="connsiteX59" fmla="*/ 64189 w 501041"/>
              <a:gd name="connsiteY59" fmla="*/ 298838 h 472033"/>
              <a:gd name="connsiteX60" fmla="*/ 66475 w 501041"/>
              <a:gd name="connsiteY60" fmla="*/ 303029 h 472033"/>
              <a:gd name="connsiteX61" fmla="*/ 70951 w 501041"/>
              <a:gd name="connsiteY61" fmla="*/ 307506 h 472033"/>
              <a:gd name="connsiteX62" fmla="*/ 70951 w 501041"/>
              <a:gd name="connsiteY62" fmla="*/ 307506 h 472033"/>
              <a:gd name="connsiteX63" fmla="*/ 87334 w 501041"/>
              <a:gd name="connsiteY63" fmla="*/ 317888 h 472033"/>
              <a:gd name="connsiteX64" fmla="*/ 87334 w 501041"/>
              <a:gd name="connsiteY64" fmla="*/ 317888 h 472033"/>
              <a:gd name="connsiteX65" fmla="*/ 102860 w 501041"/>
              <a:gd name="connsiteY65" fmla="*/ 321508 h 472033"/>
              <a:gd name="connsiteX66" fmla="*/ 101336 w 501041"/>
              <a:gd name="connsiteY66" fmla="*/ 323222 h 472033"/>
              <a:gd name="connsiteX67" fmla="*/ 89716 w 501041"/>
              <a:gd name="connsiteY67" fmla="*/ 333509 h 472033"/>
              <a:gd name="connsiteX68" fmla="*/ 59998 w 501041"/>
              <a:gd name="connsiteY68" fmla="*/ 350178 h 472033"/>
              <a:gd name="connsiteX69" fmla="*/ 45043 w 501041"/>
              <a:gd name="connsiteY69" fmla="*/ 354464 h 472033"/>
              <a:gd name="connsiteX70" fmla="*/ 12277 w 501041"/>
              <a:gd name="connsiteY70" fmla="*/ 352559 h 472033"/>
              <a:gd name="connsiteX71" fmla="*/ 3514 w 501041"/>
              <a:gd name="connsiteY71" fmla="*/ 350559 h 472033"/>
              <a:gd name="connsiteX72" fmla="*/ 371 w 501041"/>
              <a:gd name="connsiteY72" fmla="*/ 351893 h 472033"/>
              <a:gd name="connsiteX73" fmla="*/ 181 w 501041"/>
              <a:gd name="connsiteY73" fmla="*/ 351893 h 472033"/>
              <a:gd name="connsiteX74" fmla="*/ 181 w 501041"/>
              <a:gd name="connsiteY74" fmla="*/ 353893 h 472033"/>
              <a:gd name="connsiteX75" fmla="*/ 1228 w 501041"/>
              <a:gd name="connsiteY75" fmla="*/ 355226 h 472033"/>
              <a:gd name="connsiteX76" fmla="*/ 10753 w 501041"/>
              <a:gd name="connsiteY76" fmla="*/ 358179 h 472033"/>
              <a:gd name="connsiteX77" fmla="*/ 10753 w 501041"/>
              <a:gd name="connsiteY77" fmla="*/ 358179 h 472033"/>
              <a:gd name="connsiteX78" fmla="*/ 45424 w 501041"/>
              <a:gd name="connsiteY78" fmla="*/ 360846 h 472033"/>
              <a:gd name="connsiteX79" fmla="*/ 45424 w 501041"/>
              <a:gd name="connsiteY79" fmla="*/ 360846 h 472033"/>
              <a:gd name="connsiteX80" fmla="*/ 61807 w 501041"/>
              <a:gd name="connsiteY80" fmla="*/ 356465 h 472033"/>
              <a:gd name="connsiteX81" fmla="*/ 61807 w 501041"/>
              <a:gd name="connsiteY81" fmla="*/ 356465 h 472033"/>
              <a:gd name="connsiteX82" fmla="*/ 93049 w 501041"/>
              <a:gd name="connsiteY82" fmla="*/ 339986 h 472033"/>
              <a:gd name="connsiteX83" fmla="*/ 93049 w 501041"/>
              <a:gd name="connsiteY83" fmla="*/ 339986 h 472033"/>
              <a:gd name="connsiteX84" fmla="*/ 106099 w 501041"/>
              <a:gd name="connsiteY84" fmla="*/ 329318 h 472033"/>
              <a:gd name="connsiteX85" fmla="*/ 106099 w 501041"/>
              <a:gd name="connsiteY85" fmla="*/ 329318 h 472033"/>
              <a:gd name="connsiteX86" fmla="*/ 114195 w 501041"/>
              <a:gd name="connsiteY86" fmla="*/ 320555 h 472033"/>
              <a:gd name="connsiteX87" fmla="*/ 123244 w 501041"/>
              <a:gd name="connsiteY87" fmla="*/ 319317 h 472033"/>
              <a:gd name="connsiteX88" fmla="*/ 123244 w 501041"/>
              <a:gd name="connsiteY88" fmla="*/ 319317 h 472033"/>
              <a:gd name="connsiteX89" fmla="*/ 138388 w 501041"/>
              <a:gd name="connsiteY89" fmla="*/ 311792 h 472033"/>
              <a:gd name="connsiteX90" fmla="*/ 138388 w 501041"/>
              <a:gd name="connsiteY90" fmla="*/ 311792 h 472033"/>
              <a:gd name="connsiteX91" fmla="*/ 154200 w 501041"/>
              <a:gd name="connsiteY91" fmla="*/ 300267 h 472033"/>
              <a:gd name="connsiteX92" fmla="*/ 154200 w 501041"/>
              <a:gd name="connsiteY92" fmla="*/ 300267 h 472033"/>
              <a:gd name="connsiteX93" fmla="*/ 166201 w 501041"/>
              <a:gd name="connsiteY93" fmla="*/ 288647 h 472033"/>
              <a:gd name="connsiteX94" fmla="*/ 166201 w 501041"/>
              <a:gd name="connsiteY94" fmla="*/ 288647 h 472033"/>
              <a:gd name="connsiteX95" fmla="*/ 181156 w 501041"/>
              <a:gd name="connsiteY95" fmla="*/ 273502 h 472033"/>
              <a:gd name="connsiteX96" fmla="*/ 181156 w 501041"/>
              <a:gd name="connsiteY96" fmla="*/ 273502 h 472033"/>
              <a:gd name="connsiteX97" fmla="*/ 191252 w 501041"/>
              <a:gd name="connsiteY97" fmla="*/ 260167 h 472033"/>
              <a:gd name="connsiteX98" fmla="*/ 191252 w 501041"/>
              <a:gd name="connsiteY98" fmla="*/ 260167 h 472033"/>
              <a:gd name="connsiteX99" fmla="*/ 191252 w 501041"/>
              <a:gd name="connsiteY99" fmla="*/ 260167 h 472033"/>
              <a:gd name="connsiteX100" fmla="*/ 194014 w 501041"/>
              <a:gd name="connsiteY100" fmla="*/ 255881 h 472033"/>
              <a:gd name="connsiteX101" fmla="*/ 196777 w 501041"/>
              <a:gd name="connsiteY101" fmla="*/ 251594 h 472033"/>
              <a:gd name="connsiteX102" fmla="*/ 201634 w 501041"/>
              <a:gd name="connsiteY102" fmla="*/ 243974 h 472033"/>
              <a:gd name="connsiteX103" fmla="*/ 204111 w 501041"/>
              <a:gd name="connsiteY103" fmla="*/ 240069 h 472033"/>
              <a:gd name="connsiteX104" fmla="*/ 204682 w 501041"/>
              <a:gd name="connsiteY104" fmla="*/ 242069 h 472033"/>
              <a:gd name="connsiteX105" fmla="*/ 209731 w 501041"/>
              <a:gd name="connsiteY105" fmla="*/ 257309 h 472033"/>
              <a:gd name="connsiteX106" fmla="*/ 210397 w 501041"/>
              <a:gd name="connsiteY106" fmla="*/ 259310 h 472033"/>
              <a:gd name="connsiteX107" fmla="*/ 161439 w 501041"/>
              <a:gd name="connsiteY107" fmla="*/ 308554 h 472033"/>
              <a:gd name="connsiteX108" fmla="*/ 230495 w 501041"/>
              <a:gd name="connsiteY108" fmla="*/ 321508 h 472033"/>
              <a:gd name="connsiteX109" fmla="*/ 230495 w 501041"/>
              <a:gd name="connsiteY109" fmla="*/ 322079 h 472033"/>
              <a:gd name="connsiteX110" fmla="*/ 232781 w 501041"/>
              <a:gd name="connsiteY110" fmla="*/ 324461 h 472033"/>
              <a:gd name="connsiteX111" fmla="*/ 237734 w 501041"/>
              <a:gd name="connsiteY111" fmla="*/ 325604 h 472033"/>
              <a:gd name="connsiteX112" fmla="*/ 237734 w 501041"/>
              <a:gd name="connsiteY112" fmla="*/ 325604 h 472033"/>
              <a:gd name="connsiteX113" fmla="*/ 242401 w 501041"/>
              <a:gd name="connsiteY113" fmla="*/ 324365 h 472033"/>
              <a:gd name="connsiteX114" fmla="*/ 243925 w 501041"/>
              <a:gd name="connsiteY114" fmla="*/ 322651 h 472033"/>
              <a:gd name="connsiteX115" fmla="*/ 243925 w 501041"/>
              <a:gd name="connsiteY115" fmla="*/ 322651 h 472033"/>
              <a:gd name="connsiteX116" fmla="*/ 245926 w 501041"/>
              <a:gd name="connsiteY116" fmla="*/ 320270 h 472033"/>
              <a:gd name="connsiteX117" fmla="*/ 247069 w 501041"/>
              <a:gd name="connsiteY117" fmla="*/ 319031 h 472033"/>
              <a:gd name="connsiteX118" fmla="*/ 248497 w 501041"/>
              <a:gd name="connsiteY118" fmla="*/ 317317 h 472033"/>
              <a:gd name="connsiteX119" fmla="*/ 251736 w 501041"/>
              <a:gd name="connsiteY119" fmla="*/ 316364 h 472033"/>
              <a:gd name="connsiteX120" fmla="*/ 272596 w 501041"/>
              <a:gd name="connsiteY120" fmla="*/ 308649 h 472033"/>
              <a:gd name="connsiteX121" fmla="*/ 263071 w 501041"/>
              <a:gd name="connsiteY121" fmla="*/ 324746 h 472033"/>
              <a:gd name="connsiteX122" fmla="*/ 253546 w 501041"/>
              <a:gd name="connsiteY122" fmla="*/ 337891 h 472033"/>
              <a:gd name="connsiteX123" fmla="*/ 243735 w 501041"/>
              <a:gd name="connsiteY123" fmla="*/ 348749 h 472033"/>
              <a:gd name="connsiteX124" fmla="*/ 231448 w 501041"/>
              <a:gd name="connsiteY124" fmla="*/ 358941 h 472033"/>
              <a:gd name="connsiteX125" fmla="*/ 218018 w 501041"/>
              <a:gd name="connsiteY125" fmla="*/ 364466 h 472033"/>
              <a:gd name="connsiteX126" fmla="*/ 209445 w 501041"/>
              <a:gd name="connsiteY126" fmla="*/ 367037 h 472033"/>
              <a:gd name="connsiteX127" fmla="*/ 207730 w 501041"/>
              <a:gd name="connsiteY127" fmla="*/ 369514 h 472033"/>
              <a:gd name="connsiteX128" fmla="*/ 209731 w 501041"/>
              <a:gd name="connsiteY128" fmla="*/ 371609 h 472033"/>
              <a:gd name="connsiteX129" fmla="*/ 219256 w 501041"/>
              <a:gd name="connsiteY129" fmla="*/ 369895 h 472033"/>
              <a:gd name="connsiteX130" fmla="*/ 219256 w 501041"/>
              <a:gd name="connsiteY130" fmla="*/ 369895 h 472033"/>
              <a:gd name="connsiteX131" fmla="*/ 234591 w 501041"/>
              <a:gd name="connsiteY131" fmla="*/ 364180 h 472033"/>
              <a:gd name="connsiteX132" fmla="*/ 234591 w 501041"/>
              <a:gd name="connsiteY132" fmla="*/ 364180 h 472033"/>
              <a:gd name="connsiteX133" fmla="*/ 247831 w 501041"/>
              <a:gd name="connsiteY133" fmla="*/ 353798 h 472033"/>
              <a:gd name="connsiteX134" fmla="*/ 247831 w 501041"/>
              <a:gd name="connsiteY134" fmla="*/ 353798 h 472033"/>
              <a:gd name="connsiteX135" fmla="*/ 259356 w 501041"/>
              <a:gd name="connsiteY135" fmla="*/ 342272 h 472033"/>
              <a:gd name="connsiteX136" fmla="*/ 259356 w 501041"/>
              <a:gd name="connsiteY136" fmla="*/ 342272 h 472033"/>
              <a:gd name="connsiteX137" fmla="*/ 269548 w 501041"/>
              <a:gd name="connsiteY137" fmla="*/ 329033 h 472033"/>
              <a:gd name="connsiteX138" fmla="*/ 269548 w 501041"/>
              <a:gd name="connsiteY138" fmla="*/ 329033 h 472033"/>
              <a:gd name="connsiteX139" fmla="*/ 287169 w 501041"/>
              <a:gd name="connsiteY139" fmla="*/ 301601 h 472033"/>
              <a:gd name="connsiteX140" fmla="*/ 298504 w 501041"/>
              <a:gd name="connsiteY140" fmla="*/ 294743 h 472033"/>
              <a:gd name="connsiteX141" fmla="*/ 293456 w 501041"/>
              <a:gd name="connsiteY141" fmla="*/ 306744 h 472033"/>
              <a:gd name="connsiteX142" fmla="*/ 286598 w 501041"/>
              <a:gd name="connsiteY142" fmla="*/ 321698 h 472033"/>
              <a:gd name="connsiteX143" fmla="*/ 257356 w 501041"/>
              <a:gd name="connsiteY143" fmla="*/ 382182 h 472033"/>
              <a:gd name="connsiteX144" fmla="*/ 249450 w 501041"/>
              <a:gd name="connsiteY144" fmla="*/ 396565 h 472033"/>
              <a:gd name="connsiteX145" fmla="*/ 236020 w 501041"/>
              <a:gd name="connsiteY145" fmla="*/ 418187 h 472033"/>
              <a:gd name="connsiteX146" fmla="*/ 227352 w 501041"/>
              <a:gd name="connsiteY146" fmla="*/ 430569 h 472033"/>
              <a:gd name="connsiteX147" fmla="*/ 213445 w 501041"/>
              <a:gd name="connsiteY147" fmla="*/ 445904 h 472033"/>
              <a:gd name="connsiteX148" fmla="*/ 202015 w 501041"/>
              <a:gd name="connsiteY148" fmla="*/ 452096 h 472033"/>
              <a:gd name="connsiteX149" fmla="*/ 202016 w 501041"/>
              <a:gd name="connsiteY149" fmla="*/ 452096 h 472033"/>
              <a:gd name="connsiteX150" fmla="*/ 200396 w 501041"/>
              <a:gd name="connsiteY150" fmla="*/ 454858 h 472033"/>
              <a:gd name="connsiteX151" fmla="*/ 201254 w 501041"/>
              <a:gd name="connsiteY151" fmla="*/ 456382 h 472033"/>
              <a:gd name="connsiteX152" fmla="*/ 202111 w 501041"/>
              <a:gd name="connsiteY152" fmla="*/ 456953 h 472033"/>
              <a:gd name="connsiteX153" fmla="*/ 206016 w 501041"/>
              <a:gd name="connsiteY153" fmla="*/ 456096 h 472033"/>
              <a:gd name="connsiteX154" fmla="*/ 211159 w 501041"/>
              <a:gd name="connsiteY154" fmla="*/ 453715 h 472033"/>
              <a:gd name="connsiteX155" fmla="*/ 228019 w 501041"/>
              <a:gd name="connsiteY155" fmla="*/ 439808 h 472033"/>
              <a:gd name="connsiteX156" fmla="*/ 241830 w 501041"/>
              <a:gd name="connsiteY156" fmla="*/ 421806 h 472033"/>
              <a:gd name="connsiteX157" fmla="*/ 241830 w 501041"/>
              <a:gd name="connsiteY157" fmla="*/ 421806 h 472033"/>
              <a:gd name="connsiteX158" fmla="*/ 255451 w 501041"/>
              <a:gd name="connsiteY158" fmla="*/ 400184 h 472033"/>
              <a:gd name="connsiteX159" fmla="*/ 255451 w 501041"/>
              <a:gd name="connsiteY159" fmla="*/ 400184 h 472033"/>
              <a:gd name="connsiteX160" fmla="*/ 263738 w 501041"/>
              <a:gd name="connsiteY160" fmla="*/ 385802 h 472033"/>
              <a:gd name="connsiteX161" fmla="*/ 263738 w 501041"/>
              <a:gd name="connsiteY161" fmla="*/ 385802 h 472033"/>
              <a:gd name="connsiteX162" fmla="*/ 295456 w 501041"/>
              <a:gd name="connsiteY162" fmla="*/ 325508 h 472033"/>
              <a:gd name="connsiteX163" fmla="*/ 295456 w 501041"/>
              <a:gd name="connsiteY163" fmla="*/ 325508 h 472033"/>
              <a:gd name="connsiteX164" fmla="*/ 302600 w 501041"/>
              <a:gd name="connsiteY164" fmla="*/ 310554 h 472033"/>
              <a:gd name="connsiteX165" fmla="*/ 316411 w 501041"/>
              <a:gd name="connsiteY165" fmla="*/ 280169 h 472033"/>
              <a:gd name="connsiteX166" fmla="*/ 322316 w 501041"/>
              <a:gd name="connsiteY166" fmla="*/ 284551 h 472033"/>
              <a:gd name="connsiteX167" fmla="*/ 322316 w 501041"/>
              <a:gd name="connsiteY167" fmla="*/ 285884 h 472033"/>
              <a:gd name="connsiteX168" fmla="*/ 322316 w 501041"/>
              <a:gd name="connsiteY168" fmla="*/ 293028 h 472033"/>
              <a:gd name="connsiteX169" fmla="*/ 322316 w 501041"/>
              <a:gd name="connsiteY169" fmla="*/ 296838 h 472033"/>
              <a:gd name="connsiteX170" fmla="*/ 325079 w 501041"/>
              <a:gd name="connsiteY170" fmla="*/ 301982 h 472033"/>
              <a:gd name="connsiteX171" fmla="*/ 325840 w 501041"/>
              <a:gd name="connsiteY171" fmla="*/ 301982 h 472033"/>
              <a:gd name="connsiteX172" fmla="*/ 327174 w 501041"/>
              <a:gd name="connsiteY172" fmla="*/ 301982 h 472033"/>
              <a:gd name="connsiteX173" fmla="*/ 328031 w 501041"/>
              <a:gd name="connsiteY173" fmla="*/ 301982 h 472033"/>
              <a:gd name="connsiteX174" fmla="*/ 328031 w 501041"/>
              <a:gd name="connsiteY174" fmla="*/ 301982 h 472033"/>
              <a:gd name="connsiteX175" fmla="*/ 328031 w 501041"/>
              <a:gd name="connsiteY175" fmla="*/ 301982 h 472033"/>
              <a:gd name="connsiteX176" fmla="*/ 328031 w 501041"/>
              <a:gd name="connsiteY176" fmla="*/ 301982 h 472033"/>
              <a:gd name="connsiteX177" fmla="*/ 328888 w 501041"/>
              <a:gd name="connsiteY177" fmla="*/ 301982 h 472033"/>
              <a:gd name="connsiteX178" fmla="*/ 332603 w 501041"/>
              <a:gd name="connsiteY178" fmla="*/ 301505 h 472033"/>
              <a:gd name="connsiteX179" fmla="*/ 332603 w 501041"/>
              <a:gd name="connsiteY179" fmla="*/ 301505 h 472033"/>
              <a:gd name="connsiteX180" fmla="*/ 333651 w 501041"/>
              <a:gd name="connsiteY180" fmla="*/ 300362 h 472033"/>
              <a:gd name="connsiteX181" fmla="*/ 334699 w 501041"/>
              <a:gd name="connsiteY181" fmla="*/ 298648 h 472033"/>
              <a:gd name="connsiteX182" fmla="*/ 334699 w 501041"/>
              <a:gd name="connsiteY182" fmla="*/ 298076 h 472033"/>
              <a:gd name="connsiteX183" fmla="*/ 337747 w 501041"/>
              <a:gd name="connsiteY183" fmla="*/ 293028 h 472033"/>
              <a:gd name="connsiteX184" fmla="*/ 339271 w 501041"/>
              <a:gd name="connsiteY184" fmla="*/ 290552 h 472033"/>
              <a:gd name="connsiteX185" fmla="*/ 340985 w 501041"/>
              <a:gd name="connsiteY185" fmla="*/ 290552 h 472033"/>
              <a:gd name="connsiteX186" fmla="*/ 340033 w 501041"/>
              <a:gd name="connsiteY186" fmla="*/ 293695 h 472033"/>
              <a:gd name="connsiteX187" fmla="*/ 338890 w 501041"/>
              <a:gd name="connsiteY187" fmla="*/ 298267 h 472033"/>
              <a:gd name="connsiteX188" fmla="*/ 339938 w 501041"/>
              <a:gd name="connsiteY188" fmla="*/ 303125 h 472033"/>
              <a:gd name="connsiteX189" fmla="*/ 344414 w 501041"/>
              <a:gd name="connsiteY189" fmla="*/ 306935 h 472033"/>
              <a:gd name="connsiteX190" fmla="*/ 346224 w 501041"/>
              <a:gd name="connsiteY190" fmla="*/ 307697 h 472033"/>
              <a:gd name="connsiteX191" fmla="*/ 349653 w 501041"/>
              <a:gd name="connsiteY191" fmla="*/ 309030 h 472033"/>
              <a:gd name="connsiteX192" fmla="*/ 354701 w 501041"/>
              <a:gd name="connsiteY192" fmla="*/ 311126 h 472033"/>
              <a:gd name="connsiteX193" fmla="*/ 360226 w 501041"/>
              <a:gd name="connsiteY193" fmla="*/ 313316 h 472033"/>
              <a:gd name="connsiteX194" fmla="*/ 370703 w 501041"/>
              <a:gd name="connsiteY194" fmla="*/ 317603 h 472033"/>
              <a:gd name="connsiteX195" fmla="*/ 374323 w 501041"/>
              <a:gd name="connsiteY195" fmla="*/ 319031 h 472033"/>
              <a:gd name="connsiteX196" fmla="*/ 372799 w 501041"/>
              <a:gd name="connsiteY196" fmla="*/ 324270 h 472033"/>
              <a:gd name="connsiteX197" fmla="*/ 368512 w 501041"/>
              <a:gd name="connsiteY197" fmla="*/ 339510 h 472033"/>
              <a:gd name="connsiteX198" fmla="*/ 364798 w 501041"/>
              <a:gd name="connsiteY198" fmla="*/ 352655 h 472033"/>
              <a:gd name="connsiteX199" fmla="*/ 362512 w 501041"/>
              <a:gd name="connsiteY199" fmla="*/ 360656 h 472033"/>
              <a:gd name="connsiteX200" fmla="*/ 360321 w 501041"/>
              <a:gd name="connsiteY200" fmla="*/ 368657 h 472033"/>
              <a:gd name="connsiteX201" fmla="*/ 356511 w 501041"/>
              <a:gd name="connsiteY201" fmla="*/ 381801 h 472033"/>
              <a:gd name="connsiteX202" fmla="*/ 355273 w 501041"/>
              <a:gd name="connsiteY202" fmla="*/ 386373 h 472033"/>
              <a:gd name="connsiteX203" fmla="*/ 352225 w 501041"/>
              <a:gd name="connsiteY203" fmla="*/ 397041 h 472033"/>
              <a:gd name="connsiteX204" fmla="*/ 350225 w 501041"/>
              <a:gd name="connsiteY204" fmla="*/ 404280 h 472033"/>
              <a:gd name="connsiteX205" fmla="*/ 349177 w 501041"/>
              <a:gd name="connsiteY205" fmla="*/ 407995 h 472033"/>
              <a:gd name="connsiteX206" fmla="*/ 348415 w 501041"/>
              <a:gd name="connsiteY206" fmla="*/ 410852 h 472033"/>
              <a:gd name="connsiteX207" fmla="*/ 347653 w 501041"/>
              <a:gd name="connsiteY207" fmla="*/ 413519 h 472033"/>
              <a:gd name="connsiteX208" fmla="*/ 346986 w 501041"/>
              <a:gd name="connsiteY208" fmla="*/ 415710 h 472033"/>
              <a:gd name="connsiteX209" fmla="*/ 346986 w 501041"/>
              <a:gd name="connsiteY209" fmla="*/ 416282 h 472033"/>
              <a:gd name="connsiteX210" fmla="*/ 346986 w 501041"/>
              <a:gd name="connsiteY210" fmla="*/ 416282 h 472033"/>
              <a:gd name="connsiteX211" fmla="*/ 346986 w 501041"/>
              <a:gd name="connsiteY211" fmla="*/ 418091 h 472033"/>
              <a:gd name="connsiteX212" fmla="*/ 346986 w 501041"/>
              <a:gd name="connsiteY212" fmla="*/ 419520 h 472033"/>
              <a:gd name="connsiteX213" fmla="*/ 346986 w 501041"/>
              <a:gd name="connsiteY213" fmla="*/ 420377 h 472033"/>
              <a:gd name="connsiteX214" fmla="*/ 347938 w 501041"/>
              <a:gd name="connsiteY214" fmla="*/ 422854 h 472033"/>
              <a:gd name="connsiteX215" fmla="*/ 350320 w 501041"/>
              <a:gd name="connsiteY215" fmla="*/ 428950 h 472033"/>
              <a:gd name="connsiteX216" fmla="*/ 355273 w 501041"/>
              <a:gd name="connsiteY216" fmla="*/ 441713 h 472033"/>
              <a:gd name="connsiteX217" fmla="*/ 359654 w 501041"/>
              <a:gd name="connsiteY217" fmla="*/ 452953 h 472033"/>
              <a:gd name="connsiteX218" fmla="*/ 361369 w 501041"/>
              <a:gd name="connsiteY218" fmla="*/ 457334 h 472033"/>
              <a:gd name="connsiteX219" fmla="*/ 361369 w 501041"/>
              <a:gd name="connsiteY219" fmla="*/ 457334 h 472033"/>
              <a:gd name="connsiteX220" fmla="*/ 361369 w 501041"/>
              <a:gd name="connsiteY220" fmla="*/ 458573 h 472033"/>
              <a:gd name="connsiteX221" fmla="*/ 361369 w 501041"/>
              <a:gd name="connsiteY221" fmla="*/ 458573 h 472033"/>
              <a:gd name="connsiteX222" fmla="*/ 362131 w 501041"/>
              <a:gd name="connsiteY222" fmla="*/ 460192 h 472033"/>
              <a:gd name="connsiteX223" fmla="*/ 362893 w 501041"/>
              <a:gd name="connsiteY223" fmla="*/ 461049 h 472033"/>
              <a:gd name="connsiteX224" fmla="*/ 362893 w 501041"/>
              <a:gd name="connsiteY224" fmla="*/ 461049 h 472033"/>
              <a:gd name="connsiteX225" fmla="*/ 364512 w 501041"/>
              <a:gd name="connsiteY225" fmla="*/ 462097 h 472033"/>
              <a:gd name="connsiteX226" fmla="*/ 370799 w 501041"/>
              <a:gd name="connsiteY226" fmla="*/ 466383 h 472033"/>
              <a:gd name="connsiteX227" fmla="*/ 372323 w 501041"/>
              <a:gd name="connsiteY227" fmla="*/ 467431 h 472033"/>
              <a:gd name="connsiteX228" fmla="*/ 379657 w 501041"/>
              <a:gd name="connsiteY228" fmla="*/ 472003 h 472033"/>
              <a:gd name="connsiteX229" fmla="*/ 379657 w 501041"/>
              <a:gd name="connsiteY229" fmla="*/ 472003 h 472033"/>
              <a:gd name="connsiteX230" fmla="*/ 382514 w 501041"/>
              <a:gd name="connsiteY230" fmla="*/ 470955 h 472033"/>
              <a:gd name="connsiteX231" fmla="*/ 382514 w 501041"/>
              <a:gd name="connsiteY231" fmla="*/ 469526 h 472033"/>
              <a:gd name="connsiteX232" fmla="*/ 379847 w 501041"/>
              <a:gd name="connsiteY232" fmla="*/ 466002 h 472033"/>
              <a:gd name="connsiteX233" fmla="*/ 375275 w 501041"/>
              <a:gd name="connsiteY233" fmla="*/ 462573 h 472033"/>
              <a:gd name="connsiteX234" fmla="*/ 370417 w 501041"/>
              <a:gd name="connsiteY234" fmla="*/ 459049 h 472033"/>
              <a:gd name="connsiteX235" fmla="*/ 367560 w 501041"/>
              <a:gd name="connsiteY235" fmla="*/ 457049 h 472033"/>
              <a:gd name="connsiteX236" fmla="*/ 366703 w 501041"/>
              <a:gd name="connsiteY236" fmla="*/ 456382 h 472033"/>
              <a:gd name="connsiteX237" fmla="*/ 366703 w 501041"/>
              <a:gd name="connsiteY237" fmla="*/ 456382 h 472033"/>
              <a:gd name="connsiteX238" fmla="*/ 366703 w 501041"/>
              <a:gd name="connsiteY238" fmla="*/ 455048 h 472033"/>
              <a:gd name="connsiteX239" fmla="*/ 365084 w 501041"/>
              <a:gd name="connsiteY239" fmla="*/ 450667 h 472033"/>
              <a:gd name="connsiteX240" fmla="*/ 361083 w 501041"/>
              <a:gd name="connsiteY240" fmla="*/ 439237 h 472033"/>
              <a:gd name="connsiteX241" fmla="*/ 356416 w 501041"/>
              <a:gd name="connsiteY241" fmla="*/ 426378 h 472033"/>
              <a:gd name="connsiteX242" fmla="*/ 353368 w 501041"/>
              <a:gd name="connsiteY242" fmla="*/ 417615 h 472033"/>
              <a:gd name="connsiteX243" fmla="*/ 353368 w 501041"/>
              <a:gd name="connsiteY243" fmla="*/ 417615 h 472033"/>
              <a:gd name="connsiteX244" fmla="*/ 353939 w 501041"/>
              <a:gd name="connsiteY244" fmla="*/ 415901 h 472033"/>
              <a:gd name="connsiteX245" fmla="*/ 355654 w 501041"/>
              <a:gd name="connsiteY245" fmla="*/ 410471 h 472033"/>
              <a:gd name="connsiteX246" fmla="*/ 359083 w 501041"/>
              <a:gd name="connsiteY246" fmla="*/ 399613 h 472033"/>
              <a:gd name="connsiteX247" fmla="*/ 364417 w 501041"/>
              <a:gd name="connsiteY247" fmla="*/ 390659 h 472033"/>
              <a:gd name="connsiteX248" fmla="*/ 365845 w 501041"/>
              <a:gd name="connsiteY248" fmla="*/ 386087 h 472033"/>
              <a:gd name="connsiteX249" fmla="*/ 369941 w 501041"/>
              <a:gd name="connsiteY249" fmla="*/ 373038 h 472033"/>
              <a:gd name="connsiteX250" fmla="*/ 372418 w 501041"/>
              <a:gd name="connsiteY250" fmla="*/ 365132 h 472033"/>
              <a:gd name="connsiteX251" fmla="*/ 374894 w 501041"/>
              <a:gd name="connsiteY251" fmla="*/ 357227 h 472033"/>
              <a:gd name="connsiteX252" fmla="*/ 378990 w 501041"/>
              <a:gd name="connsiteY252" fmla="*/ 344177 h 472033"/>
              <a:gd name="connsiteX253" fmla="*/ 380514 w 501041"/>
              <a:gd name="connsiteY253" fmla="*/ 339415 h 472033"/>
              <a:gd name="connsiteX254" fmla="*/ 383753 w 501041"/>
              <a:gd name="connsiteY254" fmla="*/ 329033 h 472033"/>
              <a:gd name="connsiteX255" fmla="*/ 386324 w 501041"/>
              <a:gd name="connsiteY255" fmla="*/ 320936 h 472033"/>
              <a:gd name="connsiteX256" fmla="*/ 386324 w 501041"/>
              <a:gd name="connsiteY256" fmla="*/ 320270 h 472033"/>
              <a:gd name="connsiteX257" fmla="*/ 386324 w 501041"/>
              <a:gd name="connsiteY257" fmla="*/ 319793 h 472033"/>
              <a:gd name="connsiteX258" fmla="*/ 386324 w 501041"/>
              <a:gd name="connsiteY258" fmla="*/ 319222 h 472033"/>
              <a:gd name="connsiteX259" fmla="*/ 384324 w 501041"/>
              <a:gd name="connsiteY259" fmla="*/ 313888 h 472033"/>
              <a:gd name="connsiteX260" fmla="*/ 382705 w 501041"/>
              <a:gd name="connsiteY260" fmla="*/ 311792 h 472033"/>
              <a:gd name="connsiteX261" fmla="*/ 381466 w 501041"/>
              <a:gd name="connsiteY261" fmla="*/ 311792 h 472033"/>
              <a:gd name="connsiteX262" fmla="*/ 381466 w 501041"/>
              <a:gd name="connsiteY262" fmla="*/ 311792 h 472033"/>
              <a:gd name="connsiteX263" fmla="*/ 380895 w 501041"/>
              <a:gd name="connsiteY263" fmla="*/ 311792 h 472033"/>
              <a:gd name="connsiteX264" fmla="*/ 378990 w 501041"/>
              <a:gd name="connsiteY264" fmla="*/ 310935 h 472033"/>
              <a:gd name="connsiteX265" fmla="*/ 375656 w 501041"/>
              <a:gd name="connsiteY265" fmla="*/ 309506 h 472033"/>
              <a:gd name="connsiteX266" fmla="*/ 365560 w 501041"/>
              <a:gd name="connsiteY266" fmla="*/ 304934 h 472033"/>
              <a:gd name="connsiteX267" fmla="*/ 355178 w 501041"/>
              <a:gd name="connsiteY267" fmla="*/ 300362 h 472033"/>
              <a:gd name="connsiteX268" fmla="*/ 352606 w 501041"/>
              <a:gd name="connsiteY268" fmla="*/ 298838 h 472033"/>
              <a:gd name="connsiteX269" fmla="*/ 352606 w 501041"/>
              <a:gd name="connsiteY269" fmla="*/ 298838 h 472033"/>
              <a:gd name="connsiteX270" fmla="*/ 354320 w 501041"/>
              <a:gd name="connsiteY270" fmla="*/ 293885 h 472033"/>
              <a:gd name="connsiteX271" fmla="*/ 354320 w 501041"/>
              <a:gd name="connsiteY271" fmla="*/ 293885 h 472033"/>
              <a:gd name="connsiteX272" fmla="*/ 388706 w 501041"/>
              <a:gd name="connsiteY272" fmla="*/ 282646 h 472033"/>
              <a:gd name="connsiteX273" fmla="*/ 389658 w 501041"/>
              <a:gd name="connsiteY273" fmla="*/ 283884 h 472033"/>
              <a:gd name="connsiteX274" fmla="*/ 391754 w 501041"/>
              <a:gd name="connsiteY274" fmla="*/ 287694 h 472033"/>
              <a:gd name="connsiteX275" fmla="*/ 393849 w 501041"/>
              <a:gd name="connsiteY275" fmla="*/ 305601 h 472033"/>
              <a:gd name="connsiteX276" fmla="*/ 409756 w 501041"/>
              <a:gd name="connsiteY276" fmla="*/ 330557 h 472033"/>
              <a:gd name="connsiteX277" fmla="*/ 419281 w 501041"/>
              <a:gd name="connsiteY277" fmla="*/ 423521 h 472033"/>
              <a:gd name="connsiteX278" fmla="*/ 430044 w 501041"/>
              <a:gd name="connsiteY278" fmla="*/ 462192 h 472033"/>
              <a:gd name="connsiteX279" fmla="*/ 425186 w 501041"/>
              <a:gd name="connsiteY279" fmla="*/ 438284 h 472033"/>
              <a:gd name="connsiteX280" fmla="*/ 416328 w 501041"/>
              <a:gd name="connsiteY280" fmla="*/ 331223 h 472033"/>
              <a:gd name="connsiteX281" fmla="*/ 431949 w 501041"/>
              <a:gd name="connsiteY281" fmla="*/ 297219 h 472033"/>
              <a:gd name="connsiteX282" fmla="*/ 450999 w 501041"/>
              <a:gd name="connsiteY282" fmla="*/ 303791 h 472033"/>
              <a:gd name="connsiteX283" fmla="*/ 494147 w 501041"/>
              <a:gd name="connsiteY283" fmla="*/ 312554 h 472033"/>
              <a:gd name="connsiteX284" fmla="*/ 494147 w 501041"/>
              <a:gd name="connsiteY284" fmla="*/ 312554 h 472033"/>
              <a:gd name="connsiteX285" fmla="*/ 494147 w 501041"/>
              <a:gd name="connsiteY285" fmla="*/ 312554 h 472033"/>
              <a:gd name="connsiteX286" fmla="*/ 494147 w 501041"/>
              <a:gd name="connsiteY286" fmla="*/ 311983 h 472033"/>
              <a:gd name="connsiteX287" fmla="*/ 452047 w 501041"/>
              <a:gd name="connsiteY287" fmla="*/ 301220 h 472033"/>
              <a:gd name="connsiteX288" fmla="*/ 434330 w 501041"/>
              <a:gd name="connsiteY288" fmla="*/ 294076 h 472033"/>
              <a:gd name="connsiteX289" fmla="*/ 436235 w 501041"/>
              <a:gd name="connsiteY289" fmla="*/ 287885 h 472033"/>
              <a:gd name="connsiteX290" fmla="*/ 457095 w 501041"/>
              <a:gd name="connsiteY290" fmla="*/ 288456 h 472033"/>
              <a:gd name="connsiteX291" fmla="*/ 500910 w 501041"/>
              <a:gd name="connsiteY291" fmla="*/ 283694 h 472033"/>
              <a:gd name="connsiteX292" fmla="*/ 500910 w 501041"/>
              <a:gd name="connsiteY292" fmla="*/ 282836 h 472033"/>
              <a:gd name="connsiteX293" fmla="*/ 183346 w 501041"/>
              <a:gd name="connsiteY293" fmla="*/ 254261 h 472033"/>
              <a:gd name="connsiteX294" fmla="*/ 173821 w 501041"/>
              <a:gd name="connsiteY294" fmla="*/ 267311 h 472033"/>
              <a:gd name="connsiteX295" fmla="*/ 135721 w 501041"/>
              <a:gd name="connsiteY295" fmla="*/ 303887 h 472033"/>
              <a:gd name="connsiteX296" fmla="*/ 123720 w 501041"/>
              <a:gd name="connsiteY296" fmla="*/ 311221 h 472033"/>
              <a:gd name="connsiteX297" fmla="*/ 166392 w 501041"/>
              <a:gd name="connsiteY297" fmla="*/ 264929 h 472033"/>
              <a:gd name="connsiteX298" fmla="*/ 166392 w 501041"/>
              <a:gd name="connsiteY298" fmla="*/ 264929 h 472033"/>
              <a:gd name="connsiteX299" fmla="*/ 175917 w 501041"/>
              <a:gd name="connsiteY299" fmla="*/ 251404 h 472033"/>
              <a:gd name="connsiteX300" fmla="*/ 175917 w 501041"/>
              <a:gd name="connsiteY300" fmla="*/ 251404 h 472033"/>
              <a:gd name="connsiteX301" fmla="*/ 194967 w 501041"/>
              <a:gd name="connsiteY301" fmla="*/ 221876 h 472033"/>
              <a:gd name="connsiteX302" fmla="*/ 194967 w 501041"/>
              <a:gd name="connsiteY302" fmla="*/ 221876 h 472033"/>
              <a:gd name="connsiteX303" fmla="*/ 197253 w 501041"/>
              <a:gd name="connsiteY303" fmla="*/ 218257 h 472033"/>
              <a:gd name="connsiteX304" fmla="*/ 197253 w 501041"/>
              <a:gd name="connsiteY304" fmla="*/ 218257 h 472033"/>
              <a:gd name="connsiteX305" fmla="*/ 199825 w 501041"/>
              <a:gd name="connsiteY305" fmla="*/ 226353 h 472033"/>
              <a:gd name="connsiteX306" fmla="*/ 183346 w 501041"/>
              <a:gd name="connsiteY306" fmla="*/ 254642 h 472033"/>
              <a:gd name="connsiteX307" fmla="*/ 221446 w 501041"/>
              <a:gd name="connsiteY307" fmla="*/ 254738 h 472033"/>
              <a:gd name="connsiteX308" fmla="*/ 220970 w 501041"/>
              <a:gd name="connsiteY308" fmla="*/ 253404 h 472033"/>
              <a:gd name="connsiteX309" fmla="*/ 215255 w 501041"/>
              <a:gd name="connsiteY309" fmla="*/ 238259 h 472033"/>
              <a:gd name="connsiteX310" fmla="*/ 212207 w 501041"/>
              <a:gd name="connsiteY310" fmla="*/ 229592 h 472033"/>
              <a:gd name="connsiteX311" fmla="*/ 211731 w 501041"/>
              <a:gd name="connsiteY311" fmla="*/ 228068 h 472033"/>
              <a:gd name="connsiteX312" fmla="*/ 215636 w 501041"/>
              <a:gd name="connsiteY312" fmla="*/ 221876 h 472033"/>
              <a:gd name="connsiteX313" fmla="*/ 216779 w 501041"/>
              <a:gd name="connsiteY313" fmla="*/ 220067 h 472033"/>
              <a:gd name="connsiteX314" fmla="*/ 218875 w 501041"/>
              <a:gd name="connsiteY314" fmla="*/ 216923 h 472033"/>
              <a:gd name="connsiteX315" fmla="*/ 218875 w 501041"/>
              <a:gd name="connsiteY315" fmla="*/ 216923 h 472033"/>
              <a:gd name="connsiteX316" fmla="*/ 218875 w 501041"/>
              <a:gd name="connsiteY316" fmla="*/ 217495 h 472033"/>
              <a:gd name="connsiteX317" fmla="*/ 218875 w 501041"/>
              <a:gd name="connsiteY317" fmla="*/ 218638 h 472033"/>
              <a:gd name="connsiteX318" fmla="*/ 220494 w 501041"/>
              <a:gd name="connsiteY318" fmla="*/ 223210 h 472033"/>
              <a:gd name="connsiteX319" fmla="*/ 223256 w 501041"/>
              <a:gd name="connsiteY319" fmla="*/ 230544 h 472033"/>
              <a:gd name="connsiteX320" fmla="*/ 223732 w 501041"/>
              <a:gd name="connsiteY320" fmla="*/ 231782 h 472033"/>
              <a:gd name="connsiteX321" fmla="*/ 226590 w 501041"/>
              <a:gd name="connsiteY321" fmla="*/ 239593 h 472033"/>
              <a:gd name="connsiteX322" fmla="*/ 229447 w 501041"/>
              <a:gd name="connsiteY322" fmla="*/ 247308 h 472033"/>
              <a:gd name="connsiteX323" fmla="*/ 231067 w 501041"/>
              <a:gd name="connsiteY323" fmla="*/ 251880 h 472033"/>
              <a:gd name="connsiteX324" fmla="*/ 221066 w 501041"/>
              <a:gd name="connsiteY324" fmla="*/ 255119 h 472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</a:cxnLst>
            <a:rect l="l" t="t" r="r" b="b"/>
            <a:pathLst>
              <a:path w="501041" h="472033">
                <a:moveTo>
                  <a:pt x="500910" y="282836"/>
                </a:moveTo>
                <a:lnTo>
                  <a:pt x="500910" y="282836"/>
                </a:lnTo>
                <a:cubicBezTo>
                  <a:pt x="500910" y="282836"/>
                  <a:pt x="500910" y="282360"/>
                  <a:pt x="500910" y="282836"/>
                </a:cubicBezTo>
                <a:cubicBezTo>
                  <a:pt x="486550" y="285398"/>
                  <a:pt x="471920" y="286102"/>
                  <a:pt x="457381" y="284932"/>
                </a:cubicBezTo>
                <a:cubicBezTo>
                  <a:pt x="450332" y="284551"/>
                  <a:pt x="443284" y="283979"/>
                  <a:pt x="436235" y="283217"/>
                </a:cubicBezTo>
                <a:cubicBezTo>
                  <a:pt x="434362" y="273952"/>
                  <a:pt x="427378" y="266561"/>
                  <a:pt x="418233" y="264167"/>
                </a:cubicBezTo>
                <a:cubicBezTo>
                  <a:pt x="410899" y="262739"/>
                  <a:pt x="408708" y="265025"/>
                  <a:pt x="403184" y="258643"/>
                </a:cubicBezTo>
                <a:lnTo>
                  <a:pt x="401755" y="257309"/>
                </a:lnTo>
                <a:cubicBezTo>
                  <a:pt x="401658" y="244629"/>
                  <a:pt x="395035" y="232893"/>
                  <a:pt x="384229" y="226258"/>
                </a:cubicBezTo>
                <a:cubicBezTo>
                  <a:pt x="384229" y="221305"/>
                  <a:pt x="382895" y="216733"/>
                  <a:pt x="381943" y="211494"/>
                </a:cubicBezTo>
                <a:cubicBezTo>
                  <a:pt x="378895" y="196635"/>
                  <a:pt x="374037" y="182348"/>
                  <a:pt x="370132" y="167679"/>
                </a:cubicBezTo>
                <a:cubicBezTo>
                  <a:pt x="370175" y="167172"/>
                  <a:pt x="370175" y="166662"/>
                  <a:pt x="370132" y="166155"/>
                </a:cubicBezTo>
                <a:cubicBezTo>
                  <a:pt x="362988" y="136151"/>
                  <a:pt x="363083" y="101385"/>
                  <a:pt x="357940" y="70334"/>
                </a:cubicBezTo>
                <a:cubicBezTo>
                  <a:pt x="354987" y="52998"/>
                  <a:pt x="351749" y="42521"/>
                  <a:pt x="333365" y="46235"/>
                </a:cubicBezTo>
                <a:cubicBezTo>
                  <a:pt x="314982" y="49950"/>
                  <a:pt x="303838" y="71477"/>
                  <a:pt x="300123" y="91670"/>
                </a:cubicBezTo>
                <a:cubicBezTo>
                  <a:pt x="291455" y="69095"/>
                  <a:pt x="283550" y="45759"/>
                  <a:pt x="273834" y="24995"/>
                </a:cubicBezTo>
                <a:cubicBezTo>
                  <a:pt x="264118" y="4230"/>
                  <a:pt x="257356" y="-6343"/>
                  <a:pt x="236401" y="4040"/>
                </a:cubicBezTo>
                <a:cubicBezTo>
                  <a:pt x="206492" y="18899"/>
                  <a:pt x="206683" y="70715"/>
                  <a:pt x="217351" y="96908"/>
                </a:cubicBezTo>
                <a:cubicBezTo>
                  <a:pt x="229829" y="127007"/>
                  <a:pt x="260308" y="151201"/>
                  <a:pt x="279454" y="178728"/>
                </a:cubicBezTo>
                <a:cubicBezTo>
                  <a:pt x="285814" y="188298"/>
                  <a:pt x="292848" y="197401"/>
                  <a:pt x="300504" y="205970"/>
                </a:cubicBezTo>
                <a:cubicBezTo>
                  <a:pt x="305415" y="211596"/>
                  <a:pt x="310801" y="216791"/>
                  <a:pt x="316601" y="221495"/>
                </a:cubicBezTo>
                <a:cubicBezTo>
                  <a:pt x="316125" y="222734"/>
                  <a:pt x="315649" y="223781"/>
                  <a:pt x="315363" y="224639"/>
                </a:cubicBezTo>
                <a:lnTo>
                  <a:pt x="312506" y="231020"/>
                </a:lnTo>
                <a:cubicBezTo>
                  <a:pt x="308664" y="234809"/>
                  <a:pt x="305817" y="239488"/>
                  <a:pt x="304219" y="244641"/>
                </a:cubicBezTo>
                <a:cubicBezTo>
                  <a:pt x="283993" y="241210"/>
                  <a:pt x="263255" y="242382"/>
                  <a:pt x="243544" y="248070"/>
                </a:cubicBezTo>
                <a:lnTo>
                  <a:pt x="241354" y="242450"/>
                </a:lnTo>
                <a:lnTo>
                  <a:pt x="235258" y="227020"/>
                </a:lnTo>
                <a:lnTo>
                  <a:pt x="234781" y="225877"/>
                </a:lnTo>
                <a:lnTo>
                  <a:pt x="230019" y="214066"/>
                </a:lnTo>
                <a:lnTo>
                  <a:pt x="229257" y="211970"/>
                </a:lnTo>
                <a:lnTo>
                  <a:pt x="227352" y="207398"/>
                </a:lnTo>
                <a:lnTo>
                  <a:pt x="227352" y="207398"/>
                </a:lnTo>
                <a:cubicBezTo>
                  <a:pt x="227002" y="206182"/>
                  <a:pt x="226224" y="205133"/>
                  <a:pt x="225161" y="204446"/>
                </a:cubicBezTo>
                <a:lnTo>
                  <a:pt x="224685" y="204446"/>
                </a:lnTo>
                <a:cubicBezTo>
                  <a:pt x="222795" y="203634"/>
                  <a:pt x="220706" y="203402"/>
                  <a:pt x="218684" y="203779"/>
                </a:cubicBezTo>
                <a:lnTo>
                  <a:pt x="218113" y="203779"/>
                </a:lnTo>
                <a:cubicBezTo>
                  <a:pt x="216819" y="204010"/>
                  <a:pt x="215606" y="204567"/>
                  <a:pt x="214588" y="205398"/>
                </a:cubicBezTo>
                <a:lnTo>
                  <a:pt x="213731" y="206065"/>
                </a:lnTo>
                <a:cubicBezTo>
                  <a:pt x="212670" y="206732"/>
                  <a:pt x="211787" y="207647"/>
                  <a:pt x="211159" y="208732"/>
                </a:cubicBezTo>
                <a:cubicBezTo>
                  <a:pt x="211159" y="208732"/>
                  <a:pt x="209540" y="211399"/>
                  <a:pt x="207159" y="215304"/>
                </a:cubicBezTo>
                <a:lnTo>
                  <a:pt x="205825" y="211494"/>
                </a:lnTo>
                <a:lnTo>
                  <a:pt x="204682" y="208256"/>
                </a:lnTo>
                <a:cubicBezTo>
                  <a:pt x="204715" y="208003"/>
                  <a:pt x="204715" y="207746"/>
                  <a:pt x="204682" y="207494"/>
                </a:cubicBezTo>
                <a:cubicBezTo>
                  <a:pt x="204500" y="206577"/>
                  <a:pt x="204145" y="205705"/>
                  <a:pt x="203635" y="204922"/>
                </a:cubicBezTo>
                <a:cubicBezTo>
                  <a:pt x="203295" y="204469"/>
                  <a:pt x="202875" y="204082"/>
                  <a:pt x="202396" y="203779"/>
                </a:cubicBezTo>
                <a:cubicBezTo>
                  <a:pt x="201333" y="203256"/>
                  <a:pt x="200149" y="203026"/>
                  <a:pt x="198967" y="203112"/>
                </a:cubicBezTo>
                <a:lnTo>
                  <a:pt x="198301" y="203112"/>
                </a:lnTo>
                <a:cubicBezTo>
                  <a:pt x="195157" y="203112"/>
                  <a:pt x="193348" y="205874"/>
                  <a:pt x="192205" y="207779"/>
                </a:cubicBezTo>
                <a:cubicBezTo>
                  <a:pt x="192158" y="208031"/>
                  <a:pt x="192158" y="208289"/>
                  <a:pt x="192205" y="208541"/>
                </a:cubicBezTo>
                <a:cubicBezTo>
                  <a:pt x="191116" y="210128"/>
                  <a:pt x="190130" y="211782"/>
                  <a:pt x="189252" y="213494"/>
                </a:cubicBezTo>
                <a:lnTo>
                  <a:pt x="186966" y="217400"/>
                </a:lnTo>
                <a:lnTo>
                  <a:pt x="168583" y="246737"/>
                </a:lnTo>
                <a:cubicBezTo>
                  <a:pt x="166106" y="250547"/>
                  <a:pt x="161915" y="256262"/>
                  <a:pt x="159058" y="260072"/>
                </a:cubicBezTo>
                <a:lnTo>
                  <a:pt x="110194" y="314459"/>
                </a:lnTo>
                <a:lnTo>
                  <a:pt x="104956" y="315412"/>
                </a:lnTo>
                <a:cubicBezTo>
                  <a:pt x="99864" y="315343"/>
                  <a:pt x="94828" y="314342"/>
                  <a:pt x="90097" y="312459"/>
                </a:cubicBezTo>
                <a:lnTo>
                  <a:pt x="75047" y="303410"/>
                </a:lnTo>
                <a:cubicBezTo>
                  <a:pt x="72666" y="301315"/>
                  <a:pt x="68761" y="297791"/>
                  <a:pt x="68094" y="297505"/>
                </a:cubicBezTo>
                <a:cubicBezTo>
                  <a:pt x="67163" y="296918"/>
                  <a:pt x="65977" y="296918"/>
                  <a:pt x="65046" y="297505"/>
                </a:cubicBezTo>
                <a:cubicBezTo>
                  <a:pt x="64644" y="297863"/>
                  <a:pt x="64348" y="298324"/>
                  <a:pt x="64189" y="298838"/>
                </a:cubicBezTo>
                <a:cubicBezTo>
                  <a:pt x="64189" y="300172"/>
                  <a:pt x="64189" y="300934"/>
                  <a:pt x="66475" y="303029"/>
                </a:cubicBezTo>
                <a:lnTo>
                  <a:pt x="70951" y="307506"/>
                </a:lnTo>
                <a:lnTo>
                  <a:pt x="70951" y="307506"/>
                </a:lnTo>
                <a:lnTo>
                  <a:pt x="87334" y="317888"/>
                </a:lnTo>
                <a:lnTo>
                  <a:pt x="87334" y="317888"/>
                </a:lnTo>
                <a:cubicBezTo>
                  <a:pt x="92258" y="319993"/>
                  <a:pt x="97513" y="321218"/>
                  <a:pt x="102860" y="321508"/>
                </a:cubicBezTo>
                <a:lnTo>
                  <a:pt x="101336" y="323222"/>
                </a:lnTo>
                <a:cubicBezTo>
                  <a:pt x="97700" y="326911"/>
                  <a:pt x="93818" y="330348"/>
                  <a:pt x="89716" y="333509"/>
                </a:cubicBezTo>
                <a:lnTo>
                  <a:pt x="59998" y="350178"/>
                </a:lnTo>
                <a:cubicBezTo>
                  <a:pt x="55211" y="352224"/>
                  <a:pt x="50187" y="353664"/>
                  <a:pt x="45043" y="354464"/>
                </a:cubicBezTo>
                <a:lnTo>
                  <a:pt x="12277" y="352559"/>
                </a:lnTo>
                <a:lnTo>
                  <a:pt x="3514" y="350559"/>
                </a:lnTo>
                <a:cubicBezTo>
                  <a:pt x="2293" y="350320"/>
                  <a:pt x="1048" y="350848"/>
                  <a:pt x="371" y="351893"/>
                </a:cubicBezTo>
                <a:lnTo>
                  <a:pt x="181" y="351893"/>
                </a:lnTo>
                <a:cubicBezTo>
                  <a:pt x="-60" y="352538"/>
                  <a:pt x="-60" y="353248"/>
                  <a:pt x="181" y="353893"/>
                </a:cubicBezTo>
                <a:cubicBezTo>
                  <a:pt x="346" y="354455"/>
                  <a:pt x="721" y="354933"/>
                  <a:pt x="1228" y="355226"/>
                </a:cubicBezTo>
                <a:cubicBezTo>
                  <a:pt x="4331" y="356430"/>
                  <a:pt x="7514" y="357417"/>
                  <a:pt x="10753" y="358179"/>
                </a:cubicBezTo>
                <a:lnTo>
                  <a:pt x="10753" y="358179"/>
                </a:lnTo>
                <a:lnTo>
                  <a:pt x="45424" y="360846"/>
                </a:lnTo>
                <a:lnTo>
                  <a:pt x="45424" y="360846"/>
                </a:lnTo>
                <a:cubicBezTo>
                  <a:pt x="51047" y="360073"/>
                  <a:pt x="56550" y="358601"/>
                  <a:pt x="61807" y="356465"/>
                </a:cubicBezTo>
                <a:lnTo>
                  <a:pt x="61807" y="356465"/>
                </a:lnTo>
                <a:lnTo>
                  <a:pt x="93049" y="339986"/>
                </a:lnTo>
                <a:lnTo>
                  <a:pt x="93049" y="339986"/>
                </a:lnTo>
                <a:cubicBezTo>
                  <a:pt x="97630" y="336722"/>
                  <a:pt x="101989" y="333158"/>
                  <a:pt x="106099" y="329318"/>
                </a:cubicBezTo>
                <a:lnTo>
                  <a:pt x="106099" y="329318"/>
                </a:lnTo>
                <a:lnTo>
                  <a:pt x="114195" y="320555"/>
                </a:lnTo>
                <a:lnTo>
                  <a:pt x="123244" y="319317"/>
                </a:lnTo>
                <a:lnTo>
                  <a:pt x="123244" y="319317"/>
                </a:lnTo>
                <a:cubicBezTo>
                  <a:pt x="128492" y="317233"/>
                  <a:pt x="133557" y="314716"/>
                  <a:pt x="138388" y="311792"/>
                </a:cubicBezTo>
                <a:lnTo>
                  <a:pt x="138388" y="311792"/>
                </a:lnTo>
                <a:lnTo>
                  <a:pt x="154200" y="300267"/>
                </a:lnTo>
                <a:lnTo>
                  <a:pt x="154200" y="300267"/>
                </a:lnTo>
                <a:cubicBezTo>
                  <a:pt x="157629" y="297219"/>
                  <a:pt x="163058" y="291980"/>
                  <a:pt x="166201" y="288647"/>
                </a:cubicBezTo>
                <a:lnTo>
                  <a:pt x="166201" y="288647"/>
                </a:lnTo>
                <a:lnTo>
                  <a:pt x="181156" y="273502"/>
                </a:lnTo>
                <a:lnTo>
                  <a:pt x="181156" y="273502"/>
                </a:lnTo>
                <a:cubicBezTo>
                  <a:pt x="184108" y="269882"/>
                  <a:pt x="188585" y="263977"/>
                  <a:pt x="191252" y="260167"/>
                </a:cubicBezTo>
                <a:lnTo>
                  <a:pt x="191252" y="260167"/>
                </a:lnTo>
                <a:lnTo>
                  <a:pt x="191252" y="260167"/>
                </a:lnTo>
                <a:lnTo>
                  <a:pt x="194014" y="255881"/>
                </a:lnTo>
                <a:lnTo>
                  <a:pt x="196777" y="251594"/>
                </a:lnTo>
                <a:lnTo>
                  <a:pt x="201634" y="243974"/>
                </a:lnTo>
                <a:lnTo>
                  <a:pt x="204111" y="240069"/>
                </a:lnTo>
                <a:lnTo>
                  <a:pt x="204682" y="242069"/>
                </a:lnTo>
                <a:lnTo>
                  <a:pt x="209731" y="257309"/>
                </a:lnTo>
                <a:lnTo>
                  <a:pt x="210397" y="259310"/>
                </a:lnTo>
                <a:cubicBezTo>
                  <a:pt x="177822" y="273692"/>
                  <a:pt x="156962" y="293790"/>
                  <a:pt x="161439" y="308554"/>
                </a:cubicBezTo>
                <a:cubicBezTo>
                  <a:pt x="165916" y="323318"/>
                  <a:pt x="195062" y="328271"/>
                  <a:pt x="230495" y="321508"/>
                </a:cubicBezTo>
                <a:cubicBezTo>
                  <a:pt x="230495" y="321508"/>
                  <a:pt x="230495" y="321508"/>
                  <a:pt x="230495" y="322079"/>
                </a:cubicBezTo>
                <a:cubicBezTo>
                  <a:pt x="231024" y="323068"/>
                  <a:pt x="231815" y="323892"/>
                  <a:pt x="232781" y="324461"/>
                </a:cubicBezTo>
                <a:cubicBezTo>
                  <a:pt x="234339" y="325170"/>
                  <a:pt x="236023" y="325558"/>
                  <a:pt x="237734" y="325604"/>
                </a:cubicBezTo>
                <a:lnTo>
                  <a:pt x="237734" y="325604"/>
                </a:lnTo>
                <a:cubicBezTo>
                  <a:pt x="239387" y="325753"/>
                  <a:pt x="241040" y="325315"/>
                  <a:pt x="242401" y="324365"/>
                </a:cubicBezTo>
                <a:cubicBezTo>
                  <a:pt x="242984" y="323865"/>
                  <a:pt x="243497" y="323288"/>
                  <a:pt x="243925" y="322651"/>
                </a:cubicBezTo>
                <a:lnTo>
                  <a:pt x="243925" y="322651"/>
                </a:lnTo>
                <a:lnTo>
                  <a:pt x="245926" y="320270"/>
                </a:lnTo>
                <a:lnTo>
                  <a:pt x="247069" y="319031"/>
                </a:lnTo>
                <a:lnTo>
                  <a:pt x="248497" y="317317"/>
                </a:lnTo>
                <a:lnTo>
                  <a:pt x="251736" y="316364"/>
                </a:lnTo>
                <a:cubicBezTo>
                  <a:pt x="258828" y="314186"/>
                  <a:pt x="265793" y="311610"/>
                  <a:pt x="272596" y="308649"/>
                </a:cubicBezTo>
                <a:lnTo>
                  <a:pt x="263071" y="324746"/>
                </a:lnTo>
                <a:cubicBezTo>
                  <a:pt x="260689" y="328461"/>
                  <a:pt x="256403" y="334271"/>
                  <a:pt x="253546" y="337891"/>
                </a:cubicBezTo>
                <a:lnTo>
                  <a:pt x="243735" y="348749"/>
                </a:lnTo>
                <a:cubicBezTo>
                  <a:pt x="239882" y="352429"/>
                  <a:pt x="235776" y="355834"/>
                  <a:pt x="231448" y="358941"/>
                </a:cubicBezTo>
                <a:lnTo>
                  <a:pt x="218018" y="364466"/>
                </a:lnTo>
                <a:lnTo>
                  <a:pt x="209445" y="367037"/>
                </a:lnTo>
                <a:cubicBezTo>
                  <a:pt x="208489" y="367517"/>
                  <a:pt x="207844" y="368450"/>
                  <a:pt x="207730" y="369514"/>
                </a:cubicBezTo>
                <a:cubicBezTo>
                  <a:pt x="207948" y="370534"/>
                  <a:pt x="208722" y="371344"/>
                  <a:pt x="209731" y="371609"/>
                </a:cubicBezTo>
                <a:cubicBezTo>
                  <a:pt x="212961" y="371403"/>
                  <a:pt x="216157" y="370828"/>
                  <a:pt x="219256" y="369895"/>
                </a:cubicBezTo>
                <a:lnTo>
                  <a:pt x="219256" y="369895"/>
                </a:lnTo>
                <a:lnTo>
                  <a:pt x="234591" y="364180"/>
                </a:lnTo>
                <a:lnTo>
                  <a:pt x="234591" y="364180"/>
                </a:lnTo>
                <a:cubicBezTo>
                  <a:pt x="239229" y="361015"/>
                  <a:pt x="243652" y="357547"/>
                  <a:pt x="247831" y="353798"/>
                </a:cubicBezTo>
                <a:lnTo>
                  <a:pt x="247831" y="353798"/>
                </a:lnTo>
                <a:lnTo>
                  <a:pt x="259356" y="342272"/>
                </a:lnTo>
                <a:lnTo>
                  <a:pt x="259356" y="342272"/>
                </a:lnTo>
                <a:cubicBezTo>
                  <a:pt x="262993" y="338049"/>
                  <a:pt x="266395" y="333629"/>
                  <a:pt x="269548" y="329033"/>
                </a:cubicBezTo>
                <a:lnTo>
                  <a:pt x="269548" y="329033"/>
                </a:lnTo>
                <a:lnTo>
                  <a:pt x="287169" y="301601"/>
                </a:lnTo>
                <a:cubicBezTo>
                  <a:pt x="291169" y="299410"/>
                  <a:pt x="294980" y="297124"/>
                  <a:pt x="298504" y="294743"/>
                </a:cubicBezTo>
                <a:lnTo>
                  <a:pt x="293456" y="306744"/>
                </a:lnTo>
                <a:cubicBezTo>
                  <a:pt x="291646" y="310840"/>
                  <a:pt x="288598" y="317603"/>
                  <a:pt x="286598" y="321698"/>
                </a:cubicBezTo>
                <a:lnTo>
                  <a:pt x="257356" y="382182"/>
                </a:lnTo>
                <a:cubicBezTo>
                  <a:pt x="255260" y="386183"/>
                  <a:pt x="251736" y="392660"/>
                  <a:pt x="249450" y="396565"/>
                </a:cubicBezTo>
                <a:lnTo>
                  <a:pt x="236020" y="418187"/>
                </a:lnTo>
                <a:cubicBezTo>
                  <a:pt x="233543" y="421997"/>
                  <a:pt x="229638" y="427712"/>
                  <a:pt x="227352" y="430569"/>
                </a:cubicBezTo>
                <a:cubicBezTo>
                  <a:pt x="225066" y="433427"/>
                  <a:pt x="216208" y="443237"/>
                  <a:pt x="213445" y="445904"/>
                </a:cubicBezTo>
                <a:cubicBezTo>
                  <a:pt x="209951" y="448504"/>
                  <a:pt x="206102" y="450589"/>
                  <a:pt x="202015" y="452096"/>
                </a:cubicBezTo>
                <a:lnTo>
                  <a:pt x="202016" y="452096"/>
                </a:lnTo>
                <a:cubicBezTo>
                  <a:pt x="200997" y="452636"/>
                  <a:pt x="200370" y="453705"/>
                  <a:pt x="200396" y="454858"/>
                </a:cubicBezTo>
                <a:cubicBezTo>
                  <a:pt x="200396" y="455429"/>
                  <a:pt x="200396" y="455810"/>
                  <a:pt x="201254" y="456382"/>
                </a:cubicBezTo>
                <a:cubicBezTo>
                  <a:pt x="201458" y="456672"/>
                  <a:pt x="201764" y="456876"/>
                  <a:pt x="202111" y="456953"/>
                </a:cubicBezTo>
                <a:cubicBezTo>
                  <a:pt x="202682" y="456953"/>
                  <a:pt x="203254" y="456953"/>
                  <a:pt x="206016" y="456096"/>
                </a:cubicBezTo>
                <a:cubicBezTo>
                  <a:pt x="208778" y="455239"/>
                  <a:pt x="209540" y="454572"/>
                  <a:pt x="211159" y="453715"/>
                </a:cubicBezTo>
                <a:cubicBezTo>
                  <a:pt x="217230" y="449655"/>
                  <a:pt x="222878" y="444996"/>
                  <a:pt x="228019" y="439808"/>
                </a:cubicBezTo>
                <a:cubicBezTo>
                  <a:pt x="230686" y="436856"/>
                  <a:pt x="239258" y="425711"/>
                  <a:pt x="241830" y="421806"/>
                </a:cubicBezTo>
                <a:lnTo>
                  <a:pt x="241830" y="421806"/>
                </a:lnTo>
                <a:lnTo>
                  <a:pt x="255451" y="400184"/>
                </a:lnTo>
                <a:lnTo>
                  <a:pt x="255451" y="400184"/>
                </a:lnTo>
                <a:cubicBezTo>
                  <a:pt x="257832" y="396279"/>
                  <a:pt x="261547" y="389802"/>
                  <a:pt x="263738" y="385802"/>
                </a:cubicBezTo>
                <a:lnTo>
                  <a:pt x="263738" y="385802"/>
                </a:lnTo>
                <a:lnTo>
                  <a:pt x="295456" y="325508"/>
                </a:lnTo>
                <a:lnTo>
                  <a:pt x="295456" y="325508"/>
                </a:lnTo>
                <a:cubicBezTo>
                  <a:pt x="297456" y="321413"/>
                  <a:pt x="300694" y="314650"/>
                  <a:pt x="302600" y="310554"/>
                </a:cubicBezTo>
                <a:lnTo>
                  <a:pt x="316411" y="280169"/>
                </a:lnTo>
                <a:cubicBezTo>
                  <a:pt x="318281" y="281758"/>
                  <a:pt x="320254" y="283222"/>
                  <a:pt x="322316" y="284551"/>
                </a:cubicBezTo>
                <a:lnTo>
                  <a:pt x="322316" y="285884"/>
                </a:lnTo>
                <a:lnTo>
                  <a:pt x="322316" y="293028"/>
                </a:lnTo>
                <a:lnTo>
                  <a:pt x="322316" y="296838"/>
                </a:lnTo>
                <a:cubicBezTo>
                  <a:pt x="321880" y="298994"/>
                  <a:pt x="323040" y="301155"/>
                  <a:pt x="325079" y="301982"/>
                </a:cubicBezTo>
                <a:lnTo>
                  <a:pt x="325840" y="301982"/>
                </a:lnTo>
                <a:lnTo>
                  <a:pt x="327174" y="301982"/>
                </a:lnTo>
                <a:lnTo>
                  <a:pt x="328031" y="301982"/>
                </a:lnTo>
                <a:lnTo>
                  <a:pt x="328031" y="301982"/>
                </a:lnTo>
                <a:lnTo>
                  <a:pt x="328031" y="301982"/>
                </a:lnTo>
                <a:lnTo>
                  <a:pt x="328031" y="301982"/>
                </a:lnTo>
                <a:lnTo>
                  <a:pt x="328888" y="301982"/>
                </a:lnTo>
                <a:cubicBezTo>
                  <a:pt x="330139" y="302348"/>
                  <a:pt x="331486" y="302176"/>
                  <a:pt x="332603" y="301505"/>
                </a:cubicBezTo>
                <a:lnTo>
                  <a:pt x="332603" y="301505"/>
                </a:lnTo>
                <a:cubicBezTo>
                  <a:pt x="333021" y="301193"/>
                  <a:pt x="333376" y="300805"/>
                  <a:pt x="333651" y="300362"/>
                </a:cubicBezTo>
                <a:lnTo>
                  <a:pt x="334699" y="298648"/>
                </a:lnTo>
                <a:lnTo>
                  <a:pt x="334699" y="298076"/>
                </a:lnTo>
                <a:lnTo>
                  <a:pt x="337747" y="293028"/>
                </a:lnTo>
                <a:cubicBezTo>
                  <a:pt x="338223" y="292361"/>
                  <a:pt x="338699" y="291409"/>
                  <a:pt x="339271" y="290552"/>
                </a:cubicBezTo>
                <a:lnTo>
                  <a:pt x="340985" y="290552"/>
                </a:lnTo>
                <a:cubicBezTo>
                  <a:pt x="340725" y="291616"/>
                  <a:pt x="340407" y="292665"/>
                  <a:pt x="340033" y="293695"/>
                </a:cubicBezTo>
                <a:cubicBezTo>
                  <a:pt x="339418" y="295151"/>
                  <a:pt x="339033" y="296693"/>
                  <a:pt x="338890" y="298267"/>
                </a:cubicBezTo>
                <a:cubicBezTo>
                  <a:pt x="338803" y="299950"/>
                  <a:pt x="339165" y="301627"/>
                  <a:pt x="339938" y="303125"/>
                </a:cubicBezTo>
                <a:cubicBezTo>
                  <a:pt x="340868" y="304936"/>
                  <a:pt x="342478" y="306305"/>
                  <a:pt x="344414" y="306935"/>
                </a:cubicBezTo>
                <a:lnTo>
                  <a:pt x="346224" y="307697"/>
                </a:lnTo>
                <a:lnTo>
                  <a:pt x="349653" y="309030"/>
                </a:lnTo>
                <a:lnTo>
                  <a:pt x="354701" y="311126"/>
                </a:lnTo>
                <a:lnTo>
                  <a:pt x="360226" y="313316"/>
                </a:lnTo>
                <a:lnTo>
                  <a:pt x="370703" y="317603"/>
                </a:lnTo>
                <a:lnTo>
                  <a:pt x="374323" y="319031"/>
                </a:lnTo>
                <a:lnTo>
                  <a:pt x="372799" y="324270"/>
                </a:lnTo>
                <a:lnTo>
                  <a:pt x="368512" y="339510"/>
                </a:lnTo>
                <a:lnTo>
                  <a:pt x="364798" y="352655"/>
                </a:lnTo>
                <a:lnTo>
                  <a:pt x="362512" y="360656"/>
                </a:lnTo>
                <a:lnTo>
                  <a:pt x="360321" y="368657"/>
                </a:lnTo>
                <a:lnTo>
                  <a:pt x="356511" y="381801"/>
                </a:lnTo>
                <a:lnTo>
                  <a:pt x="355273" y="386373"/>
                </a:lnTo>
                <a:lnTo>
                  <a:pt x="352225" y="397041"/>
                </a:lnTo>
                <a:lnTo>
                  <a:pt x="350225" y="404280"/>
                </a:lnTo>
                <a:lnTo>
                  <a:pt x="349177" y="407995"/>
                </a:lnTo>
                <a:lnTo>
                  <a:pt x="348415" y="410852"/>
                </a:lnTo>
                <a:lnTo>
                  <a:pt x="347653" y="413519"/>
                </a:lnTo>
                <a:lnTo>
                  <a:pt x="346986" y="415710"/>
                </a:lnTo>
                <a:lnTo>
                  <a:pt x="346986" y="416282"/>
                </a:lnTo>
                <a:lnTo>
                  <a:pt x="346986" y="416282"/>
                </a:lnTo>
                <a:cubicBezTo>
                  <a:pt x="346986" y="416282"/>
                  <a:pt x="346986" y="416282"/>
                  <a:pt x="346986" y="418091"/>
                </a:cubicBezTo>
                <a:cubicBezTo>
                  <a:pt x="346851" y="418558"/>
                  <a:pt x="346851" y="419053"/>
                  <a:pt x="346986" y="419520"/>
                </a:cubicBezTo>
                <a:lnTo>
                  <a:pt x="346986" y="420377"/>
                </a:lnTo>
                <a:cubicBezTo>
                  <a:pt x="347237" y="421227"/>
                  <a:pt x="347556" y="422055"/>
                  <a:pt x="347938" y="422854"/>
                </a:cubicBezTo>
                <a:lnTo>
                  <a:pt x="350320" y="428950"/>
                </a:lnTo>
                <a:lnTo>
                  <a:pt x="355273" y="441713"/>
                </a:lnTo>
                <a:cubicBezTo>
                  <a:pt x="356987" y="446000"/>
                  <a:pt x="358892" y="451238"/>
                  <a:pt x="359654" y="452953"/>
                </a:cubicBezTo>
                <a:lnTo>
                  <a:pt x="361369" y="457334"/>
                </a:lnTo>
                <a:lnTo>
                  <a:pt x="361369" y="457334"/>
                </a:lnTo>
                <a:lnTo>
                  <a:pt x="361369" y="458573"/>
                </a:lnTo>
                <a:lnTo>
                  <a:pt x="361369" y="458573"/>
                </a:lnTo>
                <a:cubicBezTo>
                  <a:pt x="361421" y="459186"/>
                  <a:pt x="361691" y="459761"/>
                  <a:pt x="362131" y="460192"/>
                </a:cubicBezTo>
                <a:cubicBezTo>
                  <a:pt x="362607" y="460859"/>
                  <a:pt x="362607" y="460859"/>
                  <a:pt x="362893" y="461049"/>
                </a:cubicBezTo>
                <a:lnTo>
                  <a:pt x="362893" y="461049"/>
                </a:lnTo>
                <a:lnTo>
                  <a:pt x="364512" y="462097"/>
                </a:lnTo>
                <a:lnTo>
                  <a:pt x="370799" y="466383"/>
                </a:lnTo>
                <a:lnTo>
                  <a:pt x="372323" y="467431"/>
                </a:lnTo>
                <a:cubicBezTo>
                  <a:pt x="374635" y="469158"/>
                  <a:pt x="377088" y="470687"/>
                  <a:pt x="379657" y="472003"/>
                </a:cubicBezTo>
                <a:lnTo>
                  <a:pt x="379657" y="472003"/>
                </a:lnTo>
                <a:cubicBezTo>
                  <a:pt x="380724" y="472151"/>
                  <a:pt x="381795" y="471758"/>
                  <a:pt x="382514" y="470955"/>
                </a:cubicBezTo>
                <a:cubicBezTo>
                  <a:pt x="382592" y="470482"/>
                  <a:pt x="382592" y="469999"/>
                  <a:pt x="382514" y="469526"/>
                </a:cubicBezTo>
                <a:cubicBezTo>
                  <a:pt x="382514" y="468288"/>
                  <a:pt x="381848" y="467526"/>
                  <a:pt x="379847" y="466002"/>
                </a:cubicBezTo>
                <a:cubicBezTo>
                  <a:pt x="377847" y="464478"/>
                  <a:pt x="376894" y="463716"/>
                  <a:pt x="375275" y="462573"/>
                </a:cubicBezTo>
                <a:lnTo>
                  <a:pt x="370417" y="459049"/>
                </a:lnTo>
                <a:lnTo>
                  <a:pt x="367560" y="457049"/>
                </a:lnTo>
                <a:lnTo>
                  <a:pt x="366703" y="456382"/>
                </a:lnTo>
                <a:lnTo>
                  <a:pt x="366703" y="456382"/>
                </a:lnTo>
                <a:lnTo>
                  <a:pt x="366703" y="455048"/>
                </a:lnTo>
                <a:cubicBezTo>
                  <a:pt x="366703" y="454572"/>
                  <a:pt x="365845" y="452572"/>
                  <a:pt x="365084" y="450667"/>
                </a:cubicBezTo>
                <a:lnTo>
                  <a:pt x="361083" y="439237"/>
                </a:lnTo>
                <a:lnTo>
                  <a:pt x="356416" y="426378"/>
                </a:lnTo>
                <a:cubicBezTo>
                  <a:pt x="354892" y="422092"/>
                  <a:pt x="353558" y="418187"/>
                  <a:pt x="353368" y="417615"/>
                </a:cubicBezTo>
                <a:lnTo>
                  <a:pt x="353368" y="417615"/>
                </a:lnTo>
                <a:lnTo>
                  <a:pt x="353939" y="415901"/>
                </a:lnTo>
                <a:lnTo>
                  <a:pt x="355654" y="410471"/>
                </a:lnTo>
                <a:lnTo>
                  <a:pt x="359083" y="399613"/>
                </a:lnTo>
                <a:lnTo>
                  <a:pt x="364417" y="390659"/>
                </a:lnTo>
                <a:lnTo>
                  <a:pt x="365845" y="386087"/>
                </a:lnTo>
                <a:lnTo>
                  <a:pt x="369941" y="373038"/>
                </a:lnTo>
                <a:lnTo>
                  <a:pt x="372418" y="365132"/>
                </a:lnTo>
                <a:lnTo>
                  <a:pt x="374894" y="357227"/>
                </a:lnTo>
                <a:lnTo>
                  <a:pt x="378990" y="344177"/>
                </a:lnTo>
                <a:lnTo>
                  <a:pt x="380514" y="339415"/>
                </a:lnTo>
                <a:lnTo>
                  <a:pt x="383753" y="329033"/>
                </a:lnTo>
                <a:cubicBezTo>
                  <a:pt x="384991" y="325032"/>
                  <a:pt x="386229" y="321413"/>
                  <a:pt x="386324" y="320936"/>
                </a:cubicBezTo>
                <a:lnTo>
                  <a:pt x="386324" y="320270"/>
                </a:lnTo>
                <a:lnTo>
                  <a:pt x="386324" y="319793"/>
                </a:lnTo>
                <a:lnTo>
                  <a:pt x="386324" y="319222"/>
                </a:lnTo>
                <a:cubicBezTo>
                  <a:pt x="386324" y="318460"/>
                  <a:pt x="386324" y="318460"/>
                  <a:pt x="384324" y="313888"/>
                </a:cubicBezTo>
                <a:cubicBezTo>
                  <a:pt x="383657" y="312364"/>
                  <a:pt x="383467" y="312078"/>
                  <a:pt x="382705" y="311792"/>
                </a:cubicBezTo>
                <a:lnTo>
                  <a:pt x="381466" y="311792"/>
                </a:lnTo>
                <a:lnTo>
                  <a:pt x="381466" y="311792"/>
                </a:lnTo>
                <a:lnTo>
                  <a:pt x="380895" y="311792"/>
                </a:lnTo>
                <a:lnTo>
                  <a:pt x="378990" y="310935"/>
                </a:lnTo>
                <a:lnTo>
                  <a:pt x="375656" y="309506"/>
                </a:lnTo>
                <a:lnTo>
                  <a:pt x="365560" y="304934"/>
                </a:lnTo>
                <a:lnTo>
                  <a:pt x="355178" y="300362"/>
                </a:lnTo>
                <a:lnTo>
                  <a:pt x="352606" y="298838"/>
                </a:lnTo>
                <a:lnTo>
                  <a:pt x="352606" y="298838"/>
                </a:lnTo>
                <a:lnTo>
                  <a:pt x="354320" y="293885"/>
                </a:lnTo>
                <a:lnTo>
                  <a:pt x="354320" y="293885"/>
                </a:lnTo>
                <a:cubicBezTo>
                  <a:pt x="366733" y="294203"/>
                  <a:pt x="378877" y="290234"/>
                  <a:pt x="388706" y="282646"/>
                </a:cubicBezTo>
                <a:cubicBezTo>
                  <a:pt x="389075" y="283016"/>
                  <a:pt x="389395" y="283432"/>
                  <a:pt x="389658" y="283884"/>
                </a:cubicBezTo>
                <a:cubicBezTo>
                  <a:pt x="390571" y="285024"/>
                  <a:pt x="391280" y="286313"/>
                  <a:pt x="391754" y="287694"/>
                </a:cubicBezTo>
                <a:cubicBezTo>
                  <a:pt x="393754" y="293314"/>
                  <a:pt x="391754" y="299219"/>
                  <a:pt x="393849" y="305601"/>
                </a:cubicBezTo>
                <a:cubicBezTo>
                  <a:pt x="396096" y="315513"/>
                  <a:pt x="401720" y="324335"/>
                  <a:pt x="409756" y="330557"/>
                </a:cubicBezTo>
                <a:cubicBezTo>
                  <a:pt x="412804" y="357227"/>
                  <a:pt x="418614" y="408852"/>
                  <a:pt x="419281" y="423521"/>
                </a:cubicBezTo>
                <a:cubicBezTo>
                  <a:pt x="420299" y="436992"/>
                  <a:pt x="423956" y="450132"/>
                  <a:pt x="430044" y="462192"/>
                </a:cubicBezTo>
                <a:cubicBezTo>
                  <a:pt x="427879" y="454343"/>
                  <a:pt x="426256" y="446355"/>
                  <a:pt x="425186" y="438284"/>
                </a:cubicBezTo>
                <a:cubicBezTo>
                  <a:pt x="423948" y="428759"/>
                  <a:pt x="418900" y="364751"/>
                  <a:pt x="416328" y="331223"/>
                </a:cubicBezTo>
                <a:cubicBezTo>
                  <a:pt x="424329" y="328556"/>
                  <a:pt x="426329" y="308554"/>
                  <a:pt x="431949" y="297219"/>
                </a:cubicBezTo>
                <a:cubicBezTo>
                  <a:pt x="438236" y="299600"/>
                  <a:pt x="444427" y="301791"/>
                  <a:pt x="450999" y="303791"/>
                </a:cubicBezTo>
                <a:cubicBezTo>
                  <a:pt x="464945" y="308555"/>
                  <a:pt x="479448" y="311500"/>
                  <a:pt x="494147" y="312554"/>
                </a:cubicBezTo>
                <a:cubicBezTo>
                  <a:pt x="494147" y="312554"/>
                  <a:pt x="494147" y="312554"/>
                  <a:pt x="494147" y="312554"/>
                </a:cubicBezTo>
                <a:lnTo>
                  <a:pt x="494147" y="312554"/>
                </a:lnTo>
                <a:cubicBezTo>
                  <a:pt x="494147" y="312554"/>
                  <a:pt x="494147" y="311983"/>
                  <a:pt x="494147" y="311983"/>
                </a:cubicBezTo>
                <a:cubicBezTo>
                  <a:pt x="479702" y="310257"/>
                  <a:pt x="465547" y="306638"/>
                  <a:pt x="452047" y="301220"/>
                </a:cubicBezTo>
                <a:cubicBezTo>
                  <a:pt x="446141" y="299029"/>
                  <a:pt x="440140" y="296648"/>
                  <a:pt x="434330" y="294076"/>
                </a:cubicBezTo>
                <a:cubicBezTo>
                  <a:pt x="435407" y="292175"/>
                  <a:pt x="436057" y="290062"/>
                  <a:pt x="436235" y="287885"/>
                </a:cubicBezTo>
                <a:cubicBezTo>
                  <a:pt x="443220" y="288266"/>
                  <a:pt x="450173" y="288456"/>
                  <a:pt x="457095" y="288456"/>
                </a:cubicBezTo>
                <a:cubicBezTo>
                  <a:pt x="471845" y="288778"/>
                  <a:pt x="486574" y="287177"/>
                  <a:pt x="500910" y="283694"/>
                </a:cubicBezTo>
                <a:cubicBezTo>
                  <a:pt x="501086" y="283435"/>
                  <a:pt x="501086" y="283095"/>
                  <a:pt x="500910" y="282836"/>
                </a:cubicBezTo>
                <a:close/>
                <a:moveTo>
                  <a:pt x="183346" y="254261"/>
                </a:moveTo>
                <a:cubicBezTo>
                  <a:pt x="180870" y="257976"/>
                  <a:pt x="176584" y="263786"/>
                  <a:pt x="173821" y="267311"/>
                </a:cubicBezTo>
                <a:lnTo>
                  <a:pt x="135721" y="303887"/>
                </a:lnTo>
                <a:cubicBezTo>
                  <a:pt x="132012" y="306779"/>
                  <a:pt x="127986" y="309239"/>
                  <a:pt x="123720" y="311221"/>
                </a:cubicBezTo>
                <a:lnTo>
                  <a:pt x="166392" y="264929"/>
                </a:lnTo>
                <a:lnTo>
                  <a:pt x="166392" y="264929"/>
                </a:lnTo>
                <a:cubicBezTo>
                  <a:pt x="169249" y="261310"/>
                  <a:pt x="173631" y="255404"/>
                  <a:pt x="175917" y="251404"/>
                </a:cubicBezTo>
                <a:lnTo>
                  <a:pt x="175917" y="251404"/>
                </a:lnTo>
                <a:lnTo>
                  <a:pt x="194967" y="221876"/>
                </a:lnTo>
                <a:lnTo>
                  <a:pt x="194967" y="221876"/>
                </a:lnTo>
                <a:lnTo>
                  <a:pt x="197253" y="218257"/>
                </a:lnTo>
                <a:lnTo>
                  <a:pt x="197253" y="218257"/>
                </a:lnTo>
                <a:lnTo>
                  <a:pt x="199825" y="226353"/>
                </a:lnTo>
                <a:cubicBezTo>
                  <a:pt x="192491" y="239402"/>
                  <a:pt x="183823" y="253690"/>
                  <a:pt x="183346" y="254642"/>
                </a:cubicBezTo>
                <a:close/>
                <a:moveTo>
                  <a:pt x="221446" y="254738"/>
                </a:moveTo>
                <a:lnTo>
                  <a:pt x="220970" y="253404"/>
                </a:lnTo>
                <a:lnTo>
                  <a:pt x="215255" y="238259"/>
                </a:lnTo>
                <a:lnTo>
                  <a:pt x="212207" y="229592"/>
                </a:lnTo>
                <a:lnTo>
                  <a:pt x="211731" y="228068"/>
                </a:lnTo>
                <a:lnTo>
                  <a:pt x="215636" y="221876"/>
                </a:lnTo>
                <a:lnTo>
                  <a:pt x="216779" y="220067"/>
                </a:lnTo>
                <a:cubicBezTo>
                  <a:pt x="217446" y="219114"/>
                  <a:pt x="218208" y="218066"/>
                  <a:pt x="218875" y="216923"/>
                </a:cubicBezTo>
                <a:lnTo>
                  <a:pt x="218875" y="216923"/>
                </a:lnTo>
                <a:cubicBezTo>
                  <a:pt x="218902" y="217113"/>
                  <a:pt x="218902" y="217305"/>
                  <a:pt x="218875" y="217495"/>
                </a:cubicBezTo>
                <a:cubicBezTo>
                  <a:pt x="218834" y="217875"/>
                  <a:pt x="218834" y="218258"/>
                  <a:pt x="218875" y="218638"/>
                </a:cubicBezTo>
                <a:lnTo>
                  <a:pt x="220494" y="223210"/>
                </a:lnTo>
                <a:lnTo>
                  <a:pt x="223256" y="230544"/>
                </a:lnTo>
                <a:lnTo>
                  <a:pt x="223732" y="231782"/>
                </a:lnTo>
                <a:lnTo>
                  <a:pt x="226590" y="239593"/>
                </a:lnTo>
                <a:lnTo>
                  <a:pt x="229447" y="247308"/>
                </a:lnTo>
                <a:lnTo>
                  <a:pt x="231067" y="251880"/>
                </a:lnTo>
                <a:cubicBezTo>
                  <a:pt x="228114" y="252547"/>
                  <a:pt x="224590" y="253785"/>
                  <a:pt x="221066" y="255119"/>
                </a:cubicBez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68" name="Grafik 3">
            <a:extLst>
              <a:ext uri="{FF2B5EF4-FFF2-40B4-BE49-F238E27FC236}">
                <a16:creationId xmlns:a16="http://schemas.microsoft.com/office/drawing/2014/main" id="{23DEDB32-61A1-4C37-B3D1-F8F8C64E578F}"/>
              </a:ext>
            </a:extLst>
          </p:cNvPr>
          <p:cNvSpPr/>
          <p:nvPr/>
        </p:nvSpPr>
        <p:spPr>
          <a:xfrm>
            <a:off x="6310069" y="3433876"/>
            <a:ext cx="532970" cy="444537"/>
          </a:xfrm>
          <a:custGeom>
            <a:avLst/>
            <a:gdLst>
              <a:gd name="connsiteX0" fmla="*/ 447670 w 454183"/>
              <a:gd name="connsiteY0" fmla="*/ 93447 h 378823"/>
              <a:gd name="connsiteX1" fmla="*/ 444050 w 454183"/>
              <a:gd name="connsiteY1" fmla="*/ 93447 h 378823"/>
              <a:gd name="connsiteX2" fmla="*/ 419095 w 454183"/>
              <a:gd name="connsiteY2" fmla="*/ 116402 h 378823"/>
              <a:gd name="connsiteX3" fmla="*/ 406236 w 454183"/>
              <a:gd name="connsiteY3" fmla="*/ 118974 h 378823"/>
              <a:gd name="connsiteX4" fmla="*/ 407284 w 454183"/>
              <a:gd name="connsiteY4" fmla="*/ 121069 h 378823"/>
              <a:gd name="connsiteX5" fmla="*/ 405188 w 454183"/>
              <a:gd name="connsiteY5" fmla="*/ 123641 h 378823"/>
              <a:gd name="connsiteX6" fmla="*/ 352134 w 454183"/>
              <a:gd name="connsiteY6" fmla="*/ 131737 h 378823"/>
              <a:gd name="connsiteX7" fmla="*/ 305843 w 454183"/>
              <a:gd name="connsiteY7" fmla="*/ 171933 h 378823"/>
              <a:gd name="connsiteX8" fmla="*/ 340895 w 454183"/>
              <a:gd name="connsiteY8" fmla="*/ 179458 h 378823"/>
              <a:gd name="connsiteX9" fmla="*/ 350420 w 454183"/>
              <a:gd name="connsiteY9" fmla="*/ 196126 h 378823"/>
              <a:gd name="connsiteX10" fmla="*/ 347562 w 454183"/>
              <a:gd name="connsiteY10" fmla="*/ 209557 h 378823"/>
              <a:gd name="connsiteX11" fmla="*/ 332417 w 454183"/>
              <a:gd name="connsiteY11" fmla="*/ 211938 h 378823"/>
              <a:gd name="connsiteX12" fmla="*/ 338418 w 454183"/>
              <a:gd name="connsiteY12" fmla="*/ 211938 h 378823"/>
              <a:gd name="connsiteX13" fmla="*/ 340228 w 454183"/>
              <a:gd name="connsiteY13" fmla="*/ 210319 h 378823"/>
              <a:gd name="connsiteX14" fmla="*/ 332132 w 454183"/>
              <a:gd name="connsiteY14" fmla="*/ 208033 h 378823"/>
              <a:gd name="connsiteX15" fmla="*/ 338132 w 454183"/>
              <a:gd name="connsiteY15" fmla="*/ 208033 h 378823"/>
              <a:gd name="connsiteX16" fmla="*/ 341561 w 454183"/>
              <a:gd name="connsiteY16" fmla="*/ 203937 h 378823"/>
              <a:gd name="connsiteX17" fmla="*/ 335846 w 454183"/>
              <a:gd name="connsiteY17" fmla="*/ 192983 h 378823"/>
              <a:gd name="connsiteX18" fmla="*/ 319559 w 454183"/>
              <a:gd name="connsiteY18" fmla="*/ 189554 h 378823"/>
              <a:gd name="connsiteX19" fmla="*/ 285078 w 454183"/>
              <a:gd name="connsiteY19" fmla="*/ 209366 h 378823"/>
              <a:gd name="connsiteX20" fmla="*/ 263361 w 454183"/>
              <a:gd name="connsiteY20" fmla="*/ 199841 h 378823"/>
              <a:gd name="connsiteX21" fmla="*/ 257360 w 454183"/>
              <a:gd name="connsiteY21" fmla="*/ 199841 h 378823"/>
              <a:gd name="connsiteX22" fmla="*/ 268028 w 454183"/>
              <a:gd name="connsiteY22" fmla="*/ 233179 h 378823"/>
              <a:gd name="connsiteX23" fmla="*/ 229928 w 454183"/>
              <a:gd name="connsiteY23" fmla="*/ 273374 h 378823"/>
              <a:gd name="connsiteX24" fmla="*/ 236977 w 454183"/>
              <a:gd name="connsiteY24" fmla="*/ 277565 h 378823"/>
              <a:gd name="connsiteX25" fmla="*/ 237453 w 454183"/>
              <a:gd name="connsiteY25" fmla="*/ 277565 h 378823"/>
              <a:gd name="connsiteX26" fmla="*/ 276410 w 454183"/>
              <a:gd name="connsiteY26" fmla="*/ 274422 h 378823"/>
              <a:gd name="connsiteX27" fmla="*/ 293460 w 454183"/>
              <a:gd name="connsiteY27" fmla="*/ 274422 h 378823"/>
              <a:gd name="connsiteX28" fmla="*/ 304128 w 454183"/>
              <a:gd name="connsiteY28" fmla="*/ 285757 h 378823"/>
              <a:gd name="connsiteX29" fmla="*/ 303080 w 454183"/>
              <a:gd name="connsiteY29" fmla="*/ 286519 h 378823"/>
              <a:gd name="connsiteX30" fmla="*/ 295556 w 454183"/>
              <a:gd name="connsiteY30" fmla="*/ 281280 h 378823"/>
              <a:gd name="connsiteX31" fmla="*/ 301842 w 454183"/>
              <a:gd name="connsiteY31" fmla="*/ 289186 h 378823"/>
              <a:gd name="connsiteX32" fmla="*/ 300509 w 454183"/>
              <a:gd name="connsiteY32" fmla="*/ 289948 h 378823"/>
              <a:gd name="connsiteX33" fmla="*/ 282697 w 454183"/>
              <a:gd name="connsiteY33" fmla="*/ 287090 h 378823"/>
              <a:gd name="connsiteX34" fmla="*/ 282697 w 454183"/>
              <a:gd name="connsiteY34" fmla="*/ 287566 h 378823"/>
              <a:gd name="connsiteX35" fmla="*/ 289269 w 454183"/>
              <a:gd name="connsiteY35" fmla="*/ 295377 h 378823"/>
              <a:gd name="connsiteX36" fmla="*/ 286602 w 454183"/>
              <a:gd name="connsiteY36" fmla="*/ 294615 h 378823"/>
              <a:gd name="connsiteX37" fmla="*/ 282221 w 454183"/>
              <a:gd name="connsiteY37" fmla="*/ 292234 h 378823"/>
              <a:gd name="connsiteX38" fmla="*/ 226976 w 454183"/>
              <a:gd name="connsiteY38" fmla="*/ 294901 h 378823"/>
              <a:gd name="connsiteX39" fmla="*/ 214974 w 454183"/>
              <a:gd name="connsiteY39" fmla="*/ 293091 h 378823"/>
              <a:gd name="connsiteX40" fmla="*/ 196972 w 454183"/>
              <a:gd name="connsiteY40" fmla="*/ 295186 h 378823"/>
              <a:gd name="connsiteX41" fmla="*/ 54954 w 454183"/>
              <a:gd name="connsiteY41" fmla="*/ 274041 h 378823"/>
              <a:gd name="connsiteX42" fmla="*/ 38952 w 454183"/>
              <a:gd name="connsiteY42" fmla="*/ 280804 h 378823"/>
              <a:gd name="connsiteX43" fmla="*/ 22188 w 454183"/>
              <a:gd name="connsiteY43" fmla="*/ 315760 h 378823"/>
              <a:gd name="connsiteX44" fmla="*/ 73718 w 454183"/>
              <a:gd name="connsiteY44" fmla="*/ 359766 h 378823"/>
              <a:gd name="connsiteX45" fmla="*/ 155348 w 454183"/>
              <a:gd name="connsiteY45" fmla="*/ 363957 h 378823"/>
              <a:gd name="connsiteX46" fmla="*/ 248693 w 454183"/>
              <a:gd name="connsiteY46" fmla="*/ 358718 h 378823"/>
              <a:gd name="connsiteX47" fmla="*/ 251360 w 454183"/>
              <a:gd name="connsiteY47" fmla="*/ 359766 h 378823"/>
              <a:gd name="connsiteX48" fmla="*/ 247645 w 454183"/>
              <a:gd name="connsiteY48" fmla="*/ 361671 h 378823"/>
              <a:gd name="connsiteX49" fmla="*/ 241930 w 454183"/>
              <a:gd name="connsiteY49" fmla="*/ 362623 h 378823"/>
              <a:gd name="connsiteX50" fmla="*/ 230690 w 454183"/>
              <a:gd name="connsiteY50" fmla="*/ 365005 h 378823"/>
              <a:gd name="connsiteX51" fmla="*/ 207640 w 454183"/>
              <a:gd name="connsiteY51" fmla="*/ 369481 h 378823"/>
              <a:gd name="connsiteX52" fmla="*/ 184113 w 454183"/>
              <a:gd name="connsiteY52" fmla="*/ 372815 h 378823"/>
              <a:gd name="connsiteX53" fmla="*/ 159824 w 454183"/>
              <a:gd name="connsiteY53" fmla="*/ 375673 h 378823"/>
              <a:gd name="connsiteX54" fmla="*/ 134964 w 454183"/>
              <a:gd name="connsiteY54" fmla="*/ 377768 h 378823"/>
              <a:gd name="connsiteX55" fmla="*/ 132107 w 454183"/>
              <a:gd name="connsiteY55" fmla="*/ 377768 h 378823"/>
              <a:gd name="connsiteX56" fmla="*/ 11806 w 454183"/>
              <a:gd name="connsiteY56" fmla="*/ 349860 h 378823"/>
              <a:gd name="connsiteX57" fmla="*/ 15711 w 454183"/>
              <a:gd name="connsiteY57" fmla="*/ 269564 h 378823"/>
              <a:gd name="connsiteX58" fmla="*/ 43143 w 454183"/>
              <a:gd name="connsiteY58" fmla="*/ 253372 h 378823"/>
              <a:gd name="connsiteX59" fmla="*/ 72194 w 454183"/>
              <a:gd name="connsiteY59" fmla="*/ 106115 h 378823"/>
              <a:gd name="connsiteX60" fmla="*/ 137060 w 454183"/>
              <a:gd name="connsiteY60" fmla="*/ 57823 h 378823"/>
              <a:gd name="connsiteX61" fmla="*/ 254979 w 454183"/>
              <a:gd name="connsiteY61" fmla="*/ 47632 h 378823"/>
              <a:gd name="connsiteX62" fmla="*/ 259742 w 454183"/>
              <a:gd name="connsiteY62" fmla="*/ 45631 h 378823"/>
              <a:gd name="connsiteX63" fmla="*/ 292889 w 454183"/>
              <a:gd name="connsiteY63" fmla="*/ 29439 h 378823"/>
              <a:gd name="connsiteX64" fmla="*/ 298413 w 454183"/>
              <a:gd name="connsiteY64" fmla="*/ 27820 h 378823"/>
              <a:gd name="connsiteX65" fmla="*/ 296603 w 454183"/>
              <a:gd name="connsiteY65" fmla="*/ 24200 h 378823"/>
              <a:gd name="connsiteX66" fmla="*/ 303366 w 454183"/>
              <a:gd name="connsiteY66" fmla="*/ 8198 h 378823"/>
              <a:gd name="connsiteX67" fmla="*/ 329274 w 454183"/>
              <a:gd name="connsiteY67" fmla="*/ 19438 h 378823"/>
              <a:gd name="connsiteX68" fmla="*/ 338799 w 454183"/>
              <a:gd name="connsiteY68" fmla="*/ 864 h 378823"/>
              <a:gd name="connsiteX69" fmla="*/ 355986 w 454183"/>
              <a:gd name="connsiteY69" fmla="*/ 8627 h 378823"/>
              <a:gd name="connsiteX70" fmla="*/ 356516 w 454183"/>
              <a:gd name="connsiteY70" fmla="*/ 10389 h 378823"/>
              <a:gd name="connsiteX71" fmla="*/ 358611 w 454183"/>
              <a:gd name="connsiteY71" fmla="*/ 30487 h 378823"/>
              <a:gd name="connsiteX72" fmla="*/ 411475 w 454183"/>
              <a:gd name="connsiteY72" fmla="*/ 53632 h 378823"/>
              <a:gd name="connsiteX73" fmla="*/ 453861 w 454183"/>
              <a:gd name="connsiteY73" fmla="*/ 84398 h 378823"/>
              <a:gd name="connsiteX74" fmla="*/ 447670 w 454183"/>
              <a:gd name="connsiteY74" fmla="*/ 93447 h 378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454183" h="378823">
                <a:moveTo>
                  <a:pt x="447670" y="93447"/>
                </a:moveTo>
                <a:cubicBezTo>
                  <a:pt x="446466" y="93568"/>
                  <a:pt x="445254" y="93568"/>
                  <a:pt x="444050" y="93447"/>
                </a:cubicBezTo>
                <a:cubicBezTo>
                  <a:pt x="437411" y="102744"/>
                  <a:pt x="428913" y="110561"/>
                  <a:pt x="419095" y="116402"/>
                </a:cubicBezTo>
                <a:cubicBezTo>
                  <a:pt x="415041" y="118165"/>
                  <a:pt x="410657" y="119042"/>
                  <a:pt x="406236" y="118974"/>
                </a:cubicBezTo>
                <a:cubicBezTo>
                  <a:pt x="406742" y="119582"/>
                  <a:pt x="407100" y="120300"/>
                  <a:pt x="407284" y="121069"/>
                </a:cubicBezTo>
                <a:cubicBezTo>
                  <a:pt x="408046" y="122689"/>
                  <a:pt x="405950" y="123165"/>
                  <a:pt x="405188" y="123641"/>
                </a:cubicBezTo>
                <a:cubicBezTo>
                  <a:pt x="391091" y="128594"/>
                  <a:pt x="379280" y="122117"/>
                  <a:pt x="352134" y="131737"/>
                </a:cubicBezTo>
                <a:cubicBezTo>
                  <a:pt x="322797" y="142215"/>
                  <a:pt x="311272" y="157836"/>
                  <a:pt x="305843" y="171933"/>
                </a:cubicBezTo>
                <a:cubicBezTo>
                  <a:pt x="317661" y="173769"/>
                  <a:pt x="329364" y="176281"/>
                  <a:pt x="340895" y="179458"/>
                </a:cubicBezTo>
                <a:cubicBezTo>
                  <a:pt x="348134" y="182601"/>
                  <a:pt x="348991" y="188983"/>
                  <a:pt x="350420" y="196126"/>
                </a:cubicBezTo>
                <a:cubicBezTo>
                  <a:pt x="352739" y="200719"/>
                  <a:pt x="351550" y="206306"/>
                  <a:pt x="347562" y="209557"/>
                </a:cubicBezTo>
                <a:cubicBezTo>
                  <a:pt x="343657" y="213462"/>
                  <a:pt x="336608" y="217653"/>
                  <a:pt x="332417" y="211938"/>
                </a:cubicBezTo>
                <a:cubicBezTo>
                  <a:pt x="334227" y="210890"/>
                  <a:pt x="336323" y="212986"/>
                  <a:pt x="338418" y="211938"/>
                </a:cubicBezTo>
                <a:cubicBezTo>
                  <a:pt x="339186" y="211616"/>
                  <a:pt x="339823" y="211046"/>
                  <a:pt x="340228" y="210319"/>
                </a:cubicBezTo>
                <a:cubicBezTo>
                  <a:pt x="337331" y="211610"/>
                  <a:pt x="333925" y="210648"/>
                  <a:pt x="332132" y="208033"/>
                </a:cubicBezTo>
                <a:cubicBezTo>
                  <a:pt x="333941" y="206985"/>
                  <a:pt x="336037" y="209080"/>
                  <a:pt x="338132" y="208033"/>
                </a:cubicBezTo>
                <a:cubicBezTo>
                  <a:pt x="339811" y="207224"/>
                  <a:pt x="341061" y="205732"/>
                  <a:pt x="341561" y="203937"/>
                </a:cubicBezTo>
                <a:cubicBezTo>
                  <a:pt x="337656" y="200508"/>
                  <a:pt x="337942" y="197650"/>
                  <a:pt x="335846" y="192983"/>
                </a:cubicBezTo>
                <a:cubicBezTo>
                  <a:pt x="333751" y="188316"/>
                  <a:pt x="324607" y="188792"/>
                  <a:pt x="319559" y="189554"/>
                </a:cubicBezTo>
                <a:cubicBezTo>
                  <a:pt x="306033" y="191650"/>
                  <a:pt x="297651" y="205461"/>
                  <a:pt x="285078" y="209366"/>
                </a:cubicBezTo>
                <a:cubicBezTo>
                  <a:pt x="276488" y="211867"/>
                  <a:pt x="267340" y="207855"/>
                  <a:pt x="263361" y="199841"/>
                </a:cubicBezTo>
                <a:cubicBezTo>
                  <a:pt x="261385" y="199398"/>
                  <a:pt x="259336" y="199398"/>
                  <a:pt x="257360" y="199841"/>
                </a:cubicBezTo>
                <a:cubicBezTo>
                  <a:pt x="263110" y="210128"/>
                  <a:pt x="266738" y="221464"/>
                  <a:pt x="268028" y="233179"/>
                </a:cubicBezTo>
                <a:cubicBezTo>
                  <a:pt x="268028" y="248323"/>
                  <a:pt x="250788" y="262706"/>
                  <a:pt x="229928" y="273374"/>
                </a:cubicBezTo>
                <a:cubicBezTo>
                  <a:pt x="232088" y="275068"/>
                  <a:pt x="234457" y="276476"/>
                  <a:pt x="236977" y="277565"/>
                </a:cubicBezTo>
                <a:cubicBezTo>
                  <a:pt x="237128" y="277496"/>
                  <a:pt x="237302" y="277496"/>
                  <a:pt x="237453" y="277565"/>
                </a:cubicBezTo>
                <a:cubicBezTo>
                  <a:pt x="250598" y="277565"/>
                  <a:pt x="263361" y="274993"/>
                  <a:pt x="276410" y="274422"/>
                </a:cubicBezTo>
                <a:cubicBezTo>
                  <a:pt x="282045" y="273373"/>
                  <a:pt x="287825" y="273373"/>
                  <a:pt x="293460" y="274422"/>
                </a:cubicBezTo>
                <a:cubicBezTo>
                  <a:pt x="298351" y="276674"/>
                  <a:pt x="302176" y="280738"/>
                  <a:pt x="304128" y="285757"/>
                </a:cubicBezTo>
                <a:cubicBezTo>
                  <a:pt x="304128" y="286804"/>
                  <a:pt x="304128" y="287090"/>
                  <a:pt x="303080" y="286519"/>
                </a:cubicBezTo>
                <a:cubicBezTo>
                  <a:pt x="302033" y="285947"/>
                  <a:pt x="297651" y="282613"/>
                  <a:pt x="295556" y="281280"/>
                </a:cubicBezTo>
                <a:cubicBezTo>
                  <a:pt x="298251" y="283377"/>
                  <a:pt x="300406" y="286087"/>
                  <a:pt x="301842" y="289186"/>
                </a:cubicBezTo>
                <a:cubicBezTo>
                  <a:pt x="301842" y="290233"/>
                  <a:pt x="301271" y="290424"/>
                  <a:pt x="300509" y="289948"/>
                </a:cubicBezTo>
                <a:cubicBezTo>
                  <a:pt x="295271" y="286445"/>
                  <a:pt x="288767" y="285402"/>
                  <a:pt x="282697" y="287090"/>
                </a:cubicBezTo>
                <a:cubicBezTo>
                  <a:pt x="281649" y="287090"/>
                  <a:pt x="281649" y="287090"/>
                  <a:pt x="282697" y="287566"/>
                </a:cubicBezTo>
                <a:cubicBezTo>
                  <a:pt x="285840" y="288328"/>
                  <a:pt x="290031" y="292519"/>
                  <a:pt x="289269" y="295377"/>
                </a:cubicBezTo>
                <a:cubicBezTo>
                  <a:pt x="288507" y="298234"/>
                  <a:pt x="287459" y="295377"/>
                  <a:pt x="286602" y="294615"/>
                </a:cubicBezTo>
                <a:cubicBezTo>
                  <a:pt x="285433" y="293375"/>
                  <a:pt x="283897" y="292540"/>
                  <a:pt x="282221" y="292234"/>
                </a:cubicBezTo>
                <a:cubicBezTo>
                  <a:pt x="279077" y="291472"/>
                  <a:pt x="236977" y="294901"/>
                  <a:pt x="226976" y="294901"/>
                </a:cubicBezTo>
                <a:cubicBezTo>
                  <a:pt x="222908" y="294886"/>
                  <a:pt x="218865" y="294276"/>
                  <a:pt x="214974" y="293091"/>
                </a:cubicBezTo>
                <a:cubicBezTo>
                  <a:pt x="209057" y="294383"/>
                  <a:pt x="203027" y="295084"/>
                  <a:pt x="196972" y="295186"/>
                </a:cubicBezTo>
                <a:cubicBezTo>
                  <a:pt x="114295" y="294329"/>
                  <a:pt x="82672" y="277660"/>
                  <a:pt x="54954" y="274041"/>
                </a:cubicBezTo>
                <a:cubicBezTo>
                  <a:pt x="49390" y="275707"/>
                  <a:pt x="44024" y="277975"/>
                  <a:pt x="38952" y="280804"/>
                </a:cubicBezTo>
                <a:cubicBezTo>
                  <a:pt x="25331" y="288328"/>
                  <a:pt x="21712" y="299854"/>
                  <a:pt x="22188" y="315760"/>
                </a:cubicBezTo>
                <a:cubicBezTo>
                  <a:pt x="23045" y="344907"/>
                  <a:pt x="44762" y="354622"/>
                  <a:pt x="73718" y="359766"/>
                </a:cubicBezTo>
                <a:cubicBezTo>
                  <a:pt x="100781" y="363249"/>
                  <a:pt x="128071" y="364650"/>
                  <a:pt x="155348" y="363957"/>
                </a:cubicBezTo>
                <a:cubicBezTo>
                  <a:pt x="187828" y="363957"/>
                  <a:pt x="217355" y="361099"/>
                  <a:pt x="248693" y="358718"/>
                </a:cubicBezTo>
                <a:cubicBezTo>
                  <a:pt x="249264" y="358718"/>
                  <a:pt x="251360" y="358718"/>
                  <a:pt x="251360" y="359766"/>
                </a:cubicBezTo>
                <a:cubicBezTo>
                  <a:pt x="251360" y="360814"/>
                  <a:pt x="248216" y="361385"/>
                  <a:pt x="247645" y="361671"/>
                </a:cubicBezTo>
                <a:cubicBezTo>
                  <a:pt x="245770" y="362150"/>
                  <a:pt x="243858" y="362469"/>
                  <a:pt x="241930" y="362623"/>
                </a:cubicBezTo>
                <a:lnTo>
                  <a:pt x="230690" y="365005"/>
                </a:lnTo>
                <a:cubicBezTo>
                  <a:pt x="223070" y="366624"/>
                  <a:pt x="215546" y="368148"/>
                  <a:pt x="207640" y="369481"/>
                </a:cubicBezTo>
                <a:cubicBezTo>
                  <a:pt x="199734" y="370815"/>
                  <a:pt x="191924" y="371767"/>
                  <a:pt x="184113" y="372815"/>
                </a:cubicBezTo>
                <a:cubicBezTo>
                  <a:pt x="176303" y="373863"/>
                  <a:pt x="167921" y="374911"/>
                  <a:pt x="159824" y="375673"/>
                </a:cubicBezTo>
                <a:cubicBezTo>
                  <a:pt x="151728" y="376435"/>
                  <a:pt x="143346" y="377292"/>
                  <a:pt x="134964" y="377768"/>
                </a:cubicBezTo>
                <a:cubicBezTo>
                  <a:pt x="134016" y="377641"/>
                  <a:pt x="133055" y="377641"/>
                  <a:pt x="132107" y="377768"/>
                </a:cubicBezTo>
                <a:cubicBezTo>
                  <a:pt x="90197" y="380149"/>
                  <a:pt x="35047" y="381197"/>
                  <a:pt x="11806" y="349860"/>
                </a:cubicBezTo>
                <a:cubicBezTo>
                  <a:pt x="-3434" y="329762"/>
                  <a:pt x="-5720" y="290710"/>
                  <a:pt x="15711" y="269564"/>
                </a:cubicBezTo>
                <a:cubicBezTo>
                  <a:pt x="23591" y="262266"/>
                  <a:pt x="32946" y="256744"/>
                  <a:pt x="43143" y="253372"/>
                </a:cubicBezTo>
                <a:cubicBezTo>
                  <a:pt x="70861" y="221368"/>
                  <a:pt x="41048" y="167647"/>
                  <a:pt x="72194" y="106115"/>
                </a:cubicBezTo>
                <a:cubicBezTo>
                  <a:pt x="88176" y="83574"/>
                  <a:pt x="110882" y="66669"/>
                  <a:pt x="137060" y="57823"/>
                </a:cubicBezTo>
                <a:cubicBezTo>
                  <a:pt x="200020" y="36106"/>
                  <a:pt x="228023" y="57157"/>
                  <a:pt x="254979" y="47632"/>
                </a:cubicBezTo>
                <a:cubicBezTo>
                  <a:pt x="256615" y="47087"/>
                  <a:pt x="258207" y="46419"/>
                  <a:pt x="259742" y="45631"/>
                </a:cubicBezTo>
                <a:cubicBezTo>
                  <a:pt x="270695" y="40393"/>
                  <a:pt x="281459" y="33630"/>
                  <a:pt x="292889" y="29439"/>
                </a:cubicBezTo>
                <a:lnTo>
                  <a:pt x="298413" y="27820"/>
                </a:lnTo>
                <a:cubicBezTo>
                  <a:pt x="297641" y="26705"/>
                  <a:pt x="297032" y="25486"/>
                  <a:pt x="296603" y="24200"/>
                </a:cubicBezTo>
                <a:cubicBezTo>
                  <a:pt x="294165" y="17915"/>
                  <a:pt x="297159" y="10829"/>
                  <a:pt x="303366" y="8198"/>
                </a:cubicBezTo>
                <a:cubicBezTo>
                  <a:pt x="312891" y="4769"/>
                  <a:pt x="322416" y="10770"/>
                  <a:pt x="329274" y="19438"/>
                </a:cubicBezTo>
                <a:cubicBezTo>
                  <a:pt x="328313" y="11874"/>
                  <a:pt x="332096" y="4497"/>
                  <a:pt x="338799" y="864"/>
                </a:cubicBezTo>
                <a:cubicBezTo>
                  <a:pt x="345689" y="-1738"/>
                  <a:pt x="353383" y="1737"/>
                  <a:pt x="355986" y="8627"/>
                </a:cubicBezTo>
                <a:cubicBezTo>
                  <a:pt x="356203" y="9201"/>
                  <a:pt x="356380" y="9790"/>
                  <a:pt x="356516" y="10389"/>
                </a:cubicBezTo>
                <a:cubicBezTo>
                  <a:pt x="358402" y="16910"/>
                  <a:pt x="359112" y="23716"/>
                  <a:pt x="358611" y="30487"/>
                </a:cubicBezTo>
                <a:cubicBezTo>
                  <a:pt x="382995" y="35916"/>
                  <a:pt x="405188" y="45346"/>
                  <a:pt x="411475" y="53632"/>
                </a:cubicBezTo>
                <a:cubicBezTo>
                  <a:pt x="417761" y="61919"/>
                  <a:pt x="452528" y="81255"/>
                  <a:pt x="453861" y="84398"/>
                </a:cubicBezTo>
                <a:cubicBezTo>
                  <a:pt x="455195" y="87541"/>
                  <a:pt x="452242" y="91637"/>
                  <a:pt x="447670" y="93447"/>
                </a:cubicBez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269" name="Grafik 16">
            <a:extLst>
              <a:ext uri="{FF2B5EF4-FFF2-40B4-BE49-F238E27FC236}">
                <a16:creationId xmlns:a16="http://schemas.microsoft.com/office/drawing/2014/main" id="{DD3283C1-A480-4083-9D39-B214445C8917}"/>
              </a:ext>
            </a:extLst>
          </p:cNvPr>
          <p:cNvGrpSpPr/>
          <p:nvPr/>
        </p:nvGrpSpPr>
        <p:grpSpPr>
          <a:xfrm>
            <a:off x="7098768" y="3381511"/>
            <a:ext cx="483392" cy="549266"/>
            <a:chOff x="4366783" y="3195723"/>
            <a:chExt cx="411934" cy="468070"/>
          </a:xfrm>
          <a:solidFill>
            <a:srgbClr val="808080"/>
          </a:solidFill>
        </p:grpSpPr>
        <p:sp>
          <p:nvSpPr>
            <p:cNvPr id="270" name="Freihandform: Form 22">
              <a:extLst>
                <a:ext uri="{FF2B5EF4-FFF2-40B4-BE49-F238E27FC236}">
                  <a16:creationId xmlns:a16="http://schemas.microsoft.com/office/drawing/2014/main" id="{8453D324-681A-4E76-9282-40C44A0A1DB7}"/>
                </a:ext>
              </a:extLst>
            </p:cNvPr>
            <p:cNvSpPr/>
            <p:nvPr/>
          </p:nvSpPr>
          <p:spPr>
            <a:xfrm>
              <a:off x="4476367" y="3195723"/>
              <a:ext cx="302349" cy="282234"/>
            </a:xfrm>
            <a:custGeom>
              <a:avLst/>
              <a:gdLst>
                <a:gd name="connsiteX0" fmla="*/ 108490 w 302349"/>
                <a:gd name="connsiteY0" fmla="*/ 277091 h 282234"/>
                <a:gd name="connsiteX1" fmla="*/ 226505 w 302349"/>
                <a:gd name="connsiteY1" fmla="*/ 282234 h 282234"/>
                <a:gd name="connsiteX2" fmla="*/ 282210 w 302349"/>
                <a:gd name="connsiteY2" fmla="*/ 75844 h 282234"/>
                <a:gd name="connsiteX3" fmla="*/ 75820 w 302349"/>
                <a:gd name="connsiteY3" fmla="*/ 20140 h 282234"/>
                <a:gd name="connsiteX4" fmla="*/ 1 w 302349"/>
                <a:gd name="connsiteY4" fmla="*/ 151170 h 282234"/>
                <a:gd name="connsiteX5" fmla="*/ 5620 w 302349"/>
                <a:gd name="connsiteY5" fmla="*/ 192033 h 282234"/>
                <a:gd name="connsiteX6" fmla="*/ 108490 w 302349"/>
                <a:gd name="connsiteY6" fmla="*/ 277091 h 282234"/>
                <a:gd name="connsiteX7" fmla="*/ 94870 w 302349"/>
                <a:gd name="connsiteY7" fmla="*/ 81733 h 282234"/>
                <a:gd name="connsiteX8" fmla="*/ 118682 w 302349"/>
                <a:gd name="connsiteY8" fmla="*/ 81733 h 282234"/>
                <a:gd name="connsiteX9" fmla="*/ 193168 w 302349"/>
                <a:gd name="connsiteY9" fmla="*/ 202605 h 282234"/>
                <a:gd name="connsiteX10" fmla="*/ 193168 w 302349"/>
                <a:gd name="connsiteY10" fmla="*/ 81733 h 282234"/>
                <a:gd name="connsiteX11" fmla="*/ 212218 w 302349"/>
                <a:gd name="connsiteY11" fmla="*/ 81733 h 282234"/>
                <a:gd name="connsiteX12" fmla="*/ 212218 w 302349"/>
                <a:gd name="connsiteY12" fmla="*/ 231371 h 282234"/>
                <a:gd name="connsiteX13" fmla="*/ 189834 w 302349"/>
                <a:gd name="connsiteY13" fmla="*/ 231371 h 282234"/>
                <a:gd name="connsiteX14" fmla="*/ 114205 w 302349"/>
                <a:gd name="connsiteY14" fmla="*/ 110594 h 282234"/>
                <a:gd name="connsiteX15" fmla="*/ 114205 w 302349"/>
                <a:gd name="connsiteY15" fmla="*/ 231371 h 282234"/>
                <a:gd name="connsiteX16" fmla="*/ 95155 w 302349"/>
                <a:gd name="connsiteY16" fmla="*/ 231371 h 282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02349" h="282234">
                  <a:moveTo>
                    <a:pt x="108490" y="277091"/>
                  </a:moveTo>
                  <a:cubicBezTo>
                    <a:pt x="145408" y="255411"/>
                    <a:pt x="191614" y="257425"/>
                    <a:pt x="226505" y="282234"/>
                  </a:cubicBezTo>
                  <a:cubicBezTo>
                    <a:pt x="298881" y="240624"/>
                    <a:pt x="323820" y="148220"/>
                    <a:pt x="282210" y="75844"/>
                  </a:cubicBezTo>
                  <a:cubicBezTo>
                    <a:pt x="240599" y="3469"/>
                    <a:pt x="148195" y="-21471"/>
                    <a:pt x="75820" y="20140"/>
                  </a:cubicBezTo>
                  <a:cubicBezTo>
                    <a:pt x="28921" y="47103"/>
                    <a:pt x="7" y="97073"/>
                    <a:pt x="1" y="151170"/>
                  </a:cubicBezTo>
                  <a:cubicBezTo>
                    <a:pt x="-42" y="164987"/>
                    <a:pt x="1849" y="178741"/>
                    <a:pt x="5620" y="192033"/>
                  </a:cubicBezTo>
                  <a:cubicBezTo>
                    <a:pt x="52504" y="200276"/>
                    <a:pt x="91585" y="232591"/>
                    <a:pt x="108490" y="277091"/>
                  </a:cubicBezTo>
                  <a:close/>
                  <a:moveTo>
                    <a:pt x="94870" y="81733"/>
                  </a:moveTo>
                  <a:lnTo>
                    <a:pt x="118682" y="81733"/>
                  </a:lnTo>
                  <a:lnTo>
                    <a:pt x="193168" y="202605"/>
                  </a:lnTo>
                  <a:lnTo>
                    <a:pt x="193168" y="81733"/>
                  </a:lnTo>
                  <a:lnTo>
                    <a:pt x="212218" y="81733"/>
                  </a:lnTo>
                  <a:lnTo>
                    <a:pt x="212218" y="231371"/>
                  </a:lnTo>
                  <a:lnTo>
                    <a:pt x="189834" y="231371"/>
                  </a:lnTo>
                  <a:lnTo>
                    <a:pt x="114205" y="110594"/>
                  </a:lnTo>
                  <a:lnTo>
                    <a:pt x="114205" y="231371"/>
                  </a:lnTo>
                  <a:lnTo>
                    <a:pt x="95155" y="2313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1" name="Freihandform: Form 25">
              <a:extLst>
                <a:ext uri="{FF2B5EF4-FFF2-40B4-BE49-F238E27FC236}">
                  <a16:creationId xmlns:a16="http://schemas.microsoft.com/office/drawing/2014/main" id="{F4D25A43-8E33-4499-9957-D563DA40D75F}"/>
                </a:ext>
              </a:extLst>
            </p:cNvPr>
            <p:cNvSpPr/>
            <p:nvPr/>
          </p:nvSpPr>
          <p:spPr>
            <a:xfrm>
              <a:off x="4366783" y="3407186"/>
              <a:ext cx="202739" cy="209550"/>
            </a:xfrm>
            <a:custGeom>
              <a:avLst/>
              <a:gdLst>
                <a:gd name="connsiteX0" fmla="*/ 202740 w 202739"/>
                <a:gd name="connsiteY0" fmla="*/ 75820 h 209550"/>
                <a:gd name="connsiteX1" fmla="*/ 121777 w 202739"/>
                <a:gd name="connsiteY1" fmla="*/ 1430 h 209550"/>
                <a:gd name="connsiteX2" fmla="*/ 105204 w 202739"/>
                <a:gd name="connsiteY2" fmla="*/ 1 h 209550"/>
                <a:gd name="connsiteX3" fmla="*/ 1 w 202739"/>
                <a:gd name="connsiteY3" fmla="*/ 104347 h 209550"/>
                <a:gd name="connsiteX4" fmla="*/ 104347 w 202739"/>
                <a:gd name="connsiteY4" fmla="*/ 209549 h 209550"/>
                <a:gd name="connsiteX5" fmla="*/ 165687 w 202739"/>
                <a:gd name="connsiteY5" fmla="*/ 190025 h 209550"/>
                <a:gd name="connsiteX6" fmla="*/ 202740 w 202739"/>
                <a:gd name="connsiteY6" fmla="*/ 75820 h 209550"/>
                <a:gd name="connsiteX7" fmla="*/ 138065 w 202739"/>
                <a:gd name="connsiteY7" fmla="*/ 108872 h 209550"/>
                <a:gd name="connsiteX8" fmla="*/ 115872 w 202739"/>
                <a:gd name="connsiteY8" fmla="*/ 117539 h 209550"/>
                <a:gd name="connsiteX9" fmla="*/ 84820 w 202739"/>
                <a:gd name="connsiteY9" fmla="*/ 117539 h 209550"/>
                <a:gd name="connsiteX10" fmla="*/ 84820 w 202739"/>
                <a:gd name="connsiteY10" fmla="*/ 159926 h 209550"/>
                <a:gd name="connsiteX11" fmla="*/ 71295 w 202739"/>
                <a:gd name="connsiteY11" fmla="*/ 159926 h 209550"/>
                <a:gd name="connsiteX12" fmla="*/ 71295 w 202739"/>
                <a:gd name="connsiteY12" fmla="*/ 59913 h 209550"/>
                <a:gd name="connsiteX13" fmla="*/ 115872 w 202739"/>
                <a:gd name="connsiteY13" fmla="*/ 59913 h 209550"/>
                <a:gd name="connsiteX14" fmla="*/ 137208 w 202739"/>
                <a:gd name="connsiteY14" fmla="*/ 67438 h 209550"/>
                <a:gd name="connsiteX15" fmla="*/ 145304 w 202739"/>
                <a:gd name="connsiteY15" fmla="*/ 88488 h 209550"/>
                <a:gd name="connsiteX16" fmla="*/ 138065 w 202739"/>
                <a:gd name="connsiteY16" fmla="*/ 108872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2739" h="209550">
                  <a:moveTo>
                    <a:pt x="202740" y="75820"/>
                  </a:moveTo>
                  <a:cubicBezTo>
                    <a:pt x="178641" y="21623"/>
                    <a:pt x="141875" y="5906"/>
                    <a:pt x="121777" y="1430"/>
                  </a:cubicBezTo>
                  <a:cubicBezTo>
                    <a:pt x="116298" y="522"/>
                    <a:pt x="110757" y="44"/>
                    <a:pt x="105204" y="1"/>
                  </a:cubicBezTo>
                  <a:cubicBezTo>
                    <a:pt x="47338" y="-236"/>
                    <a:pt x="238" y="46481"/>
                    <a:pt x="1" y="104347"/>
                  </a:cubicBezTo>
                  <a:cubicBezTo>
                    <a:pt x="-236" y="162212"/>
                    <a:pt x="46481" y="209312"/>
                    <a:pt x="104347" y="209549"/>
                  </a:cubicBezTo>
                  <a:cubicBezTo>
                    <a:pt x="126336" y="209639"/>
                    <a:pt x="147796" y="202808"/>
                    <a:pt x="165687" y="190025"/>
                  </a:cubicBezTo>
                  <a:cubicBezTo>
                    <a:pt x="152512" y="147951"/>
                    <a:pt x="167373" y="102145"/>
                    <a:pt x="202740" y="75820"/>
                  </a:cubicBezTo>
                  <a:close/>
                  <a:moveTo>
                    <a:pt x="138065" y="108872"/>
                  </a:moveTo>
                  <a:cubicBezTo>
                    <a:pt x="132398" y="115026"/>
                    <a:pt x="124210" y="118224"/>
                    <a:pt x="115872" y="117539"/>
                  </a:cubicBezTo>
                  <a:lnTo>
                    <a:pt x="84820" y="117539"/>
                  </a:lnTo>
                  <a:lnTo>
                    <a:pt x="84820" y="159926"/>
                  </a:lnTo>
                  <a:lnTo>
                    <a:pt x="71295" y="159926"/>
                  </a:lnTo>
                  <a:lnTo>
                    <a:pt x="71295" y="59913"/>
                  </a:lnTo>
                  <a:lnTo>
                    <a:pt x="115872" y="59913"/>
                  </a:lnTo>
                  <a:cubicBezTo>
                    <a:pt x="123684" y="59601"/>
                    <a:pt x="131319" y="62294"/>
                    <a:pt x="137208" y="67438"/>
                  </a:cubicBezTo>
                  <a:cubicBezTo>
                    <a:pt x="142821" y="72956"/>
                    <a:pt x="145773" y="80631"/>
                    <a:pt x="145304" y="88488"/>
                  </a:cubicBezTo>
                  <a:cubicBezTo>
                    <a:pt x="145446" y="95936"/>
                    <a:pt x="142873" y="103182"/>
                    <a:pt x="138065" y="10887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2" name="Freihandform: Form 26">
              <a:extLst>
                <a:ext uri="{FF2B5EF4-FFF2-40B4-BE49-F238E27FC236}">
                  <a16:creationId xmlns:a16="http://schemas.microsoft.com/office/drawing/2014/main" id="{AF37691E-C00E-43E4-85B5-FFFB1C10C122}"/>
                </a:ext>
              </a:extLst>
            </p:cNvPr>
            <p:cNvSpPr/>
            <p:nvPr/>
          </p:nvSpPr>
          <p:spPr>
            <a:xfrm>
              <a:off x="4451603" y="3478700"/>
              <a:ext cx="46966" cy="34629"/>
            </a:xfrm>
            <a:custGeom>
              <a:avLst/>
              <a:gdLst>
                <a:gd name="connsiteX0" fmla="*/ 38767 w 46966"/>
                <a:gd name="connsiteY0" fmla="*/ 2115 h 34629"/>
                <a:gd name="connsiteX1" fmla="*/ 26670 w 46966"/>
                <a:gd name="connsiteY1" fmla="*/ 20 h 34629"/>
                <a:gd name="connsiteX2" fmla="*/ 0 w 46966"/>
                <a:gd name="connsiteY2" fmla="*/ 20 h 34629"/>
                <a:gd name="connsiteX3" fmla="*/ 0 w 46966"/>
                <a:gd name="connsiteY3" fmla="*/ 34596 h 34629"/>
                <a:gd name="connsiteX4" fmla="*/ 26670 w 46966"/>
                <a:gd name="connsiteY4" fmla="*/ 34596 h 34629"/>
                <a:gd name="connsiteX5" fmla="*/ 41243 w 46966"/>
                <a:gd name="connsiteY5" fmla="*/ 30690 h 34629"/>
                <a:gd name="connsiteX6" fmla="*/ 46863 w 46966"/>
                <a:gd name="connsiteY6" fmla="*/ 17070 h 34629"/>
                <a:gd name="connsiteX7" fmla="*/ 38767 w 46966"/>
                <a:gd name="connsiteY7" fmla="*/ 2115 h 34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966" h="34629">
                  <a:moveTo>
                    <a:pt x="38767" y="2115"/>
                  </a:moveTo>
                  <a:cubicBezTo>
                    <a:pt x="34924" y="582"/>
                    <a:pt x="30804" y="-131"/>
                    <a:pt x="26670" y="20"/>
                  </a:cubicBezTo>
                  <a:lnTo>
                    <a:pt x="0" y="20"/>
                  </a:lnTo>
                  <a:lnTo>
                    <a:pt x="0" y="34596"/>
                  </a:lnTo>
                  <a:lnTo>
                    <a:pt x="26670" y="34596"/>
                  </a:lnTo>
                  <a:cubicBezTo>
                    <a:pt x="31818" y="34867"/>
                    <a:pt x="36921" y="33500"/>
                    <a:pt x="41243" y="30690"/>
                  </a:cubicBezTo>
                  <a:cubicBezTo>
                    <a:pt x="45348" y="27429"/>
                    <a:pt x="47474" y="22276"/>
                    <a:pt x="46863" y="17070"/>
                  </a:cubicBezTo>
                  <a:cubicBezTo>
                    <a:pt x="47509" y="10892"/>
                    <a:pt x="44293" y="4952"/>
                    <a:pt x="38767" y="211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3" name="Freihandform: Form 27">
              <a:extLst>
                <a:ext uri="{FF2B5EF4-FFF2-40B4-BE49-F238E27FC236}">
                  <a16:creationId xmlns:a16="http://schemas.microsoft.com/office/drawing/2014/main" id="{D4EA2F8D-C91E-4745-8BE1-E18F16716E20}"/>
                </a:ext>
              </a:extLst>
            </p:cNvPr>
            <p:cNvSpPr/>
            <p:nvPr/>
          </p:nvSpPr>
          <p:spPr>
            <a:xfrm>
              <a:off x="4544401" y="3473701"/>
              <a:ext cx="190084" cy="190093"/>
            </a:xfrm>
            <a:custGeom>
              <a:avLst/>
              <a:gdLst>
                <a:gd name="connsiteX0" fmla="*/ 142470 w 190084"/>
                <a:gd name="connsiteY0" fmla="*/ 12353 h 190093"/>
                <a:gd name="connsiteX1" fmla="*/ 142470 w 190084"/>
                <a:gd name="connsiteY1" fmla="*/ 12353 h 190093"/>
                <a:gd name="connsiteX2" fmla="*/ 58840 w 190084"/>
                <a:gd name="connsiteY2" fmla="*/ 7209 h 190093"/>
                <a:gd name="connsiteX3" fmla="*/ 1214 w 190084"/>
                <a:gd name="connsiteY3" fmla="*/ 112461 h 190093"/>
                <a:gd name="connsiteX4" fmla="*/ 1214 w 190084"/>
                <a:gd name="connsiteY4" fmla="*/ 112461 h 190093"/>
                <a:gd name="connsiteX5" fmla="*/ 112452 w 190084"/>
                <a:gd name="connsiteY5" fmla="*/ 188429 h 190093"/>
                <a:gd name="connsiteX6" fmla="*/ 188421 w 190084"/>
                <a:gd name="connsiteY6" fmla="*/ 77191 h 190093"/>
                <a:gd name="connsiteX7" fmla="*/ 142470 w 190084"/>
                <a:gd name="connsiteY7" fmla="*/ 12353 h 190093"/>
                <a:gd name="connsiteX8" fmla="*/ 121039 w 190084"/>
                <a:gd name="connsiteY8" fmla="*/ 148941 h 190093"/>
                <a:gd name="connsiteX9" fmla="*/ 85320 w 190084"/>
                <a:gd name="connsiteY9" fmla="*/ 98840 h 190093"/>
                <a:gd name="connsiteX10" fmla="*/ 69127 w 190084"/>
                <a:gd name="connsiteY10" fmla="*/ 114175 h 190093"/>
                <a:gd name="connsiteX11" fmla="*/ 69127 w 190084"/>
                <a:gd name="connsiteY11" fmla="*/ 148941 h 190093"/>
                <a:gd name="connsiteX12" fmla="*/ 55983 w 190084"/>
                <a:gd name="connsiteY12" fmla="*/ 148941 h 190093"/>
                <a:gd name="connsiteX13" fmla="*/ 55983 w 190084"/>
                <a:gd name="connsiteY13" fmla="*/ 49215 h 190093"/>
                <a:gd name="connsiteX14" fmla="*/ 69127 w 190084"/>
                <a:gd name="connsiteY14" fmla="*/ 49215 h 190093"/>
                <a:gd name="connsiteX15" fmla="*/ 69127 w 190084"/>
                <a:gd name="connsiteY15" fmla="*/ 98078 h 190093"/>
                <a:gd name="connsiteX16" fmla="*/ 118943 w 190084"/>
                <a:gd name="connsiteY16" fmla="*/ 49215 h 190093"/>
                <a:gd name="connsiteX17" fmla="*/ 137993 w 190084"/>
                <a:gd name="connsiteY17" fmla="*/ 49215 h 190093"/>
                <a:gd name="connsiteX18" fmla="*/ 95226 w 190084"/>
                <a:gd name="connsiteY18" fmla="*/ 89505 h 190093"/>
                <a:gd name="connsiteX19" fmla="*/ 138660 w 190084"/>
                <a:gd name="connsiteY19" fmla="*/ 148941 h 190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0084" h="190093">
                  <a:moveTo>
                    <a:pt x="142470" y="12353"/>
                  </a:moveTo>
                  <a:lnTo>
                    <a:pt x="142470" y="12353"/>
                  </a:lnTo>
                  <a:cubicBezTo>
                    <a:pt x="94845" y="-12031"/>
                    <a:pt x="58840" y="7209"/>
                    <a:pt x="58840" y="7209"/>
                  </a:cubicBezTo>
                  <a:cubicBezTo>
                    <a:pt x="17914" y="25087"/>
                    <a:pt x="-5772" y="68350"/>
                    <a:pt x="1214" y="112461"/>
                  </a:cubicBezTo>
                  <a:lnTo>
                    <a:pt x="1214" y="112461"/>
                  </a:lnTo>
                  <a:cubicBezTo>
                    <a:pt x="10953" y="164156"/>
                    <a:pt x="60756" y="198169"/>
                    <a:pt x="112452" y="188429"/>
                  </a:cubicBezTo>
                  <a:cubicBezTo>
                    <a:pt x="164148" y="178690"/>
                    <a:pt x="198160" y="128887"/>
                    <a:pt x="188421" y="77191"/>
                  </a:cubicBezTo>
                  <a:cubicBezTo>
                    <a:pt x="183282" y="49916"/>
                    <a:pt x="166502" y="26238"/>
                    <a:pt x="142470" y="12353"/>
                  </a:cubicBezTo>
                  <a:close/>
                  <a:moveTo>
                    <a:pt x="121039" y="148941"/>
                  </a:moveTo>
                  <a:lnTo>
                    <a:pt x="85320" y="98840"/>
                  </a:lnTo>
                  <a:lnTo>
                    <a:pt x="69127" y="114175"/>
                  </a:lnTo>
                  <a:lnTo>
                    <a:pt x="69127" y="148941"/>
                  </a:lnTo>
                  <a:lnTo>
                    <a:pt x="55983" y="148941"/>
                  </a:lnTo>
                  <a:lnTo>
                    <a:pt x="55983" y="49215"/>
                  </a:lnTo>
                  <a:lnTo>
                    <a:pt x="69127" y="49215"/>
                  </a:lnTo>
                  <a:lnTo>
                    <a:pt x="69127" y="98078"/>
                  </a:lnTo>
                  <a:lnTo>
                    <a:pt x="118943" y="49215"/>
                  </a:lnTo>
                  <a:lnTo>
                    <a:pt x="137993" y="49215"/>
                  </a:lnTo>
                  <a:lnTo>
                    <a:pt x="95226" y="89505"/>
                  </a:lnTo>
                  <a:lnTo>
                    <a:pt x="138660" y="1489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274" name="Grafik 487">
            <a:extLst>
              <a:ext uri="{FF2B5EF4-FFF2-40B4-BE49-F238E27FC236}">
                <a16:creationId xmlns:a16="http://schemas.microsoft.com/office/drawing/2014/main" id="{D4CC596A-6FF2-47E2-8CE3-F2645F79686D}"/>
              </a:ext>
            </a:extLst>
          </p:cNvPr>
          <p:cNvSpPr/>
          <p:nvPr/>
        </p:nvSpPr>
        <p:spPr>
          <a:xfrm>
            <a:off x="7837890" y="3377554"/>
            <a:ext cx="322077" cy="557180"/>
          </a:xfrm>
          <a:custGeom>
            <a:avLst/>
            <a:gdLst>
              <a:gd name="connsiteX0" fmla="*/ 196120 w 274466"/>
              <a:gd name="connsiteY0" fmla="*/ 122270 h 474814"/>
              <a:gd name="connsiteX1" fmla="*/ 198406 w 274466"/>
              <a:gd name="connsiteY1" fmla="*/ 115984 h 474814"/>
              <a:gd name="connsiteX2" fmla="*/ 194215 w 274466"/>
              <a:gd name="connsiteY2" fmla="*/ 100649 h 474814"/>
              <a:gd name="connsiteX3" fmla="*/ 168783 w 274466"/>
              <a:gd name="connsiteY3" fmla="*/ 80170 h 474814"/>
              <a:gd name="connsiteX4" fmla="*/ 168021 w 274466"/>
              <a:gd name="connsiteY4" fmla="*/ 79598 h 474814"/>
              <a:gd name="connsiteX5" fmla="*/ 176117 w 274466"/>
              <a:gd name="connsiteY5" fmla="*/ 57215 h 474814"/>
              <a:gd name="connsiteX6" fmla="*/ 191453 w 274466"/>
              <a:gd name="connsiteY6" fmla="*/ 38165 h 474814"/>
              <a:gd name="connsiteX7" fmla="*/ 203168 w 274466"/>
              <a:gd name="connsiteY7" fmla="*/ 33497 h 474814"/>
              <a:gd name="connsiteX8" fmla="*/ 202576 w 274466"/>
              <a:gd name="connsiteY8" fmla="*/ 25167 h 474814"/>
              <a:gd name="connsiteX9" fmla="*/ 200406 w 274466"/>
              <a:gd name="connsiteY9" fmla="*/ 23972 h 474814"/>
              <a:gd name="connsiteX10" fmla="*/ 137922 w 274466"/>
              <a:gd name="connsiteY10" fmla="*/ 541 h 474814"/>
              <a:gd name="connsiteX11" fmla="*/ 129974 w 274466"/>
              <a:gd name="connsiteY11" fmla="*/ 3516 h 474814"/>
              <a:gd name="connsiteX12" fmla="*/ 129445 w 274466"/>
              <a:gd name="connsiteY12" fmla="*/ 6351 h 474814"/>
              <a:gd name="connsiteX13" fmla="*/ 135350 w 274466"/>
              <a:gd name="connsiteY13" fmla="*/ 17495 h 474814"/>
              <a:gd name="connsiteX14" fmla="*/ 134493 w 274466"/>
              <a:gd name="connsiteY14" fmla="*/ 42070 h 474814"/>
              <a:gd name="connsiteX15" fmla="*/ 90297 w 274466"/>
              <a:gd name="connsiteY15" fmla="*/ 161990 h 474814"/>
              <a:gd name="connsiteX16" fmla="*/ 44672 w 274466"/>
              <a:gd name="connsiteY16" fmla="*/ 196089 h 474814"/>
              <a:gd name="connsiteX17" fmla="*/ 66675 w 274466"/>
              <a:gd name="connsiteY17" fmla="*/ 204281 h 474814"/>
              <a:gd name="connsiteX18" fmla="*/ 66675 w 274466"/>
              <a:gd name="connsiteY18" fmla="*/ 223331 h 474814"/>
              <a:gd name="connsiteX19" fmla="*/ 72295 w 274466"/>
              <a:gd name="connsiteY19" fmla="*/ 234284 h 474814"/>
              <a:gd name="connsiteX20" fmla="*/ 102108 w 274466"/>
              <a:gd name="connsiteY20" fmla="*/ 243809 h 474814"/>
              <a:gd name="connsiteX21" fmla="*/ 113538 w 274466"/>
              <a:gd name="connsiteY21" fmla="*/ 239237 h 474814"/>
              <a:gd name="connsiteX22" fmla="*/ 123063 w 274466"/>
              <a:gd name="connsiteY22" fmla="*/ 225521 h 474814"/>
              <a:gd name="connsiteX23" fmla="*/ 144590 w 274466"/>
              <a:gd name="connsiteY23" fmla="*/ 233427 h 474814"/>
              <a:gd name="connsiteX24" fmla="*/ 131826 w 274466"/>
              <a:gd name="connsiteY24" fmla="*/ 177896 h 474814"/>
              <a:gd name="connsiteX25" fmla="*/ 137541 w 274466"/>
              <a:gd name="connsiteY25" fmla="*/ 162466 h 474814"/>
              <a:gd name="connsiteX26" fmla="*/ 138494 w 274466"/>
              <a:gd name="connsiteY26" fmla="*/ 162466 h 474814"/>
              <a:gd name="connsiteX27" fmla="*/ 171164 w 274466"/>
              <a:gd name="connsiteY27" fmla="*/ 163323 h 474814"/>
              <a:gd name="connsiteX28" fmla="*/ 180689 w 274466"/>
              <a:gd name="connsiteY28" fmla="*/ 159704 h 474814"/>
              <a:gd name="connsiteX29" fmla="*/ 206788 w 274466"/>
              <a:gd name="connsiteY29" fmla="*/ 273432 h 474814"/>
              <a:gd name="connsiteX30" fmla="*/ 196406 w 274466"/>
              <a:gd name="connsiteY30" fmla="*/ 306293 h 474814"/>
              <a:gd name="connsiteX31" fmla="*/ 27813 w 274466"/>
              <a:gd name="connsiteY31" fmla="*/ 256287 h 474814"/>
              <a:gd name="connsiteX32" fmla="*/ 21622 w 274466"/>
              <a:gd name="connsiteY32" fmla="*/ 257621 h 474814"/>
              <a:gd name="connsiteX33" fmla="*/ 19050 w 274466"/>
              <a:gd name="connsiteY33" fmla="*/ 266765 h 474814"/>
              <a:gd name="connsiteX34" fmla="*/ 23432 w 274466"/>
              <a:gd name="connsiteY34" fmla="*/ 271241 h 474814"/>
              <a:gd name="connsiteX35" fmla="*/ 136017 w 274466"/>
              <a:gd name="connsiteY35" fmla="*/ 304865 h 474814"/>
              <a:gd name="connsiteX36" fmla="*/ 135446 w 274466"/>
              <a:gd name="connsiteY36" fmla="*/ 308675 h 474814"/>
              <a:gd name="connsiteX37" fmla="*/ 137065 w 274466"/>
              <a:gd name="connsiteY37" fmla="*/ 344774 h 474814"/>
              <a:gd name="connsiteX38" fmla="*/ 143637 w 274466"/>
              <a:gd name="connsiteY38" fmla="*/ 356300 h 474814"/>
              <a:gd name="connsiteX39" fmla="*/ 138589 w 274466"/>
              <a:gd name="connsiteY39" fmla="*/ 373826 h 474814"/>
              <a:gd name="connsiteX40" fmla="*/ 117729 w 274466"/>
              <a:gd name="connsiteY40" fmla="*/ 386589 h 474814"/>
              <a:gd name="connsiteX41" fmla="*/ 0 w 274466"/>
              <a:gd name="connsiteY41" fmla="*/ 454026 h 474814"/>
              <a:gd name="connsiteX42" fmla="*/ 1334 w 274466"/>
              <a:gd name="connsiteY42" fmla="*/ 465266 h 474814"/>
              <a:gd name="connsiteX43" fmla="*/ 4191 w 274466"/>
              <a:gd name="connsiteY43" fmla="*/ 465266 h 474814"/>
              <a:gd name="connsiteX44" fmla="*/ 4191 w 274466"/>
              <a:gd name="connsiteY44" fmla="*/ 469933 h 474814"/>
              <a:gd name="connsiteX45" fmla="*/ 10192 w 274466"/>
              <a:gd name="connsiteY45" fmla="*/ 474791 h 474814"/>
              <a:gd name="connsiteX46" fmla="*/ 262128 w 274466"/>
              <a:gd name="connsiteY46" fmla="*/ 474791 h 474814"/>
              <a:gd name="connsiteX47" fmla="*/ 268034 w 274466"/>
              <a:gd name="connsiteY47" fmla="*/ 469933 h 474814"/>
              <a:gd name="connsiteX48" fmla="*/ 268034 w 274466"/>
              <a:gd name="connsiteY48" fmla="*/ 465266 h 474814"/>
              <a:gd name="connsiteX49" fmla="*/ 270986 w 274466"/>
              <a:gd name="connsiteY49" fmla="*/ 465266 h 474814"/>
              <a:gd name="connsiteX50" fmla="*/ 272320 w 274466"/>
              <a:gd name="connsiteY50" fmla="*/ 454026 h 474814"/>
              <a:gd name="connsiteX51" fmla="*/ 234887 w 274466"/>
              <a:gd name="connsiteY51" fmla="*/ 403925 h 474814"/>
              <a:gd name="connsiteX52" fmla="*/ 274130 w 274466"/>
              <a:gd name="connsiteY52" fmla="*/ 291053 h 474814"/>
              <a:gd name="connsiteX53" fmla="*/ 196120 w 274466"/>
              <a:gd name="connsiteY53" fmla="*/ 122270 h 47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274466" h="474814">
                <a:moveTo>
                  <a:pt x="196120" y="122270"/>
                </a:moveTo>
                <a:lnTo>
                  <a:pt x="198406" y="115984"/>
                </a:lnTo>
                <a:cubicBezTo>
                  <a:pt x="200165" y="110493"/>
                  <a:pt x="198522" y="104481"/>
                  <a:pt x="194215" y="100649"/>
                </a:cubicBezTo>
                <a:lnTo>
                  <a:pt x="168783" y="80170"/>
                </a:lnTo>
                <a:lnTo>
                  <a:pt x="168021" y="79598"/>
                </a:lnTo>
                <a:lnTo>
                  <a:pt x="176117" y="57215"/>
                </a:lnTo>
                <a:cubicBezTo>
                  <a:pt x="181640" y="51207"/>
                  <a:pt x="186763" y="44843"/>
                  <a:pt x="191453" y="38165"/>
                </a:cubicBezTo>
                <a:lnTo>
                  <a:pt x="203168" y="33497"/>
                </a:lnTo>
                <a:cubicBezTo>
                  <a:pt x="205305" y="31033"/>
                  <a:pt x="205040" y="27304"/>
                  <a:pt x="202576" y="25167"/>
                </a:cubicBezTo>
                <a:cubicBezTo>
                  <a:pt x="201945" y="24620"/>
                  <a:pt x="201206" y="24213"/>
                  <a:pt x="200406" y="23972"/>
                </a:cubicBezTo>
                <a:lnTo>
                  <a:pt x="137922" y="541"/>
                </a:lnTo>
                <a:cubicBezTo>
                  <a:pt x="134906" y="-832"/>
                  <a:pt x="131347" y="499"/>
                  <a:pt x="129974" y="3516"/>
                </a:cubicBezTo>
                <a:cubicBezTo>
                  <a:pt x="129570" y="4404"/>
                  <a:pt x="129388" y="5377"/>
                  <a:pt x="129445" y="6351"/>
                </a:cubicBezTo>
                <a:lnTo>
                  <a:pt x="135350" y="17495"/>
                </a:lnTo>
                <a:cubicBezTo>
                  <a:pt x="134509" y="25658"/>
                  <a:pt x="134223" y="33868"/>
                  <a:pt x="134493" y="42070"/>
                </a:cubicBezTo>
                <a:lnTo>
                  <a:pt x="90297" y="161990"/>
                </a:lnTo>
                <a:cubicBezTo>
                  <a:pt x="70028" y="164236"/>
                  <a:pt x="52567" y="177286"/>
                  <a:pt x="44672" y="196089"/>
                </a:cubicBezTo>
                <a:lnTo>
                  <a:pt x="66675" y="204281"/>
                </a:lnTo>
                <a:lnTo>
                  <a:pt x="66675" y="223331"/>
                </a:lnTo>
                <a:cubicBezTo>
                  <a:pt x="66069" y="227799"/>
                  <a:pt x="68312" y="232171"/>
                  <a:pt x="72295" y="234284"/>
                </a:cubicBezTo>
                <a:lnTo>
                  <a:pt x="102108" y="243809"/>
                </a:lnTo>
                <a:cubicBezTo>
                  <a:pt x="106500" y="244830"/>
                  <a:pt x="111062" y="243005"/>
                  <a:pt x="113538" y="239237"/>
                </a:cubicBezTo>
                <a:lnTo>
                  <a:pt x="123063" y="225521"/>
                </a:lnTo>
                <a:lnTo>
                  <a:pt x="144590" y="233427"/>
                </a:lnTo>
                <a:cubicBezTo>
                  <a:pt x="150815" y="213976"/>
                  <a:pt x="145919" y="192678"/>
                  <a:pt x="131826" y="177896"/>
                </a:cubicBezTo>
                <a:lnTo>
                  <a:pt x="137541" y="162466"/>
                </a:lnTo>
                <a:lnTo>
                  <a:pt x="138494" y="162466"/>
                </a:lnTo>
                <a:lnTo>
                  <a:pt x="171164" y="163323"/>
                </a:lnTo>
                <a:cubicBezTo>
                  <a:pt x="174685" y="163375"/>
                  <a:pt x="178092" y="162080"/>
                  <a:pt x="180689" y="159704"/>
                </a:cubicBezTo>
                <a:cubicBezTo>
                  <a:pt x="206593" y="191496"/>
                  <a:pt x="216238" y="233527"/>
                  <a:pt x="206788" y="273432"/>
                </a:cubicBezTo>
                <a:cubicBezTo>
                  <a:pt x="204581" y="284743"/>
                  <a:pt x="201098" y="295767"/>
                  <a:pt x="196406" y="306293"/>
                </a:cubicBezTo>
                <a:lnTo>
                  <a:pt x="27813" y="256287"/>
                </a:lnTo>
                <a:cubicBezTo>
                  <a:pt x="24860" y="255335"/>
                  <a:pt x="22098" y="256287"/>
                  <a:pt x="21622" y="257621"/>
                </a:cubicBezTo>
                <a:lnTo>
                  <a:pt x="19050" y="266765"/>
                </a:lnTo>
                <a:cubicBezTo>
                  <a:pt x="18574" y="268384"/>
                  <a:pt x="20574" y="270384"/>
                  <a:pt x="23432" y="271241"/>
                </a:cubicBezTo>
                <a:lnTo>
                  <a:pt x="136017" y="304865"/>
                </a:lnTo>
                <a:cubicBezTo>
                  <a:pt x="135569" y="306083"/>
                  <a:pt x="135375" y="307379"/>
                  <a:pt x="135446" y="308675"/>
                </a:cubicBezTo>
                <a:lnTo>
                  <a:pt x="137065" y="344774"/>
                </a:lnTo>
                <a:cubicBezTo>
                  <a:pt x="137532" y="349371"/>
                  <a:pt x="139919" y="353557"/>
                  <a:pt x="143637" y="356300"/>
                </a:cubicBezTo>
                <a:lnTo>
                  <a:pt x="138589" y="373826"/>
                </a:lnTo>
                <a:cubicBezTo>
                  <a:pt x="131868" y="378449"/>
                  <a:pt x="124905" y="382710"/>
                  <a:pt x="117729" y="386589"/>
                </a:cubicBezTo>
                <a:cubicBezTo>
                  <a:pt x="51245" y="389732"/>
                  <a:pt x="0" y="412116"/>
                  <a:pt x="0" y="454026"/>
                </a:cubicBezTo>
                <a:cubicBezTo>
                  <a:pt x="-4" y="457812"/>
                  <a:pt x="444" y="461586"/>
                  <a:pt x="1334" y="465266"/>
                </a:cubicBezTo>
                <a:lnTo>
                  <a:pt x="4191" y="465266"/>
                </a:lnTo>
                <a:lnTo>
                  <a:pt x="4191" y="469933"/>
                </a:lnTo>
                <a:cubicBezTo>
                  <a:pt x="4540" y="472913"/>
                  <a:pt x="7204" y="475070"/>
                  <a:pt x="10192" y="474791"/>
                </a:cubicBezTo>
                <a:lnTo>
                  <a:pt x="262128" y="474791"/>
                </a:lnTo>
                <a:cubicBezTo>
                  <a:pt x="265080" y="475016"/>
                  <a:pt x="267685" y="472873"/>
                  <a:pt x="268034" y="469933"/>
                </a:cubicBezTo>
                <a:lnTo>
                  <a:pt x="268034" y="465266"/>
                </a:lnTo>
                <a:lnTo>
                  <a:pt x="270986" y="465266"/>
                </a:lnTo>
                <a:cubicBezTo>
                  <a:pt x="271876" y="461586"/>
                  <a:pt x="272324" y="457812"/>
                  <a:pt x="272320" y="454026"/>
                </a:cubicBezTo>
                <a:cubicBezTo>
                  <a:pt x="272320" y="431928"/>
                  <a:pt x="258032" y="415259"/>
                  <a:pt x="234887" y="403925"/>
                </a:cubicBezTo>
                <a:cubicBezTo>
                  <a:pt x="258760" y="370967"/>
                  <a:pt x="272408" y="331713"/>
                  <a:pt x="274130" y="291053"/>
                </a:cubicBezTo>
                <a:cubicBezTo>
                  <a:pt x="279273" y="205805"/>
                  <a:pt x="224314" y="146750"/>
                  <a:pt x="196120" y="122270"/>
                </a:cubicBez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275" name="Grafik 3">
            <a:extLst>
              <a:ext uri="{FF2B5EF4-FFF2-40B4-BE49-F238E27FC236}">
                <a16:creationId xmlns:a16="http://schemas.microsoft.com/office/drawing/2014/main" id="{E3E86B50-AC4A-4E8F-943D-642B4FA59805}"/>
              </a:ext>
            </a:extLst>
          </p:cNvPr>
          <p:cNvGrpSpPr/>
          <p:nvPr/>
        </p:nvGrpSpPr>
        <p:grpSpPr>
          <a:xfrm>
            <a:off x="8415697" y="3399619"/>
            <a:ext cx="576909" cy="513050"/>
            <a:chOff x="4324282" y="3209756"/>
            <a:chExt cx="491627" cy="437208"/>
          </a:xfrm>
          <a:solidFill>
            <a:srgbClr val="808080"/>
          </a:solidFill>
        </p:grpSpPr>
        <p:sp>
          <p:nvSpPr>
            <p:cNvPr id="276" name="Freihandform: Form 10">
              <a:extLst>
                <a:ext uri="{FF2B5EF4-FFF2-40B4-BE49-F238E27FC236}">
                  <a16:creationId xmlns:a16="http://schemas.microsoft.com/office/drawing/2014/main" id="{BE1D9D7E-1869-4C1C-BC1A-04F20DCC7ADA}"/>
                </a:ext>
              </a:extLst>
            </p:cNvPr>
            <p:cNvSpPr/>
            <p:nvPr/>
          </p:nvSpPr>
          <p:spPr>
            <a:xfrm>
              <a:off x="4731473" y="3448516"/>
              <a:ext cx="10713" cy="6783"/>
            </a:xfrm>
            <a:custGeom>
              <a:avLst/>
              <a:gdLst>
                <a:gd name="connsiteX0" fmla="*/ 6166 w 10713"/>
                <a:gd name="connsiteY0" fmla="*/ 295 h 6783"/>
                <a:gd name="connsiteX1" fmla="*/ 70 w 10713"/>
                <a:gd name="connsiteY1" fmla="*/ 2010 h 6783"/>
                <a:gd name="connsiteX2" fmla="*/ 4452 w 10713"/>
                <a:gd name="connsiteY2" fmla="*/ 6487 h 6783"/>
                <a:gd name="connsiteX3" fmla="*/ 10643 w 10713"/>
                <a:gd name="connsiteY3" fmla="*/ 4867 h 6783"/>
                <a:gd name="connsiteX4" fmla="*/ 6166 w 10713"/>
                <a:gd name="connsiteY4" fmla="*/ 295 h 6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13" h="6783">
                  <a:moveTo>
                    <a:pt x="6166" y="295"/>
                  </a:moveTo>
                  <a:cubicBezTo>
                    <a:pt x="3213" y="-467"/>
                    <a:pt x="546" y="295"/>
                    <a:pt x="70" y="2010"/>
                  </a:cubicBezTo>
                  <a:cubicBezTo>
                    <a:pt x="-406" y="3724"/>
                    <a:pt x="1594" y="5725"/>
                    <a:pt x="4452" y="6487"/>
                  </a:cubicBezTo>
                  <a:cubicBezTo>
                    <a:pt x="7309" y="7249"/>
                    <a:pt x="10167" y="6487"/>
                    <a:pt x="10643" y="4867"/>
                  </a:cubicBezTo>
                  <a:cubicBezTo>
                    <a:pt x="11119" y="3248"/>
                    <a:pt x="9119" y="1153"/>
                    <a:pt x="6166" y="29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7" name="Freihandform: Form 11">
              <a:extLst>
                <a:ext uri="{FF2B5EF4-FFF2-40B4-BE49-F238E27FC236}">
                  <a16:creationId xmlns:a16="http://schemas.microsoft.com/office/drawing/2014/main" id="{126964CC-1637-4C4F-B7E5-91EF674DEF26}"/>
                </a:ext>
              </a:extLst>
            </p:cNvPr>
            <p:cNvSpPr/>
            <p:nvPr/>
          </p:nvSpPr>
          <p:spPr>
            <a:xfrm>
              <a:off x="4773574" y="3462230"/>
              <a:ext cx="10642" cy="6834"/>
            </a:xfrm>
            <a:custGeom>
              <a:avLst/>
              <a:gdLst>
                <a:gd name="connsiteX0" fmla="*/ 10643 w 10642"/>
                <a:gd name="connsiteY0" fmla="*/ 4869 h 6834"/>
                <a:gd name="connsiteX1" fmla="*/ 6261 w 10642"/>
                <a:gd name="connsiteY1" fmla="*/ 297 h 6834"/>
                <a:gd name="connsiteX2" fmla="*/ 70 w 10642"/>
                <a:gd name="connsiteY2" fmla="*/ 1916 h 6834"/>
                <a:gd name="connsiteX3" fmla="*/ 4547 w 10642"/>
                <a:gd name="connsiteY3" fmla="*/ 6488 h 6834"/>
                <a:gd name="connsiteX4" fmla="*/ 10643 w 10642"/>
                <a:gd name="connsiteY4" fmla="*/ 4869 h 6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42" h="6834">
                  <a:moveTo>
                    <a:pt x="10643" y="4869"/>
                  </a:moveTo>
                  <a:cubicBezTo>
                    <a:pt x="10643" y="3155"/>
                    <a:pt x="9119" y="1059"/>
                    <a:pt x="6261" y="297"/>
                  </a:cubicBezTo>
                  <a:cubicBezTo>
                    <a:pt x="3404" y="-465"/>
                    <a:pt x="546" y="297"/>
                    <a:pt x="70" y="1916"/>
                  </a:cubicBezTo>
                  <a:cubicBezTo>
                    <a:pt x="-406" y="3536"/>
                    <a:pt x="1594" y="5726"/>
                    <a:pt x="4547" y="6488"/>
                  </a:cubicBezTo>
                  <a:cubicBezTo>
                    <a:pt x="7500" y="7250"/>
                    <a:pt x="10167" y="6774"/>
                    <a:pt x="10643" y="48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8" name="Freihandform: Form 15">
              <a:extLst>
                <a:ext uri="{FF2B5EF4-FFF2-40B4-BE49-F238E27FC236}">
                  <a16:creationId xmlns:a16="http://schemas.microsoft.com/office/drawing/2014/main" id="{EDA57823-B9DA-4708-827D-10EC93DAC353}"/>
                </a:ext>
              </a:extLst>
            </p:cNvPr>
            <p:cNvSpPr/>
            <p:nvPr/>
          </p:nvSpPr>
          <p:spPr>
            <a:xfrm>
              <a:off x="4779863" y="3439712"/>
              <a:ext cx="10710" cy="6865"/>
            </a:xfrm>
            <a:custGeom>
              <a:avLst/>
              <a:gdLst>
                <a:gd name="connsiteX0" fmla="*/ 4449 w 10710"/>
                <a:gd name="connsiteY0" fmla="*/ 6528 h 6865"/>
                <a:gd name="connsiteX1" fmla="*/ 10640 w 10710"/>
                <a:gd name="connsiteY1" fmla="*/ 4908 h 6865"/>
                <a:gd name="connsiteX2" fmla="*/ 6164 w 10710"/>
                <a:gd name="connsiteY2" fmla="*/ 336 h 6865"/>
                <a:gd name="connsiteX3" fmla="*/ 68 w 10710"/>
                <a:gd name="connsiteY3" fmla="*/ 2051 h 6865"/>
                <a:gd name="connsiteX4" fmla="*/ 4449 w 10710"/>
                <a:gd name="connsiteY4" fmla="*/ 6528 h 6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10" h="6865">
                  <a:moveTo>
                    <a:pt x="4449" y="6528"/>
                  </a:moveTo>
                  <a:cubicBezTo>
                    <a:pt x="7402" y="7385"/>
                    <a:pt x="10164" y="6528"/>
                    <a:pt x="10640" y="4908"/>
                  </a:cubicBezTo>
                  <a:cubicBezTo>
                    <a:pt x="11117" y="3289"/>
                    <a:pt x="9116" y="1194"/>
                    <a:pt x="6164" y="336"/>
                  </a:cubicBezTo>
                  <a:cubicBezTo>
                    <a:pt x="3211" y="-521"/>
                    <a:pt x="544" y="336"/>
                    <a:pt x="68" y="2051"/>
                  </a:cubicBezTo>
                  <a:cubicBezTo>
                    <a:pt x="-409" y="3765"/>
                    <a:pt x="1687" y="5766"/>
                    <a:pt x="4449" y="652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9" name="Freihandform: Form 16">
              <a:extLst>
                <a:ext uri="{FF2B5EF4-FFF2-40B4-BE49-F238E27FC236}">
                  <a16:creationId xmlns:a16="http://schemas.microsoft.com/office/drawing/2014/main" id="{78720469-F6B0-4A1A-AD97-C29976577BB5}"/>
                </a:ext>
              </a:extLst>
            </p:cNvPr>
            <p:cNvSpPr/>
            <p:nvPr/>
          </p:nvSpPr>
          <p:spPr>
            <a:xfrm>
              <a:off x="4765096" y="3485852"/>
              <a:ext cx="10713" cy="6785"/>
            </a:xfrm>
            <a:custGeom>
              <a:avLst/>
              <a:gdLst>
                <a:gd name="connsiteX0" fmla="*/ 6261 w 10713"/>
                <a:gd name="connsiteY0" fmla="*/ 297 h 6785"/>
                <a:gd name="connsiteX1" fmla="*/ 70 w 10713"/>
                <a:gd name="connsiteY1" fmla="*/ 1916 h 6785"/>
                <a:gd name="connsiteX2" fmla="*/ 4547 w 10713"/>
                <a:gd name="connsiteY2" fmla="*/ 6488 h 6785"/>
                <a:gd name="connsiteX3" fmla="*/ 10643 w 10713"/>
                <a:gd name="connsiteY3" fmla="*/ 4869 h 6785"/>
                <a:gd name="connsiteX4" fmla="*/ 6261 w 10713"/>
                <a:gd name="connsiteY4" fmla="*/ 297 h 6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13" h="6785">
                  <a:moveTo>
                    <a:pt x="6261" y="297"/>
                  </a:moveTo>
                  <a:cubicBezTo>
                    <a:pt x="3309" y="-465"/>
                    <a:pt x="546" y="297"/>
                    <a:pt x="70" y="1916"/>
                  </a:cubicBezTo>
                  <a:cubicBezTo>
                    <a:pt x="-406" y="3536"/>
                    <a:pt x="1594" y="5726"/>
                    <a:pt x="4547" y="6488"/>
                  </a:cubicBezTo>
                  <a:cubicBezTo>
                    <a:pt x="7500" y="7250"/>
                    <a:pt x="10167" y="6488"/>
                    <a:pt x="10643" y="4869"/>
                  </a:cubicBezTo>
                  <a:cubicBezTo>
                    <a:pt x="11119" y="3250"/>
                    <a:pt x="9119" y="964"/>
                    <a:pt x="6261" y="29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0" name="Freihandform: Form 17">
              <a:extLst>
                <a:ext uri="{FF2B5EF4-FFF2-40B4-BE49-F238E27FC236}">
                  <a16:creationId xmlns:a16="http://schemas.microsoft.com/office/drawing/2014/main" id="{F39CF64C-6DB2-4CD8-BA53-9144DC28E09D}"/>
                </a:ext>
              </a:extLst>
            </p:cNvPr>
            <p:cNvSpPr/>
            <p:nvPr/>
          </p:nvSpPr>
          <p:spPr>
            <a:xfrm>
              <a:off x="4754619" y="3443901"/>
              <a:ext cx="10693" cy="6865"/>
            </a:xfrm>
            <a:custGeom>
              <a:avLst/>
              <a:gdLst>
                <a:gd name="connsiteX0" fmla="*/ 6261 w 10693"/>
                <a:gd name="connsiteY0" fmla="*/ 338 h 6865"/>
                <a:gd name="connsiteX1" fmla="*/ 70 w 10693"/>
                <a:gd name="connsiteY1" fmla="*/ 1957 h 6865"/>
                <a:gd name="connsiteX2" fmla="*/ 4547 w 10693"/>
                <a:gd name="connsiteY2" fmla="*/ 6529 h 6865"/>
                <a:gd name="connsiteX3" fmla="*/ 10643 w 10693"/>
                <a:gd name="connsiteY3" fmla="*/ 4815 h 6865"/>
                <a:gd name="connsiteX4" fmla="*/ 6261 w 10693"/>
                <a:gd name="connsiteY4" fmla="*/ 338 h 6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93" h="6865">
                  <a:moveTo>
                    <a:pt x="6261" y="338"/>
                  </a:moveTo>
                  <a:cubicBezTo>
                    <a:pt x="3309" y="-519"/>
                    <a:pt x="546" y="338"/>
                    <a:pt x="70" y="1957"/>
                  </a:cubicBezTo>
                  <a:cubicBezTo>
                    <a:pt x="-406" y="3577"/>
                    <a:pt x="1594" y="5672"/>
                    <a:pt x="4547" y="6529"/>
                  </a:cubicBezTo>
                  <a:cubicBezTo>
                    <a:pt x="7500" y="7387"/>
                    <a:pt x="10262" y="6529"/>
                    <a:pt x="10643" y="4815"/>
                  </a:cubicBezTo>
                  <a:cubicBezTo>
                    <a:pt x="11024" y="3100"/>
                    <a:pt x="9214" y="1100"/>
                    <a:pt x="6261" y="3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1" name="Freihandform: Form 18">
              <a:extLst>
                <a:ext uri="{FF2B5EF4-FFF2-40B4-BE49-F238E27FC236}">
                  <a16:creationId xmlns:a16="http://schemas.microsoft.com/office/drawing/2014/main" id="{653EE6C7-6080-4C91-B073-1B153E603350}"/>
                </a:ext>
              </a:extLst>
            </p:cNvPr>
            <p:cNvSpPr/>
            <p:nvPr/>
          </p:nvSpPr>
          <p:spPr>
            <a:xfrm>
              <a:off x="4748428" y="3466761"/>
              <a:ext cx="10713" cy="6826"/>
            </a:xfrm>
            <a:custGeom>
              <a:avLst/>
              <a:gdLst>
                <a:gd name="connsiteX0" fmla="*/ 6261 w 10713"/>
                <a:gd name="connsiteY0" fmla="*/ 338 h 6826"/>
                <a:gd name="connsiteX1" fmla="*/ 70 w 10713"/>
                <a:gd name="connsiteY1" fmla="*/ 1957 h 6826"/>
                <a:gd name="connsiteX2" fmla="*/ 4547 w 10713"/>
                <a:gd name="connsiteY2" fmla="*/ 6529 h 6826"/>
                <a:gd name="connsiteX3" fmla="*/ 10643 w 10713"/>
                <a:gd name="connsiteY3" fmla="*/ 4910 h 6826"/>
                <a:gd name="connsiteX4" fmla="*/ 6261 w 10713"/>
                <a:gd name="connsiteY4" fmla="*/ 338 h 6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13" h="6826">
                  <a:moveTo>
                    <a:pt x="6261" y="338"/>
                  </a:moveTo>
                  <a:cubicBezTo>
                    <a:pt x="3309" y="-519"/>
                    <a:pt x="546" y="338"/>
                    <a:pt x="70" y="1957"/>
                  </a:cubicBezTo>
                  <a:cubicBezTo>
                    <a:pt x="-406" y="3577"/>
                    <a:pt x="1594" y="5767"/>
                    <a:pt x="4547" y="6529"/>
                  </a:cubicBezTo>
                  <a:cubicBezTo>
                    <a:pt x="7500" y="7291"/>
                    <a:pt x="10167" y="6529"/>
                    <a:pt x="10643" y="4910"/>
                  </a:cubicBezTo>
                  <a:cubicBezTo>
                    <a:pt x="11119" y="3291"/>
                    <a:pt x="9119" y="1195"/>
                    <a:pt x="6261" y="3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2" name="Freihandform: Form 19">
              <a:extLst>
                <a:ext uri="{FF2B5EF4-FFF2-40B4-BE49-F238E27FC236}">
                  <a16:creationId xmlns:a16="http://schemas.microsoft.com/office/drawing/2014/main" id="{463CB6AE-A8EA-4F3B-A11F-6228A0D55EE7}"/>
                </a:ext>
              </a:extLst>
            </p:cNvPr>
            <p:cNvSpPr/>
            <p:nvPr/>
          </p:nvSpPr>
          <p:spPr>
            <a:xfrm>
              <a:off x="4791576" y="3480954"/>
              <a:ext cx="10803" cy="6867"/>
            </a:xfrm>
            <a:custGeom>
              <a:avLst/>
              <a:gdLst>
                <a:gd name="connsiteX0" fmla="*/ 6261 w 10803"/>
                <a:gd name="connsiteY0" fmla="*/ 338 h 6867"/>
                <a:gd name="connsiteX1" fmla="*/ 70 w 10803"/>
                <a:gd name="connsiteY1" fmla="*/ 1957 h 6867"/>
                <a:gd name="connsiteX2" fmla="*/ 4547 w 10803"/>
                <a:gd name="connsiteY2" fmla="*/ 6529 h 6867"/>
                <a:gd name="connsiteX3" fmla="*/ 10738 w 10803"/>
                <a:gd name="connsiteY3" fmla="*/ 4910 h 6867"/>
                <a:gd name="connsiteX4" fmla="*/ 6261 w 10803"/>
                <a:gd name="connsiteY4" fmla="*/ 338 h 6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03" h="6867">
                  <a:moveTo>
                    <a:pt x="6261" y="338"/>
                  </a:moveTo>
                  <a:cubicBezTo>
                    <a:pt x="3309" y="-519"/>
                    <a:pt x="546" y="338"/>
                    <a:pt x="70" y="1957"/>
                  </a:cubicBezTo>
                  <a:cubicBezTo>
                    <a:pt x="-406" y="3577"/>
                    <a:pt x="1594" y="5672"/>
                    <a:pt x="4547" y="6529"/>
                  </a:cubicBezTo>
                  <a:cubicBezTo>
                    <a:pt x="7500" y="7387"/>
                    <a:pt x="10262" y="6529"/>
                    <a:pt x="10738" y="4910"/>
                  </a:cubicBezTo>
                  <a:cubicBezTo>
                    <a:pt x="11214" y="3291"/>
                    <a:pt x="9024" y="1100"/>
                    <a:pt x="6261" y="3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3" name="Freihandform: Form 20">
              <a:extLst>
                <a:ext uri="{FF2B5EF4-FFF2-40B4-BE49-F238E27FC236}">
                  <a16:creationId xmlns:a16="http://schemas.microsoft.com/office/drawing/2014/main" id="{7E3766F1-4DCE-4A77-B456-88104F7D9694}"/>
                </a:ext>
              </a:extLst>
            </p:cNvPr>
            <p:cNvSpPr/>
            <p:nvPr/>
          </p:nvSpPr>
          <p:spPr>
            <a:xfrm>
              <a:off x="4783194" y="3504047"/>
              <a:ext cx="10808" cy="6783"/>
            </a:xfrm>
            <a:custGeom>
              <a:avLst/>
              <a:gdLst>
                <a:gd name="connsiteX0" fmla="*/ 6261 w 10808"/>
                <a:gd name="connsiteY0" fmla="*/ 295 h 6783"/>
                <a:gd name="connsiteX1" fmla="*/ 70 w 10808"/>
                <a:gd name="connsiteY1" fmla="*/ 2010 h 6783"/>
                <a:gd name="connsiteX2" fmla="*/ 4547 w 10808"/>
                <a:gd name="connsiteY2" fmla="*/ 6487 h 6783"/>
                <a:gd name="connsiteX3" fmla="*/ 10738 w 10808"/>
                <a:gd name="connsiteY3" fmla="*/ 4867 h 6783"/>
                <a:gd name="connsiteX4" fmla="*/ 6261 w 10808"/>
                <a:gd name="connsiteY4" fmla="*/ 295 h 6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08" h="6783">
                  <a:moveTo>
                    <a:pt x="6261" y="295"/>
                  </a:moveTo>
                  <a:cubicBezTo>
                    <a:pt x="3309" y="-467"/>
                    <a:pt x="546" y="295"/>
                    <a:pt x="70" y="2010"/>
                  </a:cubicBezTo>
                  <a:cubicBezTo>
                    <a:pt x="-406" y="3724"/>
                    <a:pt x="1594" y="5725"/>
                    <a:pt x="4547" y="6487"/>
                  </a:cubicBezTo>
                  <a:cubicBezTo>
                    <a:pt x="7500" y="7249"/>
                    <a:pt x="10262" y="6487"/>
                    <a:pt x="10738" y="4867"/>
                  </a:cubicBezTo>
                  <a:cubicBezTo>
                    <a:pt x="11214" y="3248"/>
                    <a:pt x="9214" y="1153"/>
                    <a:pt x="6261" y="29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4" name="Freihandform: Form 23">
              <a:extLst>
                <a:ext uri="{FF2B5EF4-FFF2-40B4-BE49-F238E27FC236}">
                  <a16:creationId xmlns:a16="http://schemas.microsoft.com/office/drawing/2014/main" id="{C1FCDA75-9EEA-4BE5-8C60-17FAFFFD581A}"/>
                </a:ext>
              </a:extLst>
            </p:cNvPr>
            <p:cNvSpPr/>
            <p:nvPr/>
          </p:nvSpPr>
          <p:spPr>
            <a:xfrm>
              <a:off x="4798529" y="3457944"/>
              <a:ext cx="10712" cy="6785"/>
            </a:xfrm>
            <a:custGeom>
              <a:avLst/>
              <a:gdLst>
                <a:gd name="connsiteX0" fmla="*/ 6166 w 10712"/>
                <a:gd name="connsiteY0" fmla="*/ 297 h 6785"/>
                <a:gd name="connsiteX1" fmla="*/ 70 w 10712"/>
                <a:gd name="connsiteY1" fmla="*/ 1916 h 6785"/>
                <a:gd name="connsiteX2" fmla="*/ 4547 w 10712"/>
                <a:gd name="connsiteY2" fmla="*/ 6488 h 6785"/>
                <a:gd name="connsiteX3" fmla="*/ 10643 w 10712"/>
                <a:gd name="connsiteY3" fmla="*/ 4869 h 6785"/>
                <a:gd name="connsiteX4" fmla="*/ 6166 w 10712"/>
                <a:gd name="connsiteY4" fmla="*/ 297 h 6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12" h="6785">
                  <a:moveTo>
                    <a:pt x="6166" y="297"/>
                  </a:moveTo>
                  <a:cubicBezTo>
                    <a:pt x="3309" y="-465"/>
                    <a:pt x="546" y="297"/>
                    <a:pt x="70" y="1916"/>
                  </a:cubicBezTo>
                  <a:cubicBezTo>
                    <a:pt x="-406" y="3536"/>
                    <a:pt x="1594" y="5726"/>
                    <a:pt x="4547" y="6488"/>
                  </a:cubicBezTo>
                  <a:cubicBezTo>
                    <a:pt x="7500" y="7250"/>
                    <a:pt x="10167" y="6488"/>
                    <a:pt x="10643" y="4869"/>
                  </a:cubicBezTo>
                  <a:cubicBezTo>
                    <a:pt x="11119" y="3250"/>
                    <a:pt x="9119" y="1154"/>
                    <a:pt x="6166" y="29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5" name="Freihandform: Form 24">
              <a:extLst>
                <a:ext uri="{FF2B5EF4-FFF2-40B4-BE49-F238E27FC236}">
                  <a16:creationId xmlns:a16="http://schemas.microsoft.com/office/drawing/2014/main" id="{151CD354-C644-4C32-9B65-3FE44A30E615}"/>
                </a:ext>
              </a:extLst>
            </p:cNvPr>
            <p:cNvSpPr/>
            <p:nvPr/>
          </p:nvSpPr>
          <p:spPr>
            <a:xfrm>
              <a:off x="4805197" y="3435372"/>
              <a:ext cx="10713" cy="6918"/>
            </a:xfrm>
            <a:custGeom>
              <a:avLst/>
              <a:gdLst>
                <a:gd name="connsiteX0" fmla="*/ 6261 w 10713"/>
                <a:gd name="connsiteY0" fmla="*/ 295 h 6918"/>
                <a:gd name="connsiteX1" fmla="*/ 70 w 10713"/>
                <a:gd name="connsiteY1" fmla="*/ 2010 h 6918"/>
                <a:gd name="connsiteX2" fmla="*/ 4547 w 10713"/>
                <a:gd name="connsiteY2" fmla="*/ 6582 h 6918"/>
                <a:gd name="connsiteX3" fmla="*/ 10643 w 10713"/>
                <a:gd name="connsiteY3" fmla="*/ 4867 h 6918"/>
                <a:gd name="connsiteX4" fmla="*/ 6261 w 10713"/>
                <a:gd name="connsiteY4" fmla="*/ 295 h 6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13" h="6918">
                  <a:moveTo>
                    <a:pt x="6261" y="295"/>
                  </a:moveTo>
                  <a:cubicBezTo>
                    <a:pt x="3309" y="-467"/>
                    <a:pt x="546" y="295"/>
                    <a:pt x="70" y="2010"/>
                  </a:cubicBezTo>
                  <a:cubicBezTo>
                    <a:pt x="-406" y="3724"/>
                    <a:pt x="1594" y="5725"/>
                    <a:pt x="4547" y="6582"/>
                  </a:cubicBezTo>
                  <a:cubicBezTo>
                    <a:pt x="7500" y="7439"/>
                    <a:pt x="10167" y="6582"/>
                    <a:pt x="10643" y="4867"/>
                  </a:cubicBezTo>
                  <a:cubicBezTo>
                    <a:pt x="11119" y="3153"/>
                    <a:pt x="9119" y="1153"/>
                    <a:pt x="6261" y="29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6" name="Freihandform: Form 447">
              <a:extLst>
                <a:ext uri="{FF2B5EF4-FFF2-40B4-BE49-F238E27FC236}">
                  <a16:creationId xmlns:a16="http://schemas.microsoft.com/office/drawing/2014/main" id="{B6BD0736-B502-4719-A9A7-731E6AFBC48B}"/>
                </a:ext>
              </a:extLst>
            </p:cNvPr>
            <p:cNvSpPr/>
            <p:nvPr/>
          </p:nvSpPr>
          <p:spPr>
            <a:xfrm>
              <a:off x="4403883" y="3510438"/>
              <a:ext cx="55816" cy="125952"/>
            </a:xfrm>
            <a:custGeom>
              <a:avLst/>
              <a:gdLst>
                <a:gd name="connsiteX0" fmla="*/ 23051 w 55816"/>
                <a:gd name="connsiteY0" fmla="*/ 0 h 125952"/>
                <a:gd name="connsiteX1" fmla="*/ 0 w 55816"/>
                <a:gd name="connsiteY1" fmla="*/ 107061 h 125952"/>
                <a:gd name="connsiteX2" fmla="*/ 19050 w 55816"/>
                <a:gd name="connsiteY2" fmla="*/ 125444 h 125952"/>
                <a:gd name="connsiteX3" fmla="*/ 43244 w 55816"/>
                <a:gd name="connsiteY3" fmla="*/ 113824 h 125952"/>
                <a:gd name="connsiteX4" fmla="*/ 52292 w 55816"/>
                <a:gd name="connsiteY4" fmla="*/ 88106 h 125952"/>
                <a:gd name="connsiteX5" fmla="*/ 55816 w 55816"/>
                <a:gd name="connsiteY5" fmla="*/ 32861 h 125952"/>
                <a:gd name="connsiteX6" fmla="*/ 31432 w 55816"/>
                <a:gd name="connsiteY6" fmla="*/ 1238 h 125952"/>
                <a:gd name="connsiteX7" fmla="*/ 23051 w 55816"/>
                <a:gd name="connsiteY7" fmla="*/ 0 h 125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5816" h="125952">
                  <a:moveTo>
                    <a:pt x="23051" y="0"/>
                  </a:moveTo>
                  <a:lnTo>
                    <a:pt x="0" y="107061"/>
                  </a:lnTo>
                  <a:cubicBezTo>
                    <a:pt x="637" y="117195"/>
                    <a:pt x="8900" y="125169"/>
                    <a:pt x="19050" y="125444"/>
                  </a:cubicBezTo>
                  <a:cubicBezTo>
                    <a:pt x="40576" y="128873"/>
                    <a:pt x="43244" y="113824"/>
                    <a:pt x="43244" y="113824"/>
                  </a:cubicBezTo>
                  <a:lnTo>
                    <a:pt x="52292" y="88106"/>
                  </a:lnTo>
                  <a:lnTo>
                    <a:pt x="55816" y="32861"/>
                  </a:lnTo>
                  <a:cubicBezTo>
                    <a:pt x="50863" y="26194"/>
                    <a:pt x="41624" y="13811"/>
                    <a:pt x="31432" y="1238"/>
                  </a:cubicBezTo>
                  <a:cubicBezTo>
                    <a:pt x="28575" y="667"/>
                    <a:pt x="25717" y="381"/>
                    <a:pt x="23051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7" name="Freihandform: Form 448">
              <a:extLst>
                <a:ext uri="{FF2B5EF4-FFF2-40B4-BE49-F238E27FC236}">
                  <a16:creationId xmlns:a16="http://schemas.microsoft.com/office/drawing/2014/main" id="{24010BC6-0997-4CA5-B4D5-02AA1F1AF22F}"/>
                </a:ext>
              </a:extLst>
            </p:cNvPr>
            <p:cNvSpPr/>
            <p:nvPr/>
          </p:nvSpPr>
          <p:spPr>
            <a:xfrm>
              <a:off x="4457700" y="3489674"/>
              <a:ext cx="79937" cy="157291"/>
            </a:xfrm>
            <a:custGeom>
              <a:avLst/>
              <a:gdLst>
                <a:gd name="connsiteX0" fmla="*/ 65627 w 79937"/>
                <a:gd name="connsiteY0" fmla="*/ 0 h 157291"/>
                <a:gd name="connsiteX1" fmla="*/ 9525 w 79937"/>
                <a:gd name="connsiteY1" fmla="*/ 19812 h 157291"/>
                <a:gd name="connsiteX2" fmla="*/ 0 w 79937"/>
                <a:gd name="connsiteY2" fmla="*/ 20955 h 157291"/>
                <a:gd name="connsiteX3" fmla="*/ 20193 w 79937"/>
                <a:gd name="connsiteY3" fmla="*/ 48006 h 157291"/>
                <a:gd name="connsiteX4" fmla="*/ 14764 w 79937"/>
                <a:gd name="connsiteY4" fmla="*/ 134493 h 157291"/>
                <a:gd name="connsiteX5" fmla="*/ 30766 w 79937"/>
                <a:gd name="connsiteY5" fmla="*/ 156210 h 157291"/>
                <a:gd name="connsiteX6" fmla="*/ 56959 w 79937"/>
                <a:gd name="connsiteY6" fmla="*/ 148018 h 157291"/>
                <a:gd name="connsiteX7" fmla="*/ 79534 w 79937"/>
                <a:gd name="connsiteY7" fmla="*/ 35719 h 157291"/>
                <a:gd name="connsiteX8" fmla="*/ 76200 w 79937"/>
                <a:gd name="connsiteY8" fmla="*/ 19526 h 157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9937" h="157291">
                  <a:moveTo>
                    <a:pt x="65627" y="0"/>
                  </a:moveTo>
                  <a:cubicBezTo>
                    <a:pt x="48311" y="10013"/>
                    <a:pt x="29289" y="16730"/>
                    <a:pt x="9525" y="19812"/>
                  </a:cubicBezTo>
                  <a:lnTo>
                    <a:pt x="0" y="20955"/>
                  </a:lnTo>
                  <a:cubicBezTo>
                    <a:pt x="11525" y="35814"/>
                    <a:pt x="20193" y="48006"/>
                    <a:pt x="20193" y="48006"/>
                  </a:cubicBezTo>
                  <a:lnTo>
                    <a:pt x="14764" y="134493"/>
                  </a:lnTo>
                  <a:cubicBezTo>
                    <a:pt x="13816" y="144743"/>
                    <a:pt x="20695" y="154079"/>
                    <a:pt x="30766" y="156210"/>
                  </a:cubicBezTo>
                  <a:cubicBezTo>
                    <a:pt x="39529" y="158877"/>
                    <a:pt x="53626" y="156782"/>
                    <a:pt x="56959" y="148018"/>
                  </a:cubicBezTo>
                  <a:cubicBezTo>
                    <a:pt x="66484" y="122682"/>
                    <a:pt x="79534" y="35719"/>
                    <a:pt x="79534" y="35719"/>
                  </a:cubicBezTo>
                  <a:cubicBezTo>
                    <a:pt x="80644" y="30093"/>
                    <a:pt x="79442" y="24256"/>
                    <a:pt x="76200" y="195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8" name="Freihandform: Form 449">
              <a:extLst>
                <a:ext uri="{FF2B5EF4-FFF2-40B4-BE49-F238E27FC236}">
                  <a16:creationId xmlns:a16="http://schemas.microsoft.com/office/drawing/2014/main" id="{F17ED9BE-9979-4010-8684-7FFC2268F7F5}"/>
                </a:ext>
              </a:extLst>
            </p:cNvPr>
            <p:cNvSpPr/>
            <p:nvPr/>
          </p:nvSpPr>
          <p:spPr>
            <a:xfrm>
              <a:off x="4457033" y="3228975"/>
              <a:ext cx="88201" cy="77630"/>
            </a:xfrm>
            <a:custGeom>
              <a:avLst/>
              <a:gdLst>
                <a:gd name="connsiteX0" fmla="*/ 0 w 88201"/>
                <a:gd name="connsiteY0" fmla="*/ 30956 h 77630"/>
                <a:gd name="connsiteX1" fmla="*/ 46768 w 88201"/>
                <a:gd name="connsiteY1" fmla="*/ 72104 h 77630"/>
                <a:gd name="connsiteX2" fmla="*/ 51626 w 88201"/>
                <a:gd name="connsiteY2" fmla="*/ 72104 h 77630"/>
                <a:gd name="connsiteX3" fmla="*/ 54578 w 88201"/>
                <a:gd name="connsiteY3" fmla="*/ 74200 h 77630"/>
                <a:gd name="connsiteX4" fmla="*/ 63246 w 88201"/>
                <a:gd name="connsiteY4" fmla="*/ 77629 h 77630"/>
                <a:gd name="connsiteX5" fmla="*/ 76581 w 88201"/>
                <a:gd name="connsiteY5" fmla="*/ 71914 h 77630"/>
                <a:gd name="connsiteX6" fmla="*/ 82772 w 88201"/>
                <a:gd name="connsiteY6" fmla="*/ 56483 h 77630"/>
                <a:gd name="connsiteX7" fmla="*/ 82105 w 88201"/>
                <a:gd name="connsiteY7" fmla="*/ 54292 h 77630"/>
                <a:gd name="connsiteX8" fmla="*/ 88201 w 88201"/>
                <a:gd name="connsiteY8" fmla="*/ 42958 h 77630"/>
                <a:gd name="connsiteX9" fmla="*/ 85630 w 88201"/>
                <a:gd name="connsiteY9" fmla="*/ 42386 h 77630"/>
                <a:gd name="connsiteX10" fmla="*/ 59626 w 88201"/>
                <a:gd name="connsiteY10" fmla="*/ 34861 h 77630"/>
                <a:gd name="connsiteX11" fmla="*/ 57817 w 88201"/>
                <a:gd name="connsiteY11" fmla="*/ 26194 h 77630"/>
                <a:gd name="connsiteX12" fmla="*/ 8287 w 88201"/>
                <a:gd name="connsiteY12" fmla="*/ 0 h 77630"/>
                <a:gd name="connsiteX13" fmla="*/ 0 w 88201"/>
                <a:gd name="connsiteY13" fmla="*/ 30956 h 77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8201" h="77630">
                  <a:moveTo>
                    <a:pt x="0" y="30956"/>
                  </a:moveTo>
                  <a:cubicBezTo>
                    <a:pt x="2388" y="54813"/>
                    <a:pt x="22801" y="72773"/>
                    <a:pt x="46768" y="72104"/>
                  </a:cubicBezTo>
                  <a:cubicBezTo>
                    <a:pt x="48386" y="72199"/>
                    <a:pt x="50008" y="72199"/>
                    <a:pt x="51626" y="72104"/>
                  </a:cubicBezTo>
                  <a:cubicBezTo>
                    <a:pt x="52573" y="72853"/>
                    <a:pt x="53559" y="73552"/>
                    <a:pt x="54578" y="74200"/>
                  </a:cubicBezTo>
                  <a:cubicBezTo>
                    <a:pt x="57098" y="76117"/>
                    <a:pt x="60097" y="77303"/>
                    <a:pt x="63246" y="77629"/>
                  </a:cubicBezTo>
                  <a:cubicBezTo>
                    <a:pt x="68298" y="77690"/>
                    <a:pt x="73141" y="75615"/>
                    <a:pt x="76581" y="71914"/>
                  </a:cubicBezTo>
                  <a:cubicBezTo>
                    <a:pt x="81080" y="68118"/>
                    <a:pt x="83400" y="62336"/>
                    <a:pt x="82772" y="56483"/>
                  </a:cubicBezTo>
                  <a:cubicBezTo>
                    <a:pt x="82607" y="55737"/>
                    <a:pt x="82384" y="55004"/>
                    <a:pt x="82105" y="54292"/>
                  </a:cubicBezTo>
                  <a:cubicBezTo>
                    <a:pt x="84568" y="50762"/>
                    <a:pt x="86614" y="46959"/>
                    <a:pt x="88201" y="42958"/>
                  </a:cubicBezTo>
                  <a:cubicBezTo>
                    <a:pt x="87385" y="42616"/>
                    <a:pt x="86514" y="42422"/>
                    <a:pt x="85630" y="42386"/>
                  </a:cubicBezTo>
                  <a:cubicBezTo>
                    <a:pt x="76256" y="44217"/>
                    <a:pt x="66574" y="41415"/>
                    <a:pt x="59626" y="34861"/>
                  </a:cubicBezTo>
                  <a:cubicBezTo>
                    <a:pt x="56864" y="31528"/>
                    <a:pt x="58293" y="28194"/>
                    <a:pt x="57817" y="26194"/>
                  </a:cubicBezTo>
                  <a:lnTo>
                    <a:pt x="8287" y="0"/>
                  </a:lnTo>
                  <a:cubicBezTo>
                    <a:pt x="3317" y="9597"/>
                    <a:pt x="490" y="20159"/>
                    <a:pt x="0" y="309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9" name="Freihandform: Form 450">
              <a:extLst>
                <a:ext uri="{FF2B5EF4-FFF2-40B4-BE49-F238E27FC236}">
                  <a16:creationId xmlns:a16="http://schemas.microsoft.com/office/drawing/2014/main" id="{49FD11E5-AB1F-4B8C-B74D-07C6E8AB60E2}"/>
                </a:ext>
              </a:extLst>
            </p:cNvPr>
            <p:cNvSpPr/>
            <p:nvPr/>
          </p:nvSpPr>
          <p:spPr>
            <a:xfrm>
              <a:off x="4324350" y="3209925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9525" h="9525"/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0" name="Freihandform: Form 451">
              <a:extLst>
                <a:ext uri="{FF2B5EF4-FFF2-40B4-BE49-F238E27FC236}">
                  <a16:creationId xmlns:a16="http://schemas.microsoft.com/office/drawing/2014/main" id="{B3E01EA5-0EED-4014-B608-3224164ECC47}"/>
                </a:ext>
              </a:extLst>
            </p:cNvPr>
            <p:cNvSpPr/>
            <p:nvPr/>
          </p:nvSpPr>
          <p:spPr>
            <a:xfrm>
              <a:off x="4470844" y="3209756"/>
              <a:ext cx="77152" cy="47221"/>
            </a:xfrm>
            <a:custGeom>
              <a:avLst/>
              <a:gdLst>
                <a:gd name="connsiteX0" fmla="*/ 66580 w 77152"/>
                <a:gd name="connsiteY0" fmla="*/ 39887 h 47221"/>
                <a:gd name="connsiteX1" fmla="*/ 77153 w 77152"/>
                <a:gd name="connsiteY1" fmla="*/ 47222 h 47221"/>
                <a:gd name="connsiteX2" fmla="*/ 77153 w 77152"/>
                <a:gd name="connsiteY2" fmla="*/ 41411 h 47221"/>
                <a:gd name="connsiteX3" fmla="*/ 27507 w 77152"/>
                <a:gd name="connsiteY3" fmla="*/ 198 h 47221"/>
                <a:gd name="connsiteX4" fmla="*/ 0 w 77152"/>
                <a:gd name="connsiteY4" fmla="*/ 12836 h 47221"/>
                <a:gd name="connsiteX5" fmla="*/ 48101 w 77152"/>
                <a:gd name="connsiteY5" fmla="*/ 38268 h 47221"/>
                <a:gd name="connsiteX6" fmla="*/ 66580 w 77152"/>
                <a:gd name="connsiteY6" fmla="*/ 39887 h 47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7152" h="47221">
                  <a:moveTo>
                    <a:pt x="66580" y="39887"/>
                  </a:moveTo>
                  <a:cubicBezTo>
                    <a:pt x="70580" y="41562"/>
                    <a:pt x="74183" y="44061"/>
                    <a:pt x="77153" y="47222"/>
                  </a:cubicBezTo>
                  <a:cubicBezTo>
                    <a:pt x="77153" y="45317"/>
                    <a:pt x="77153" y="43412"/>
                    <a:pt x="77153" y="41411"/>
                  </a:cubicBezTo>
                  <a:cubicBezTo>
                    <a:pt x="74824" y="16321"/>
                    <a:pt x="52597" y="-2130"/>
                    <a:pt x="27507" y="198"/>
                  </a:cubicBezTo>
                  <a:cubicBezTo>
                    <a:pt x="17167" y="1158"/>
                    <a:pt x="7463" y="5616"/>
                    <a:pt x="0" y="12836"/>
                  </a:cubicBezTo>
                  <a:lnTo>
                    <a:pt x="48101" y="38268"/>
                  </a:lnTo>
                  <a:cubicBezTo>
                    <a:pt x="54278" y="36849"/>
                    <a:pt x="60744" y="37416"/>
                    <a:pt x="66580" y="3988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1" name="Freihandform: Form 452">
              <a:extLst>
                <a:ext uri="{FF2B5EF4-FFF2-40B4-BE49-F238E27FC236}">
                  <a16:creationId xmlns:a16="http://schemas.microsoft.com/office/drawing/2014/main" id="{E2040671-C173-4F8D-AE61-9B966828E83A}"/>
                </a:ext>
              </a:extLst>
            </p:cNvPr>
            <p:cNvSpPr/>
            <p:nvPr/>
          </p:nvSpPr>
          <p:spPr>
            <a:xfrm>
              <a:off x="4324282" y="3286548"/>
              <a:ext cx="389432" cy="215151"/>
            </a:xfrm>
            <a:custGeom>
              <a:avLst/>
              <a:gdLst>
                <a:gd name="connsiteX0" fmla="*/ 383353 w 389432"/>
                <a:gd name="connsiteY0" fmla="*/ 148452 h 215151"/>
                <a:gd name="connsiteX1" fmla="*/ 326870 w 389432"/>
                <a:gd name="connsiteY1" fmla="*/ 129973 h 215151"/>
                <a:gd name="connsiteX2" fmla="*/ 319155 w 389432"/>
                <a:gd name="connsiteY2" fmla="*/ 122353 h 215151"/>
                <a:gd name="connsiteX3" fmla="*/ 301533 w 389432"/>
                <a:gd name="connsiteY3" fmla="*/ 116924 h 215151"/>
                <a:gd name="connsiteX4" fmla="*/ 290103 w 389432"/>
                <a:gd name="connsiteY4" fmla="*/ 103303 h 215151"/>
                <a:gd name="connsiteX5" fmla="*/ 219142 w 389432"/>
                <a:gd name="connsiteY5" fmla="*/ 83587 h 215151"/>
                <a:gd name="connsiteX6" fmla="*/ 161040 w 389432"/>
                <a:gd name="connsiteY6" fmla="*/ 23008 h 215151"/>
                <a:gd name="connsiteX7" fmla="*/ 132465 w 389432"/>
                <a:gd name="connsiteY7" fmla="*/ 14911 h 215151"/>
                <a:gd name="connsiteX8" fmla="*/ 98746 w 389432"/>
                <a:gd name="connsiteY8" fmla="*/ 32056 h 215151"/>
                <a:gd name="connsiteX9" fmla="*/ 98746 w 389432"/>
                <a:gd name="connsiteY9" fmla="*/ 28913 h 215151"/>
                <a:gd name="connsiteX10" fmla="*/ 92745 w 389432"/>
                <a:gd name="connsiteY10" fmla="*/ 11197 h 215151"/>
                <a:gd name="connsiteX11" fmla="*/ 76267 w 389432"/>
                <a:gd name="connsiteY11" fmla="*/ 2910 h 215151"/>
                <a:gd name="connsiteX12" fmla="*/ 35405 w 389432"/>
                <a:gd name="connsiteY12" fmla="*/ 52 h 215151"/>
                <a:gd name="connsiteX13" fmla="*/ 9592 w 389432"/>
                <a:gd name="connsiteY13" fmla="*/ 22627 h 215151"/>
                <a:gd name="connsiteX14" fmla="*/ 67 w 389432"/>
                <a:gd name="connsiteY14" fmla="*/ 159406 h 215151"/>
                <a:gd name="connsiteX15" fmla="*/ 5973 w 389432"/>
                <a:gd name="connsiteY15" fmla="*/ 177122 h 215151"/>
                <a:gd name="connsiteX16" fmla="*/ 22641 w 389432"/>
                <a:gd name="connsiteY16" fmla="*/ 185409 h 215151"/>
                <a:gd name="connsiteX17" fmla="*/ 22641 w 389432"/>
                <a:gd name="connsiteY17" fmla="*/ 185409 h 215151"/>
                <a:gd name="connsiteX18" fmla="*/ 53026 w 389432"/>
                <a:gd name="connsiteY18" fmla="*/ 187600 h 215151"/>
                <a:gd name="connsiteX19" fmla="*/ 65123 w 389432"/>
                <a:gd name="connsiteY19" fmla="*/ 199601 h 215151"/>
                <a:gd name="connsiteX20" fmla="*/ 126654 w 389432"/>
                <a:gd name="connsiteY20" fmla="*/ 214460 h 215151"/>
                <a:gd name="connsiteX21" fmla="*/ 142942 w 389432"/>
                <a:gd name="connsiteY21" fmla="*/ 212650 h 215151"/>
                <a:gd name="connsiteX22" fmla="*/ 232191 w 389432"/>
                <a:gd name="connsiteY22" fmla="*/ 170455 h 215151"/>
                <a:gd name="connsiteX23" fmla="*/ 298866 w 389432"/>
                <a:gd name="connsiteY23" fmla="*/ 140641 h 215151"/>
                <a:gd name="connsiteX24" fmla="*/ 312963 w 389432"/>
                <a:gd name="connsiteY24" fmla="*/ 145023 h 215151"/>
                <a:gd name="connsiteX25" fmla="*/ 317250 w 389432"/>
                <a:gd name="connsiteY25" fmla="*/ 145594 h 215151"/>
                <a:gd name="connsiteX26" fmla="*/ 322393 w 389432"/>
                <a:gd name="connsiteY26" fmla="*/ 143880 h 215151"/>
                <a:gd name="connsiteX27" fmla="*/ 379543 w 389432"/>
                <a:gd name="connsiteY27" fmla="*/ 162930 h 215151"/>
                <a:gd name="connsiteX28" fmla="*/ 382305 w 389432"/>
                <a:gd name="connsiteY28" fmla="*/ 162930 h 215151"/>
                <a:gd name="connsiteX29" fmla="*/ 389429 w 389432"/>
                <a:gd name="connsiteY29" fmla="*/ 155391 h 215151"/>
                <a:gd name="connsiteX30" fmla="*/ 384115 w 389432"/>
                <a:gd name="connsiteY30" fmla="*/ 148547 h 215151"/>
                <a:gd name="connsiteX31" fmla="*/ 19974 w 389432"/>
                <a:gd name="connsiteY31" fmla="*/ 165025 h 215151"/>
                <a:gd name="connsiteX32" fmla="*/ 18546 w 389432"/>
                <a:gd name="connsiteY32" fmla="*/ 160739 h 215151"/>
                <a:gd name="connsiteX33" fmla="*/ 28071 w 389432"/>
                <a:gd name="connsiteY33" fmla="*/ 23960 h 215151"/>
                <a:gd name="connsiteX34" fmla="*/ 33976 w 389432"/>
                <a:gd name="connsiteY34" fmla="*/ 18626 h 215151"/>
                <a:gd name="connsiteX35" fmla="*/ 33976 w 389432"/>
                <a:gd name="connsiteY35" fmla="*/ 18626 h 215151"/>
                <a:gd name="connsiteX36" fmla="*/ 74838 w 389432"/>
                <a:gd name="connsiteY36" fmla="*/ 21388 h 215151"/>
                <a:gd name="connsiteX37" fmla="*/ 80363 w 389432"/>
                <a:gd name="connsiteY37" fmla="*/ 27770 h 215151"/>
                <a:gd name="connsiteX38" fmla="*/ 70838 w 389432"/>
                <a:gd name="connsiteY38" fmla="*/ 164549 h 215151"/>
                <a:gd name="connsiteX39" fmla="*/ 64456 w 389432"/>
                <a:gd name="connsiteY39" fmla="*/ 170074 h 215151"/>
                <a:gd name="connsiteX40" fmla="*/ 23594 w 389432"/>
                <a:gd name="connsiteY40" fmla="*/ 167216 h 215151"/>
                <a:gd name="connsiteX41" fmla="*/ 19974 w 389432"/>
                <a:gd name="connsiteY41" fmla="*/ 165025 h 215151"/>
                <a:gd name="connsiteX42" fmla="*/ 74267 w 389432"/>
                <a:gd name="connsiteY42" fmla="*/ 187790 h 215151"/>
                <a:gd name="connsiteX43" fmla="*/ 73219 w 389432"/>
                <a:gd name="connsiteY43" fmla="*/ 187028 h 215151"/>
                <a:gd name="connsiteX44" fmla="*/ 89602 w 389432"/>
                <a:gd name="connsiteY44" fmla="*/ 166645 h 215151"/>
                <a:gd name="connsiteX45" fmla="*/ 107795 w 389432"/>
                <a:gd name="connsiteY45" fmla="*/ 193315 h 215151"/>
                <a:gd name="connsiteX46" fmla="*/ 113415 w 389432"/>
                <a:gd name="connsiteY46" fmla="*/ 199792 h 215151"/>
                <a:gd name="connsiteX47" fmla="*/ 74267 w 389432"/>
                <a:gd name="connsiteY47" fmla="*/ 187790 h 215151"/>
                <a:gd name="connsiteX48" fmla="*/ 223047 w 389432"/>
                <a:gd name="connsiteY48" fmla="*/ 158453 h 215151"/>
                <a:gd name="connsiteX49" fmla="*/ 187519 w 389432"/>
                <a:gd name="connsiteY49" fmla="*/ 181885 h 215151"/>
                <a:gd name="connsiteX50" fmla="*/ 169517 w 389432"/>
                <a:gd name="connsiteY50" fmla="*/ 148547 h 215151"/>
                <a:gd name="connsiteX51" fmla="*/ 170755 w 389432"/>
                <a:gd name="connsiteY51" fmla="*/ 110447 h 215151"/>
                <a:gd name="connsiteX52" fmla="*/ 211998 w 389432"/>
                <a:gd name="connsiteY52" fmla="*/ 131593 h 215151"/>
                <a:gd name="connsiteX53" fmla="*/ 258671 w 389432"/>
                <a:gd name="connsiteY53" fmla="*/ 135498 h 215151"/>
                <a:gd name="connsiteX54" fmla="*/ 223047 w 389432"/>
                <a:gd name="connsiteY54" fmla="*/ 158453 h 215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389432" h="215151">
                  <a:moveTo>
                    <a:pt x="383353" y="148452"/>
                  </a:moveTo>
                  <a:lnTo>
                    <a:pt x="326870" y="129973"/>
                  </a:lnTo>
                  <a:cubicBezTo>
                    <a:pt x="325685" y="126333"/>
                    <a:pt x="322809" y="123493"/>
                    <a:pt x="319155" y="122353"/>
                  </a:cubicBezTo>
                  <a:lnTo>
                    <a:pt x="301533" y="116924"/>
                  </a:lnTo>
                  <a:cubicBezTo>
                    <a:pt x="300854" y="110479"/>
                    <a:pt x="296332" y="105091"/>
                    <a:pt x="290103" y="103303"/>
                  </a:cubicBezTo>
                  <a:lnTo>
                    <a:pt x="219142" y="83587"/>
                  </a:lnTo>
                  <a:cubicBezTo>
                    <a:pt x="219142" y="83587"/>
                    <a:pt x="176375" y="37295"/>
                    <a:pt x="161040" y="23008"/>
                  </a:cubicBezTo>
                  <a:cubicBezTo>
                    <a:pt x="153002" y="16555"/>
                    <a:pt x="142693" y="13634"/>
                    <a:pt x="132465" y="14911"/>
                  </a:cubicBezTo>
                  <a:cubicBezTo>
                    <a:pt x="119078" y="14684"/>
                    <a:pt x="106449" y="21106"/>
                    <a:pt x="98746" y="32056"/>
                  </a:cubicBezTo>
                  <a:lnTo>
                    <a:pt x="98746" y="28913"/>
                  </a:lnTo>
                  <a:cubicBezTo>
                    <a:pt x="99149" y="22449"/>
                    <a:pt x="96994" y="16085"/>
                    <a:pt x="92745" y="11197"/>
                  </a:cubicBezTo>
                  <a:cubicBezTo>
                    <a:pt x="88596" y="6324"/>
                    <a:pt x="82653" y="3336"/>
                    <a:pt x="76267" y="2910"/>
                  </a:cubicBezTo>
                  <a:lnTo>
                    <a:pt x="35405" y="52"/>
                  </a:lnTo>
                  <a:cubicBezTo>
                    <a:pt x="22051" y="-819"/>
                    <a:pt x="10508" y="9276"/>
                    <a:pt x="9592" y="22627"/>
                  </a:cubicBezTo>
                  <a:lnTo>
                    <a:pt x="67" y="159406"/>
                  </a:lnTo>
                  <a:cubicBezTo>
                    <a:pt x="-415" y="165864"/>
                    <a:pt x="1712" y="172245"/>
                    <a:pt x="5973" y="177122"/>
                  </a:cubicBezTo>
                  <a:cubicBezTo>
                    <a:pt x="10167" y="182041"/>
                    <a:pt x="16188" y="185034"/>
                    <a:pt x="22641" y="185409"/>
                  </a:cubicBezTo>
                  <a:lnTo>
                    <a:pt x="22641" y="185409"/>
                  </a:lnTo>
                  <a:lnTo>
                    <a:pt x="53026" y="187600"/>
                  </a:lnTo>
                  <a:cubicBezTo>
                    <a:pt x="56536" y="192094"/>
                    <a:pt x="60601" y="196127"/>
                    <a:pt x="65123" y="199601"/>
                  </a:cubicBezTo>
                  <a:cubicBezTo>
                    <a:pt x="83140" y="211881"/>
                    <a:pt x="105019" y="217165"/>
                    <a:pt x="126654" y="214460"/>
                  </a:cubicBezTo>
                  <a:cubicBezTo>
                    <a:pt x="132111" y="214141"/>
                    <a:pt x="137548" y="213537"/>
                    <a:pt x="142942" y="212650"/>
                  </a:cubicBezTo>
                  <a:cubicBezTo>
                    <a:pt x="182757" y="206459"/>
                    <a:pt x="209046" y="187314"/>
                    <a:pt x="232191" y="170455"/>
                  </a:cubicBezTo>
                  <a:cubicBezTo>
                    <a:pt x="255337" y="153595"/>
                    <a:pt x="272863" y="140927"/>
                    <a:pt x="298866" y="140641"/>
                  </a:cubicBezTo>
                  <a:lnTo>
                    <a:pt x="312963" y="145023"/>
                  </a:lnTo>
                  <a:cubicBezTo>
                    <a:pt x="314352" y="145445"/>
                    <a:pt x="315799" y="145638"/>
                    <a:pt x="317250" y="145594"/>
                  </a:cubicBezTo>
                  <a:cubicBezTo>
                    <a:pt x="319058" y="145356"/>
                    <a:pt x="320804" y="144774"/>
                    <a:pt x="322393" y="143880"/>
                  </a:cubicBezTo>
                  <a:lnTo>
                    <a:pt x="379543" y="162930"/>
                  </a:lnTo>
                  <a:cubicBezTo>
                    <a:pt x="380454" y="163117"/>
                    <a:pt x="381394" y="163117"/>
                    <a:pt x="382305" y="162930"/>
                  </a:cubicBezTo>
                  <a:cubicBezTo>
                    <a:pt x="386354" y="162815"/>
                    <a:pt x="389544" y="159440"/>
                    <a:pt x="389429" y="155391"/>
                  </a:cubicBezTo>
                  <a:cubicBezTo>
                    <a:pt x="389339" y="152195"/>
                    <a:pt x="387189" y="149426"/>
                    <a:pt x="384115" y="148547"/>
                  </a:cubicBezTo>
                  <a:close/>
                  <a:moveTo>
                    <a:pt x="19974" y="165025"/>
                  </a:moveTo>
                  <a:cubicBezTo>
                    <a:pt x="18919" y="163859"/>
                    <a:pt x="18401" y="162305"/>
                    <a:pt x="18546" y="160739"/>
                  </a:cubicBezTo>
                  <a:lnTo>
                    <a:pt x="28071" y="23960"/>
                  </a:lnTo>
                  <a:cubicBezTo>
                    <a:pt x="28408" y="20945"/>
                    <a:pt x="30942" y="18656"/>
                    <a:pt x="33976" y="18626"/>
                  </a:cubicBezTo>
                  <a:lnTo>
                    <a:pt x="33976" y="18626"/>
                  </a:lnTo>
                  <a:lnTo>
                    <a:pt x="74838" y="21388"/>
                  </a:lnTo>
                  <a:cubicBezTo>
                    <a:pt x="78069" y="21736"/>
                    <a:pt x="80482" y="24523"/>
                    <a:pt x="80363" y="27770"/>
                  </a:cubicBezTo>
                  <a:lnTo>
                    <a:pt x="70838" y="164549"/>
                  </a:lnTo>
                  <a:cubicBezTo>
                    <a:pt x="70584" y="167828"/>
                    <a:pt x="67738" y="170292"/>
                    <a:pt x="64456" y="170074"/>
                  </a:cubicBezTo>
                  <a:lnTo>
                    <a:pt x="23594" y="167216"/>
                  </a:lnTo>
                  <a:cubicBezTo>
                    <a:pt x="22148" y="166985"/>
                    <a:pt x="20849" y="166199"/>
                    <a:pt x="19974" y="165025"/>
                  </a:cubicBezTo>
                  <a:close/>
                  <a:moveTo>
                    <a:pt x="74267" y="187790"/>
                  </a:moveTo>
                  <a:lnTo>
                    <a:pt x="73219" y="187028"/>
                  </a:lnTo>
                  <a:cubicBezTo>
                    <a:pt x="82142" y="183945"/>
                    <a:pt x="88510" y="176022"/>
                    <a:pt x="89602" y="166645"/>
                  </a:cubicBezTo>
                  <a:cubicBezTo>
                    <a:pt x="93902" y="176618"/>
                    <a:pt x="100078" y="185672"/>
                    <a:pt x="107795" y="193315"/>
                  </a:cubicBezTo>
                  <a:lnTo>
                    <a:pt x="113415" y="199792"/>
                  </a:lnTo>
                  <a:cubicBezTo>
                    <a:pt x="99453" y="199835"/>
                    <a:pt x="85805" y="195651"/>
                    <a:pt x="74267" y="187790"/>
                  </a:cubicBezTo>
                  <a:close/>
                  <a:moveTo>
                    <a:pt x="223047" y="158453"/>
                  </a:moveTo>
                  <a:cubicBezTo>
                    <a:pt x="211756" y="167069"/>
                    <a:pt x="199885" y="174898"/>
                    <a:pt x="187519" y="181885"/>
                  </a:cubicBezTo>
                  <a:lnTo>
                    <a:pt x="169517" y="148547"/>
                  </a:lnTo>
                  <a:lnTo>
                    <a:pt x="170755" y="110447"/>
                  </a:lnTo>
                  <a:cubicBezTo>
                    <a:pt x="185614" y="119972"/>
                    <a:pt x="204283" y="131116"/>
                    <a:pt x="211998" y="131593"/>
                  </a:cubicBezTo>
                  <a:cubicBezTo>
                    <a:pt x="222000" y="132259"/>
                    <a:pt x="242002" y="133974"/>
                    <a:pt x="258671" y="135498"/>
                  </a:cubicBezTo>
                  <a:cubicBezTo>
                    <a:pt x="246162" y="142118"/>
                    <a:pt x="234244" y="149798"/>
                    <a:pt x="223047" y="15845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92" name="Grafik 465">
            <a:extLst>
              <a:ext uri="{FF2B5EF4-FFF2-40B4-BE49-F238E27FC236}">
                <a16:creationId xmlns:a16="http://schemas.microsoft.com/office/drawing/2014/main" id="{5C0AC224-A971-440F-B2B6-BD9B8689A167}"/>
              </a:ext>
            </a:extLst>
          </p:cNvPr>
          <p:cNvGrpSpPr/>
          <p:nvPr/>
        </p:nvGrpSpPr>
        <p:grpSpPr>
          <a:xfrm>
            <a:off x="9248335" y="3422893"/>
            <a:ext cx="450220" cy="466505"/>
            <a:chOff x="4381500" y="3229004"/>
            <a:chExt cx="383666" cy="397543"/>
          </a:xfrm>
          <a:solidFill>
            <a:srgbClr val="808080"/>
          </a:solidFill>
        </p:grpSpPr>
        <p:sp>
          <p:nvSpPr>
            <p:cNvPr id="293" name="Freihandform: Form 471">
              <a:extLst>
                <a:ext uri="{FF2B5EF4-FFF2-40B4-BE49-F238E27FC236}">
                  <a16:creationId xmlns:a16="http://schemas.microsoft.com/office/drawing/2014/main" id="{3874A1E9-B74A-4E89-84F1-77D490D980EF}"/>
                </a:ext>
              </a:extLst>
            </p:cNvPr>
            <p:cNvSpPr/>
            <p:nvPr/>
          </p:nvSpPr>
          <p:spPr>
            <a:xfrm>
              <a:off x="4498752" y="3378803"/>
              <a:ext cx="147161" cy="247745"/>
            </a:xfrm>
            <a:custGeom>
              <a:avLst/>
              <a:gdLst>
                <a:gd name="connsiteX0" fmla="*/ 0 w 147161"/>
                <a:gd name="connsiteY0" fmla="*/ 0 h 247745"/>
                <a:gd name="connsiteX1" fmla="*/ 147161 w 147161"/>
                <a:gd name="connsiteY1" fmla="*/ 0 h 247745"/>
                <a:gd name="connsiteX2" fmla="*/ 147161 w 147161"/>
                <a:gd name="connsiteY2" fmla="*/ 247745 h 247745"/>
                <a:gd name="connsiteX3" fmla="*/ 0 w 147161"/>
                <a:gd name="connsiteY3" fmla="*/ 247745 h 247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161" h="247745">
                  <a:moveTo>
                    <a:pt x="0" y="0"/>
                  </a:moveTo>
                  <a:lnTo>
                    <a:pt x="147161" y="0"/>
                  </a:lnTo>
                  <a:lnTo>
                    <a:pt x="147161" y="247745"/>
                  </a:lnTo>
                  <a:lnTo>
                    <a:pt x="0" y="2477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4" name="Freihandform: Form 472">
              <a:extLst>
                <a:ext uri="{FF2B5EF4-FFF2-40B4-BE49-F238E27FC236}">
                  <a16:creationId xmlns:a16="http://schemas.microsoft.com/office/drawing/2014/main" id="{A4EF6C21-7B65-40F2-8A65-F8B36FF58F7C}"/>
                </a:ext>
              </a:extLst>
            </p:cNvPr>
            <p:cNvSpPr/>
            <p:nvPr/>
          </p:nvSpPr>
          <p:spPr>
            <a:xfrm>
              <a:off x="4499514" y="3300337"/>
              <a:ext cx="145637" cy="62749"/>
            </a:xfrm>
            <a:custGeom>
              <a:avLst/>
              <a:gdLst>
                <a:gd name="connsiteX0" fmla="*/ 0 w 145637"/>
                <a:gd name="connsiteY0" fmla="*/ 62749 h 62749"/>
                <a:gd name="connsiteX1" fmla="*/ 145637 w 145637"/>
                <a:gd name="connsiteY1" fmla="*/ 62749 h 62749"/>
                <a:gd name="connsiteX2" fmla="*/ 61930 w 145637"/>
                <a:gd name="connsiteY2" fmla="*/ 820 h 62749"/>
                <a:gd name="connsiteX3" fmla="*/ 0 w 145637"/>
                <a:gd name="connsiteY3" fmla="*/ 62749 h 62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5637" h="62749">
                  <a:moveTo>
                    <a:pt x="0" y="62749"/>
                  </a:moveTo>
                  <a:lnTo>
                    <a:pt x="145637" y="62749"/>
                  </a:lnTo>
                  <a:cubicBezTo>
                    <a:pt x="139624" y="22533"/>
                    <a:pt x="102146" y="-5194"/>
                    <a:pt x="61930" y="820"/>
                  </a:cubicBezTo>
                  <a:cubicBezTo>
                    <a:pt x="29918" y="5606"/>
                    <a:pt x="4787" y="30738"/>
                    <a:pt x="0" y="62749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5" name="Freihandform: Form 473">
              <a:extLst>
                <a:ext uri="{FF2B5EF4-FFF2-40B4-BE49-F238E27FC236}">
                  <a16:creationId xmlns:a16="http://schemas.microsoft.com/office/drawing/2014/main" id="{E94EC22B-B2C5-419E-A38D-A60DFD97A450}"/>
                </a:ext>
              </a:extLst>
            </p:cNvPr>
            <p:cNvSpPr/>
            <p:nvPr/>
          </p:nvSpPr>
          <p:spPr>
            <a:xfrm>
              <a:off x="4654486" y="3325653"/>
              <a:ext cx="110680" cy="300799"/>
            </a:xfrm>
            <a:custGeom>
              <a:avLst/>
              <a:gdLst>
                <a:gd name="connsiteX0" fmla="*/ 21336 w 110680"/>
                <a:gd name="connsiteY0" fmla="*/ 300800 h 300799"/>
                <a:gd name="connsiteX1" fmla="*/ 13335 w 110680"/>
                <a:gd name="connsiteY1" fmla="*/ 300800 h 300799"/>
                <a:gd name="connsiteX2" fmla="*/ 13335 w 110680"/>
                <a:gd name="connsiteY2" fmla="*/ 41243 h 300799"/>
                <a:gd name="connsiteX3" fmla="*/ 12192 w 110680"/>
                <a:gd name="connsiteY3" fmla="*/ 33338 h 300799"/>
                <a:gd name="connsiteX4" fmla="*/ 0 w 110680"/>
                <a:gd name="connsiteY4" fmla="*/ 0 h 300799"/>
                <a:gd name="connsiteX5" fmla="*/ 110680 w 110680"/>
                <a:gd name="connsiteY5" fmla="*/ 0 h 300799"/>
                <a:gd name="connsiteX6" fmla="*/ 110680 w 110680"/>
                <a:gd name="connsiteY6" fmla="*/ 300800 h 300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0680" h="300799">
                  <a:moveTo>
                    <a:pt x="21336" y="300800"/>
                  </a:moveTo>
                  <a:lnTo>
                    <a:pt x="13335" y="300800"/>
                  </a:lnTo>
                  <a:lnTo>
                    <a:pt x="13335" y="41243"/>
                  </a:lnTo>
                  <a:lnTo>
                    <a:pt x="12192" y="33338"/>
                  </a:lnTo>
                  <a:cubicBezTo>
                    <a:pt x="10309" y="21544"/>
                    <a:pt x="6170" y="10225"/>
                    <a:pt x="0" y="0"/>
                  </a:cubicBezTo>
                  <a:lnTo>
                    <a:pt x="110680" y="0"/>
                  </a:lnTo>
                  <a:lnTo>
                    <a:pt x="110680" y="3008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6" name="Freihandform: Form 474">
              <a:extLst>
                <a:ext uri="{FF2B5EF4-FFF2-40B4-BE49-F238E27FC236}">
                  <a16:creationId xmlns:a16="http://schemas.microsoft.com/office/drawing/2014/main" id="{E123CF3A-BCC8-4F7B-AB30-E9D29D411FC5}"/>
                </a:ext>
              </a:extLst>
            </p:cNvPr>
            <p:cNvSpPr/>
            <p:nvPr/>
          </p:nvSpPr>
          <p:spPr>
            <a:xfrm>
              <a:off x="4381500" y="3325653"/>
              <a:ext cx="110680" cy="300799"/>
            </a:xfrm>
            <a:custGeom>
              <a:avLst/>
              <a:gdLst>
                <a:gd name="connsiteX0" fmla="*/ 89345 w 110680"/>
                <a:gd name="connsiteY0" fmla="*/ 300800 h 300799"/>
                <a:gd name="connsiteX1" fmla="*/ 97346 w 110680"/>
                <a:gd name="connsiteY1" fmla="*/ 300800 h 300799"/>
                <a:gd name="connsiteX2" fmla="*/ 97346 w 110680"/>
                <a:gd name="connsiteY2" fmla="*/ 41243 h 300799"/>
                <a:gd name="connsiteX3" fmla="*/ 98489 w 110680"/>
                <a:gd name="connsiteY3" fmla="*/ 33338 h 300799"/>
                <a:gd name="connsiteX4" fmla="*/ 110681 w 110680"/>
                <a:gd name="connsiteY4" fmla="*/ 0 h 300799"/>
                <a:gd name="connsiteX5" fmla="*/ 0 w 110680"/>
                <a:gd name="connsiteY5" fmla="*/ 0 h 300799"/>
                <a:gd name="connsiteX6" fmla="*/ 0 w 110680"/>
                <a:gd name="connsiteY6" fmla="*/ 300800 h 300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0680" h="300799">
                  <a:moveTo>
                    <a:pt x="89345" y="300800"/>
                  </a:moveTo>
                  <a:lnTo>
                    <a:pt x="97346" y="300800"/>
                  </a:lnTo>
                  <a:lnTo>
                    <a:pt x="97346" y="41243"/>
                  </a:lnTo>
                  <a:lnTo>
                    <a:pt x="98489" y="33338"/>
                  </a:lnTo>
                  <a:cubicBezTo>
                    <a:pt x="100414" y="21556"/>
                    <a:pt x="104551" y="10244"/>
                    <a:pt x="110681" y="0"/>
                  </a:cubicBezTo>
                  <a:lnTo>
                    <a:pt x="0" y="0"/>
                  </a:lnTo>
                  <a:lnTo>
                    <a:pt x="0" y="3008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7" name="Freihandform: Form 475">
              <a:extLst>
                <a:ext uri="{FF2B5EF4-FFF2-40B4-BE49-F238E27FC236}">
                  <a16:creationId xmlns:a16="http://schemas.microsoft.com/office/drawing/2014/main" id="{1E92D537-68EB-4059-A910-0165BEA4EDD8}"/>
                </a:ext>
              </a:extLst>
            </p:cNvPr>
            <p:cNvSpPr/>
            <p:nvPr/>
          </p:nvSpPr>
          <p:spPr>
            <a:xfrm>
              <a:off x="4594574" y="3229004"/>
              <a:ext cx="169640" cy="76170"/>
            </a:xfrm>
            <a:custGeom>
              <a:avLst/>
              <a:gdLst>
                <a:gd name="connsiteX0" fmla="*/ 0 w 169640"/>
                <a:gd name="connsiteY0" fmla="*/ 52262 h 76170"/>
                <a:gd name="connsiteX1" fmla="*/ 118380 w 169640"/>
                <a:gd name="connsiteY1" fmla="*/ 8091 h 76170"/>
                <a:gd name="connsiteX2" fmla="*/ 169640 w 169640"/>
                <a:gd name="connsiteY2" fmla="*/ 76170 h 76170"/>
                <a:gd name="connsiteX3" fmla="*/ 44672 w 169640"/>
                <a:gd name="connsiteY3" fmla="*/ 76170 h 76170"/>
                <a:gd name="connsiteX4" fmla="*/ 0 w 169640"/>
                <a:gd name="connsiteY4" fmla="*/ 52072 h 76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9640" h="76170">
                  <a:moveTo>
                    <a:pt x="0" y="52262"/>
                  </a:moveTo>
                  <a:cubicBezTo>
                    <a:pt x="20492" y="7375"/>
                    <a:pt x="73492" y="-12401"/>
                    <a:pt x="118380" y="8091"/>
                  </a:cubicBezTo>
                  <a:cubicBezTo>
                    <a:pt x="145886" y="20648"/>
                    <a:pt x="165174" y="46265"/>
                    <a:pt x="169640" y="76170"/>
                  </a:cubicBezTo>
                  <a:lnTo>
                    <a:pt x="44672" y="76170"/>
                  </a:lnTo>
                  <a:cubicBezTo>
                    <a:pt x="32284" y="64177"/>
                    <a:pt x="16826" y="55838"/>
                    <a:pt x="0" y="52072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8" name="Freihandform: Form 476">
              <a:extLst>
                <a:ext uri="{FF2B5EF4-FFF2-40B4-BE49-F238E27FC236}">
                  <a16:creationId xmlns:a16="http://schemas.microsoft.com/office/drawing/2014/main" id="{76328D4B-2EF4-46BB-A0D8-905E23505BFE}"/>
                </a:ext>
              </a:extLst>
            </p:cNvPr>
            <p:cNvSpPr/>
            <p:nvPr/>
          </p:nvSpPr>
          <p:spPr>
            <a:xfrm>
              <a:off x="4382452" y="3229004"/>
              <a:ext cx="169640" cy="76170"/>
            </a:xfrm>
            <a:custGeom>
              <a:avLst/>
              <a:gdLst>
                <a:gd name="connsiteX0" fmla="*/ 169640 w 169640"/>
                <a:gd name="connsiteY0" fmla="*/ 52262 h 76170"/>
                <a:gd name="connsiteX1" fmla="*/ 51261 w 169640"/>
                <a:gd name="connsiteY1" fmla="*/ 8091 h 76170"/>
                <a:gd name="connsiteX2" fmla="*/ 0 w 169640"/>
                <a:gd name="connsiteY2" fmla="*/ 76170 h 76170"/>
                <a:gd name="connsiteX3" fmla="*/ 124968 w 169640"/>
                <a:gd name="connsiteY3" fmla="*/ 76170 h 76170"/>
                <a:gd name="connsiteX4" fmla="*/ 169640 w 169640"/>
                <a:gd name="connsiteY4" fmla="*/ 52072 h 76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9640" h="76170">
                  <a:moveTo>
                    <a:pt x="169640" y="52262"/>
                  </a:moveTo>
                  <a:cubicBezTo>
                    <a:pt x="149148" y="7375"/>
                    <a:pt x="96148" y="-12401"/>
                    <a:pt x="51261" y="8091"/>
                  </a:cubicBezTo>
                  <a:cubicBezTo>
                    <a:pt x="23755" y="20648"/>
                    <a:pt x="4466" y="46265"/>
                    <a:pt x="0" y="76170"/>
                  </a:cubicBezTo>
                  <a:lnTo>
                    <a:pt x="124968" y="76170"/>
                  </a:lnTo>
                  <a:cubicBezTo>
                    <a:pt x="137356" y="64177"/>
                    <a:pt x="152815" y="55838"/>
                    <a:pt x="169640" y="52072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99" name="Grafik 143">
            <a:extLst>
              <a:ext uri="{FF2B5EF4-FFF2-40B4-BE49-F238E27FC236}">
                <a16:creationId xmlns:a16="http://schemas.microsoft.com/office/drawing/2014/main" id="{6993B427-F5CF-45DA-BE15-22A713CCA356}"/>
              </a:ext>
            </a:extLst>
          </p:cNvPr>
          <p:cNvGrpSpPr/>
          <p:nvPr/>
        </p:nvGrpSpPr>
        <p:grpSpPr>
          <a:xfrm>
            <a:off x="9954285" y="3465343"/>
            <a:ext cx="552721" cy="381604"/>
            <a:chOff x="4338065" y="3267065"/>
            <a:chExt cx="471014" cy="325193"/>
          </a:xfrm>
          <a:solidFill>
            <a:srgbClr val="808080"/>
          </a:solidFill>
        </p:grpSpPr>
        <p:sp>
          <p:nvSpPr>
            <p:cNvPr id="300" name="Freihandform: Form 149">
              <a:extLst>
                <a:ext uri="{FF2B5EF4-FFF2-40B4-BE49-F238E27FC236}">
                  <a16:creationId xmlns:a16="http://schemas.microsoft.com/office/drawing/2014/main" id="{DDF060BC-6B5F-4040-B93A-4A4310936AE2}"/>
                </a:ext>
              </a:extLst>
            </p:cNvPr>
            <p:cNvSpPr/>
            <p:nvPr/>
          </p:nvSpPr>
          <p:spPr>
            <a:xfrm>
              <a:off x="4338065" y="3400423"/>
              <a:ext cx="191642" cy="191643"/>
            </a:xfrm>
            <a:custGeom>
              <a:avLst/>
              <a:gdLst>
                <a:gd name="connsiteX0" fmla="*/ 96393 w 191642"/>
                <a:gd name="connsiteY0" fmla="*/ 42007 h 191643"/>
                <a:gd name="connsiteX1" fmla="*/ 42672 w 191642"/>
                <a:gd name="connsiteY1" fmla="*/ 95728 h 191643"/>
                <a:gd name="connsiteX2" fmla="*/ 96393 w 191642"/>
                <a:gd name="connsiteY2" fmla="*/ 149449 h 191643"/>
                <a:gd name="connsiteX3" fmla="*/ 150114 w 191642"/>
                <a:gd name="connsiteY3" fmla="*/ 95728 h 191643"/>
                <a:gd name="connsiteX4" fmla="*/ 96393 w 191642"/>
                <a:gd name="connsiteY4" fmla="*/ 42007 h 191643"/>
                <a:gd name="connsiteX5" fmla="*/ 191643 w 191642"/>
                <a:gd name="connsiteY5" fmla="*/ 95728 h 191643"/>
                <a:gd name="connsiteX6" fmla="*/ 95915 w 191642"/>
                <a:gd name="connsiteY6" fmla="*/ 191643 h 191643"/>
                <a:gd name="connsiteX7" fmla="*/ 0 w 191642"/>
                <a:gd name="connsiteY7" fmla="*/ 95915 h 191643"/>
                <a:gd name="connsiteX8" fmla="*/ 95728 w 191642"/>
                <a:gd name="connsiteY8" fmla="*/ 0 h 191643"/>
                <a:gd name="connsiteX9" fmla="*/ 96393 w 191642"/>
                <a:gd name="connsiteY9" fmla="*/ 2 h 191643"/>
                <a:gd name="connsiteX10" fmla="*/ 191643 w 191642"/>
                <a:gd name="connsiteY10" fmla="*/ 95823 h 19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1642" h="191643">
                  <a:moveTo>
                    <a:pt x="96393" y="42007"/>
                  </a:moveTo>
                  <a:cubicBezTo>
                    <a:pt x="66724" y="42007"/>
                    <a:pt x="42672" y="66059"/>
                    <a:pt x="42672" y="95728"/>
                  </a:cubicBezTo>
                  <a:cubicBezTo>
                    <a:pt x="42672" y="125397"/>
                    <a:pt x="66724" y="149449"/>
                    <a:pt x="96393" y="149449"/>
                  </a:cubicBezTo>
                  <a:cubicBezTo>
                    <a:pt x="126062" y="149449"/>
                    <a:pt x="150114" y="125397"/>
                    <a:pt x="150114" y="95728"/>
                  </a:cubicBezTo>
                  <a:cubicBezTo>
                    <a:pt x="150062" y="66080"/>
                    <a:pt x="126041" y="42059"/>
                    <a:pt x="96393" y="42007"/>
                  </a:cubicBezTo>
                  <a:moveTo>
                    <a:pt x="191643" y="95728"/>
                  </a:moveTo>
                  <a:cubicBezTo>
                    <a:pt x="191695" y="148649"/>
                    <a:pt x="148836" y="191591"/>
                    <a:pt x="95915" y="191643"/>
                  </a:cubicBezTo>
                  <a:cubicBezTo>
                    <a:pt x="42994" y="191695"/>
                    <a:pt x="52" y="148836"/>
                    <a:pt x="0" y="95915"/>
                  </a:cubicBezTo>
                  <a:cubicBezTo>
                    <a:pt x="-52" y="42994"/>
                    <a:pt x="42807" y="52"/>
                    <a:pt x="95728" y="0"/>
                  </a:cubicBezTo>
                  <a:cubicBezTo>
                    <a:pt x="95950" y="0"/>
                    <a:pt x="96171" y="0"/>
                    <a:pt x="96393" y="2"/>
                  </a:cubicBezTo>
                  <a:cubicBezTo>
                    <a:pt x="149090" y="316"/>
                    <a:pt x="191644" y="43125"/>
                    <a:pt x="191643" y="95823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1" name="Freihandform: Form 150">
              <a:extLst>
                <a:ext uri="{FF2B5EF4-FFF2-40B4-BE49-F238E27FC236}">
                  <a16:creationId xmlns:a16="http://schemas.microsoft.com/office/drawing/2014/main" id="{061CCD43-04F3-41EB-AB8F-8CDE4E404364}"/>
                </a:ext>
              </a:extLst>
            </p:cNvPr>
            <p:cNvSpPr/>
            <p:nvPr/>
          </p:nvSpPr>
          <p:spPr>
            <a:xfrm>
              <a:off x="4356924" y="3267065"/>
              <a:ext cx="435959" cy="254708"/>
            </a:xfrm>
            <a:custGeom>
              <a:avLst/>
              <a:gdLst>
                <a:gd name="connsiteX0" fmla="*/ 124587 w 435959"/>
                <a:gd name="connsiteY0" fmla="*/ 113071 h 254708"/>
                <a:gd name="connsiteX1" fmla="*/ 58865 w 435959"/>
                <a:gd name="connsiteY1" fmla="*/ 110595 h 254708"/>
                <a:gd name="connsiteX2" fmla="*/ 69437 w 435959"/>
                <a:gd name="connsiteY2" fmla="*/ 31633 h 254708"/>
                <a:gd name="connsiteX3" fmla="*/ 124587 w 435959"/>
                <a:gd name="connsiteY3" fmla="*/ 31442 h 254708"/>
                <a:gd name="connsiteX4" fmla="*/ 188405 w 435959"/>
                <a:gd name="connsiteY4" fmla="*/ 189271 h 254708"/>
                <a:gd name="connsiteX5" fmla="*/ 158687 w 435959"/>
                <a:gd name="connsiteY5" fmla="*/ 132121 h 254708"/>
                <a:gd name="connsiteX6" fmla="*/ 139637 w 435959"/>
                <a:gd name="connsiteY6" fmla="*/ 115453 h 254708"/>
                <a:gd name="connsiteX7" fmla="*/ 139637 w 435959"/>
                <a:gd name="connsiteY7" fmla="*/ 32776 h 254708"/>
                <a:gd name="connsiteX8" fmla="*/ 202787 w 435959"/>
                <a:gd name="connsiteY8" fmla="*/ 34490 h 254708"/>
                <a:gd name="connsiteX9" fmla="*/ 210407 w 435959"/>
                <a:gd name="connsiteY9" fmla="*/ 40777 h 254708"/>
                <a:gd name="connsiteX10" fmla="*/ 230981 w 435959"/>
                <a:gd name="connsiteY10" fmla="*/ 124692 h 254708"/>
                <a:gd name="connsiteX11" fmla="*/ 230981 w 435959"/>
                <a:gd name="connsiteY11" fmla="*/ 189652 h 254708"/>
                <a:gd name="connsiteX12" fmla="*/ 423767 w 435959"/>
                <a:gd name="connsiteY12" fmla="*/ 195748 h 254708"/>
                <a:gd name="connsiteX13" fmla="*/ 427482 w 435959"/>
                <a:gd name="connsiteY13" fmla="*/ 193653 h 254708"/>
                <a:gd name="connsiteX14" fmla="*/ 435959 w 435959"/>
                <a:gd name="connsiteY14" fmla="*/ 183271 h 254708"/>
                <a:gd name="connsiteX15" fmla="*/ 435959 w 435959"/>
                <a:gd name="connsiteY15" fmla="*/ 149362 h 254708"/>
                <a:gd name="connsiteX16" fmla="*/ 431102 w 435959"/>
                <a:gd name="connsiteY16" fmla="*/ 134788 h 254708"/>
                <a:gd name="connsiteX17" fmla="*/ 396335 w 435959"/>
                <a:gd name="connsiteY17" fmla="*/ 128502 h 254708"/>
                <a:gd name="connsiteX18" fmla="*/ 332613 w 435959"/>
                <a:gd name="connsiteY18" fmla="*/ 126121 h 254708"/>
                <a:gd name="connsiteX19" fmla="*/ 332613 w 435959"/>
                <a:gd name="connsiteY19" fmla="*/ 30871 h 254708"/>
                <a:gd name="connsiteX20" fmla="*/ 336614 w 435959"/>
                <a:gd name="connsiteY20" fmla="*/ 13916 h 254708"/>
                <a:gd name="connsiteX21" fmla="*/ 342709 w 435959"/>
                <a:gd name="connsiteY21" fmla="*/ 11535 h 254708"/>
                <a:gd name="connsiteX22" fmla="*/ 344615 w 435959"/>
                <a:gd name="connsiteY22" fmla="*/ 9535 h 254708"/>
                <a:gd name="connsiteX23" fmla="*/ 344615 w 435959"/>
                <a:gd name="connsiteY23" fmla="*/ 2105 h 254708"/>
                <a:gd name="connsiteX24" fmla="*/ 342519 w 435959"/>
                <a:gd name="connsiteY24" fmla="*/ 10 h 254708"/>
                <a:gd name="connsiteX25" fmla="*/ 327850 w 435959"/>
                <a:gd name="connsiteY25" fmla="*/ 6201 h 254708"/>
                <a:gd name="connsiteX26" fmla="*/ 320707 w 435959"/>
                <a:gd name="connsiteY26" fmla="*/ 31633 h 254708"/>
                <a:gd name="connsiteX27" fmla="*/ 320707 w 435959"/>
                <a:gd name="connsiteY27" fmla="*/ 125644 h 254708"/>
                <a:gd name="connsiteX28" fmla="*/ 242697 w 435959"/>
                <a:gd name="connsiteY28" fmla="*/ 122692 h 254708"/>
                <a:gd name="connsiteX29" fmla="*/ 220313 w 435959"/>
                <a:gd name="connsiteY29" fmla="*/ 36967 h 254708"/>
                <a:gd name="connsiteX30" fmla="*/ 224409 w 435959"/>
                <a:gd name="connsiteY30" fmla="*/ 28394 h 254708"/>
                <a:gd name="connsiteX31" fmla="*/ 221456 w 435959"/>
                <a:gd name="connsiteY31" fmla="*/ 20203 h 254708"/>
                <a:gd name="connsiteX32" fmla="*/ 205931 w 435959"/>
                <a:gd name="connsiteY32" fmla="*/ 14392 h 254708"/>
                <a:gd name="connsiteX33" fmla="*/ 57912 w 435959"/>
                <a:gd name="connsiteY33" fmla="*/ 12392 h 254708"/>
                <a:gd name="connsiteX34" fmla="*/ 52007 w 435959"/>
                <a:gd name="connsiteY34" fmla="*/ 17059 h 254708"/>
                <a:gd name="connsiteX35" fmla="*/ 50197 w 435959"/>
                <a:gd name="connsiteY35" fmla="*/ 25441 h 254708"/>
                <a:gd name="connsiteX36" fmla="*/ 52388 w 435959"/>
                <a:gd name="connsiteY36" fmla="*/ 29918 h 254708"/>
                <a:gd name="connsiteX37" fmla="*/ 56769 w 435959"/>
                <a:gd name="connsiteY37" fmla="*/ 29918 h 254708"/>
                <a:gd name="connsiteX38" fmla="*/ 45053 w 435959"/>
                <a:gd name="connsiteY38" fmla="*/ 118882 h 254708"/>
                <a:gd name="connsiteX39" fmla="*/ 35528 w 435959"/>
                <a:gd name="connsiteY39" fmla="*/ 118882 h 254708"/>
                <a:gd name="connsiteX40" fmla="*/ 27527 w 435959"/>
                <a:gd name="connsiteY40" fmla="*/ 123549 h 254708"/>
                <a:gd name="connsiteX41" fmla="*/ 0 w 435959"/>
                <a:gd name="connsiteY41" fmla="*/ 146695 h 254708"/>
                <a:gd name="connsiteX42" fmla="*/ 0 w 435959"/>
                <a:gd name="connsiteY42" fmla="*/ 154124 h 254708"/>
                <a:gd name="connsiteX43" fmla="*/ 8287 w 435959"/>
                <a:gd name="connsiteY43" fmla="*/ 154124 h 254708"/>
                <a:gd name="connsiteX44" fmla="*/ 38862 w 435959"/>
                <a:gd name="connsiteY44" fmla="*/ 127264 h 254708"/>
                <a:gd name="connsiteX45" fmla="*/ 122492 w 435959"/>
                <a:gd name="connsiteY45" fmla="*/ 128026 h 254708"/>
                <a:gd name="connsiteX46" fmla="*/ 146876 w 435959"/>
                <a:gd name="connsiteY46" fmla="*/ 138694 h 254708"/>
                <a:gd name="connsiteX47" fmla="*/ 184499 w 435959"/>
                <a:gd name="connsiteY47" fmla="*/ 216608 h 254708"/>
                <a:gd name="connsiteX48" fmla="*/ 184499 w 435959"/>
                <a:gd name="connsiteY48" fmla="*/ 254708 h 254708"/>
                <a:gd name="connsiteX49" fmla="*/ 190976 w 435959"/>
                <a:gd name="connsiteY49" fmla="*/ 254708 h 254708"/>
                <a:gd name="connsiteX50" fmla="*/ 198977 w 435959"/>
                <a:gd name="connsiteY50" fmla="*/ 240897 h 254708"/>
                <a:gd name="connsiteX51" fmla="*/ 313277 w 435959"/>
                <a:gd name="connsiteY51" fmla="*/ 241849 h 254708"/>
                <a:gd name="connsiteX52" fmla="*/ 400930 w 435959"/>
                <a:gd name="connsiteY52" fmla="*/ 186395 h 254708"/>
                <a:gd name="connsiteX53" fmla="*/ 423386 w 435959"/>
                <a:gd name="connsiteY53" fmla="*/ 195558 h 254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35959" h="254708">
                  <a:moveTo>
                    <a:pt x="124587" y="113071"/>
                  </a:moveTo>
                  <a:lnTo>
                    <a:pt x="58865" y="110595"/>
                  </a:lnTo>
                  <a:lnTo>
                    <a:pt x="69437" y="31633"/>
                  </a:lnTo>
                  <a:lnTo>
                    <a:pt x="124587" y="31442"/>
                  </a:lnTo>
                  <a:close/>
                  <a:moveTo>
                    <a:pt x="188405" y="189271"/>
                  </a:moveTo>
                  <a:cubicBezTo>
                    <a:pt x="188405" y="189271"/>
                    <a:pt x="171164" y="152600"/>
                    <a:pt x="158687" y="132121"/>
                  </a:cubicBezTo>
                  <a:cubicBezTo>
                    <a:pt x="154115" y="124812"/>
                    <a:pt x="147488" y="119014"/>
                    <a:pt x="139637" y="115453"/>
                  </a:cubicBezTo>
                  <a:lnTo>
                    <a:pt x="139637" y="32776"/>
                  </a:lnTo>
                  <a:lnTo>
                    <a:pt x="202787" y="34490"/>
                  </a:lnTo>
                  <a:cubicBezTo>
                    <a:pt x="206300" y="35002"/>
                    <a:pt x="209237" y="37425"/>
                    <a:pt x="210407" y="40777"/>
                  </a:cubicBezTo>
                  <a:cubicBezTo>
                    <a:pt x="212217" y="46301"/>
                    <a:pt x="230981" y="124692"/>
                    <a:pt x="230981" y="124692"/>
                  </a:cubicBezTo>
                  <a:lnTo>
                    <a:pt x="230981" y="189652"/>
                  </a:lnTo>
                  <a:close/>
                  <a:moveTo>
                    <a:pt x="423767" y="195748"/>
                  </a:moveTo>
                  <a:lnTo>
                    <a:pt x="427482" y="193653"/>
                  </a:lnTo>
                  <a:cubicBezTo>
                    <a:pt x="431944" y="191934"/>
                    <a:pt x="435168" y="187987"/>
                    <a:pt x="435959" y="183271"/>
                  </a:cubicBezTo>
                  <a:cubicBezTo>
                    <a:pt x="435959" y="183271"/>
                    <a:pt x="435959" y="152600"/>
                    <a:pt x="435959" y="149362"/>
                  </a:cubicBezTo>
                  <a:cubicBezTo>
                    <a:pt x="435959" y="146123"/>
                    <a:pt x="435959" y="137741"/>
                    <a:pt x="431102" y="134788"/>
                  </a:cubicBezTo>
                  <a:cubicBezTo>
                    <a:pt x="419847" y="131145"/>
                    <a:pt x="408153" y="129030"/>
                    <a:pt x="396335" y="128502"/>
                  </a:cubicBezTo>
                  <a:lnTo>
                    <a:pt x="332613" y="126121"/>
                  </a:lnTo>
                  <a:lnTo>
                    <a:pt x="332613" y="30871"/>
                  </a:lnTo>
                  <a:cubicBezTo>
                    <a:pt x="332055" y="24934"/>
                    <a:pt x="333460" y="18977"/>
                    <a:pt x="336614" y="13916"/>
                  </a:cubicBezTo>
                  <a:cubicBezTo>
                    <a:pt x="338191" y="12257"/>
                    <a:pt x="340425" y="11385"/>
                    <a:pt x="342709" y="11535"/>
                  </a:cubicBezTo>
                  <a:cubicBezTo>
                    <a:pt x="343777" y="11484"/>
                    <a:pt x="344616" y="10603"/>
                    <a:pt x="344615" y="9535"/>
                  </a:cubicBezTo>
                  <a:lnTo>
                    <a:pt x="344615" y="2105"/>
                  </a:lnTo>
                  <a:cubicBezTo>
                    <a:pt x="344615" y="948"/>
                    <a:pt x="343676" y="10"/>
                    <a:pt x="342519" y="10"/>
                  </a:cubicBezTo>
                  <a:cubicBezTo>
                    <a:pt x="336960" y="-167"/>
                    <a:pt x="331602" y="2095"/>
                    <a:pt x="327850" y="6201"/>
                  </a:cubicBezTo>
                  <a:cubicBezTo>
                    <a:pt x="322513" y="13555"/>
                    <a:pt x="319979" y="22575"/>
                    <a:pt x="320707" y="31633"/>
                  </a:cubicBezTo>
                  <a:lnTo>
                    <a:pt x="320707" y="125644"/>
                  </a:lnTo>
                  <a:lnTo>
                    <a:pt x="242697" y="122692"/>
                  </a:lnTo>
                  <a:cubicBezTo>
                    <a:pt x="236804" y="93730"/>
                    <a:pt x="229332" y="65112"/>
                    <a:pt x="220313" y="36967"/>
                  </a:cubicBezTo>
                  <a:lnTo>
                    <a:pt x="224409" y="28394"/>
                  </a:lnTo>
                  <a:cubicBezTo>
                    <a:pt x="224201" y="25443"/>
                    <a:pt x="223179" y="22608"/>
                    <a:pt x="221456" y="20203"/>
                  </a:cubicBezTo>
                  <a:cubicBezTo>
                    <a:pt x="217140" y="16476"/>
                    <a:pt x="211633" y="14415"/>
                    <a:pt x="205931" y="14392"/>
                  </a:cubicBezTo>
                  <a:lnTo>
                    <a:pt x="57912" y="12392"/>
                  </a:lnTo>
                  <a:cubicBezTo>
                    <a:pt x="55009" y="12109"/>
                    <a:pt x="52402" y="14170"/>
                    <a:pt x="52007" y="17059"/>
                  </a:cubicBezTo>
                  <a:cubicBezTo>
                    <a:pt x="52007" y="17059"/>
                    <a:pt x="50673" y="22012"/>
                    <a:pt x="50197" y="25441"/>
                  </a:cubicBezTo>
                  <a:cubicBezTo>
                    <a:pt x="49714" y="27271"/>
                    <a:pt x="50647" y="29177"/>
                    <a:pt x="52388" y="29918"/>
                  </a:cubicBezTo>
                  <a:lnTo>
                    <a:pt x="56769" y="29918"/>
                  </a:lnTo>
                  <a:lnTo>
                    <a:pt x="45053" y="118882"/>
                  </a:lnTo>
                  <a:lnTo>
                    <a:pt x="35528" y="118882"/>
                  </a:lnTo>
                  <a:cubicBezTo>
                    <a:pt x="31814" y="118882"/>
                    <a:pt x="27527" y="123549"/>
                    <a:pt x="27527" y="123549"/>
                  </a:cubicBezTo>
                  <a:lnTo>
                    <a:pt x="0" y="146695"/>
                  </a:lnTo>
                  <a:lnTo>
                    <a:pt x="0" y="154124"/>
                  </a:lnTo>
                  <a:lnTo>
                    <a:pt x="8287" y="154124"/>
                  </a:lnTo>
                  <a:lnTo>
                    <a:pt x="38862" y="127264"/>
                  </a:lnTo>
                  <a:lnTo>
                    <a:pt x="122492" y="128026"/>
                  </a:lnTo>
                  <a:cubicBezTo>
                    <a:pt x="122492" y="128026"/>
                    <a:pt x="140113" y="128026"/>
                    <a:pt x="146876" y="138694"/>
                  </a:cubicBezTo>
                  <a:cubicBezTo>
                    <a:pt x="161464" y="163626"/>
                    <a:pt x="174045" y="189679"/>
                    <a:pt x="184499" y="216608"/>
                  </a:cubicBezTo>
                  <a:cubicBezTo>
                    <a:pt x="185157" y="229300"/>
                    <a:pt x="185157" y="242017"/>
                    <a:pt x="184499" y="254708"/>
                  </a:cubicBezTo>
                  <a:lnTo>
                    <a:pt x="190976" y="254708"/>
                  </a:lnTo>
                  <a:cubicBezTo>
                    <a:pt x="194691" y="254708"/>
                    <a:pt x="198977" y="240897"/>
                    <a:pt x="198977" y="240897"/>
                  </a:cubicBezTo>
                  <a:lnTo>
                    <a:pt x="313277" y="241849"/>
                  </a:lnTo>
                  <a:cubicBezTo>
                    <a:pt x="322169" y="202331"/>
                    <a:pt x="361412" y="177504"/>
                    <a:pt x="400930" y="186395"/>
                  </a:cubicBezTo>
                  <a:cubicBezTo>
                    <a:pt x="408872" y="188182"/>
                    <a:pt x="416461" y="191278"/>
                    <a:pt x="423386" y="19555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2" name="Freihandform: Form 151">
              <a:extLst>
                <a:ext uri="{FF2B5EF4-FFF2-40B4-BE49-F238E27FC236}">
                  <a16:creationId xmlns:a16="http://schemas.microsoft.com/office/drawing/2014/main" id="{6D2293E1-25E2-4D6C-858D-E47A786CA1A2}"/>
                </a:ext>
              </a:extLst>
            </p:cNvPr>
            <p:cNvSpPr/>
            <p:nvPr/>
          </p:nvSpPr>
          <p:spPr>
            <a:xfrm>
              <a:off x="4674396" y="3457574"/>
              <a:ext cx="134683" cy="134683"/>
            </a:xfrm>
            <a:custGeom>
              <a:avLst/>
              <a:gdLst>
                <a:gd name="connsiteX0" fmla="*/ 134680 w 134683"/>
                <a:gd name="connsiteY0" fmla="*/ 66675 h 134683"/>
                <a:gd name="connsiteX1" fmla="*/ 68009 w 134683"/>
                <a:gd name="connsiteY1" fmla="*/ 134680 h 134683"/>
                <a:gd name="connsiteX2" fmla="*/ 3 w 134683"/>
                <a:gd name="connsiteY2" fmla="*/ 68009 h 134683"/>
                <a:gd name="connsiteX3" fmla="*/ 66675 w 134683"/>
                <a:gd name="connsiteY3" fmla="*/ 3 h 134683"/>
                <a:gd name="connsiteX4" fmla="*/ 67339 w 134683"/>
                <a:gd name="connsiteY4" fmla="*/ 0 h 134683"/>
                <a:gd name="connsiteX5" fmla="*/ 134680 w 134683"/>
                <a:gd name="connsiteY5" fmla="*/ 66675 h 134683"/>
                <a:gd name="connsiteX6" fmla="*/ 67339 w 134683"/>
                <a:gd name="connsiteY6" fmla="*/ 28575 h 134683"/>
                <a:gd name="connsiteX7" fmla="*/ 29239 w 134683"/>
                <a:gd name="connsiteY7" fmla="*/ 66675 h 134683"/>
                <a:gd name="connsiteX8" fmla="*/ 67339 w 134683"/>
                <a:gd name="connsiteY8" fmla="*/ 104775 h 134683"/>
                <a:gd name="connsiteX9" fmla="*/ 105439 w 134683"/>
                <a:gd name="connsiteY9" fmla="*/ 66675 h 134683"/>
                <a:gd name="connsiteX10" fmla="*/ 67339 w 134683"/>
                <a:gd name="connsiteY10" fmla="*/ 28575 h 134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4683" h="134683">
                  <a:moveTo>
                    <a:pt x="134680" y="66675"/>
                  </a:moveTo>
                  <a:cubicBezTo>
                    <a:pt x="135048" y="103865"/>
                    <a:pt x="105199" y="134312"/>
                    <a:pt x="68009" y="134680"/>
                  </a:cubicBezTo>
                  <a:cubicBezTo>
                    <a:pt x="30819" y="135048"/>
                    <a:pt x="372" y="105199"/>
                    <a:pt x="3" y="68009"/>
                  </a:cubicBezTo>
                  <a:cubicBezTo>
                    <a:pt x="-365" y="30819"/>
                    <a:pt x="29485" y="372"/>
                    <a:pt x="66675" y="3"/>
                  </a:cubicBezTo>
                  <a:cubicBezTo>
                    <a:pt x="66896" y="1"/>
                    <a:pt x="67117" y="0"/>
                    <a:pt x="67339" y="0"/>
                  </a:cubicBezTo>
                  <a:cubicBezTo>
                    <a:pt x="104250" y="50"/>
                    <a:pt x="134263" y="29766"/>
                    <a:pt x="134680" y="66675"/>
                  </a:cubicBezTo>
                  <a:moveTo>
                    <a:pt x="67339" y="28575"/>
                  </a:moveTo>
                  <a:cubicBezTo>
                    <a:pt x="46296" y="28575"/>
                    <a:pt x="29239" y="45633"/>
                    <a:pt x="29239" y="66675"/>
                  </a:cubicBezTo>
                  <a:cubicBezTo>
                    <a:pt x="29239" y="87717"/>
                    <a:pt x="46296" y="104775"/>
                    <a:pt x="67339" y="104775"/>
                  </a:cubicBezTo>
                  <a:cubicBezTo>
                    <a:pt x="88381" y="104775"/>
                    <a:pt x="105439" y="87717"/>
                    <a:pt x="105439" y="66675"/>
                  </a:cubicBezTo>
                  <a:cubicBezTo>
                    <a:pt x="105439" y="45633"/>
                    <a:pt x="88381" y="28575"/>
                    <a:pt x="67339" y="28575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03" name="Grafik 3">
            <a:extLst>
              <a:ext uri="{FF2B5EF4-FFF2-40B4-BE49-F238E27FC236}">
                <a16:creationId xmlns:a16="http://schemas.microsoft.com/office/drawing/2014/main" id="{C9E72B70-F964-4C9E-99D1-1218D93DD8E5}"/>
              </a:ext>
            </a:extLst>
          </p:cNvPr>
          <p:cNvGrpSpPr/>
          <p:nvPr/>
        </p:nvGrpSpPr>
        <p:grpSpPr>
          <a:xfrm>
            <a:off x="10762732" y="3368286"/>
            <a:ext cx="489503" cy="575717"/>
            <a:chOff x="4362516" y="3186016"/>
            <a:chExt cx="417142" cy="490611"/>
          </a:xfrm>
          <a:solidFill>
            <a:srgbClr val="808080"/>
          </a:solidFill>
        </p:grpSpPr>
        <p:sp>
          <p:nvSpPr>
            <p:cNvPr id="304" name="Freihandform: Form 13">
              <a:extLst>
                <a:ext uri="{FF2B5EF4-FFF2-40B4-BE49-F238E27FC236}">
                  <a16:creationId xmlns:a16="http://schemas.microsoft.com/office/drawing/2014/main" id="{CCE72318-FE58-45BA-AF93-DC969BD262A4}"/>
                </a:ext>
              </a:extLst>
            </p:cNvPr>
            <p:cNvSpPr/>
            <p:nvPr/>
          </p:nvSpPr>
          <p:spPr>
            <a:xfrm>
              <a:off x="4578667" y="3216401"/>
              <a:ext cx="128396" cy="70742"/>
            </a:xfrm>
            <a:custGeom>
              <a:avLst/>
              <a:gdLst>
                <a:gd name="connsiteX0" fmla="*/ 28003 w 128396"/>
                <a:gd name="connsiteY0" fmla="*/ 66770 h 70742"/>
                <a:gd name="connsiteX1" fmla="*/ 28956 w 128396"/>
                <a:gd name="connsiteY1" fmla="*/ 66770 h 70742"/>
                <a:gd name="connsiteX2" fmla="*/ 93726 w 128396"/>
                <a:gd name="connsiteY2" fmla="*/ 62484 h 70742"/>
                <a:gd name="connsiteX3" fmla="*/ 103251 w 128396"/>
                <a:gd name="connsiteY3" fmla="*/ 39052 h 70742"/>
                <a:gd name="connsiteX4" fmla="*/ 128397 w 128396"/>
                <a:gd name="connsiteY4" fmla="*/ 31052 h 70742"/>
                <a:gd name="connsiteX5" fmla="*/ 99822 w 128396"/>
                <a:gd name="connsiteY5" fmla="*/ 12002 h 70742"/>
                <a:gd name="connsiteX6" fmla="*/ 66484 w 128396"/>
                <a:gd name="connsiteY6" fmla="*/ 19050 h 70742"/>
                <a:gd name="connsiteX7" fmla="*/ 26194 w 128396"/>
                <a:gd name="connsiteY7" fmla="*/ 0 h 70742"/>
                <a:gd name="connsiteX8" fmla="*/ 0 w 128396"/>
                <a:gd name="connsiteY8" fmla="*/ 20955 h 70742"/>
                <a:gd name="connsiteX9" fmla="*/ 28003 w 128396"/>
                <a:gd name="connsiteY9" fmla="*/ 66770 h 70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8396" h="70742">
                  <a:moveTo>
                    <a:pt x="28003" y="66770"/>
                  </a:moveTo>
                  <a:lnTo>
                    <a:pt x="28956" y="66770"/>
                  </a:lnTo>
                  <a:cubicBezTo>
                    <a:pt x="50348" y="73275"/>
                    <a:pt x="73378" y="71751"/>
                    <a:pt x="93726" y="62484"/>
                  </a:cubicBezTo>
                  <a:cubicBezTo>
                    <a:pt x="91430" y="53431"/>
                    <a:pt x="95290" y="43936"/>
                    <a:pt x="103251" y="39052"/>
                  </a:cubicBezTo>
                  <a:lnTo>
                    <a:pt x="128397" y="31052"/>
                  </a:lnTo>
                  <a:cubicBezTo>
                    <a:pt x="128397" y="31052"/>
                    <a:pt x="117348" y="12002"/>
                    <a:pt x="99822" y="12002"/>
                  </a:cubicBezTo>
                  <a:cubicBezTo>
                    <a:pt x="82296" y="12002"/>
                    <a:pt x="79629" y="20098"/>
                    <a:pt x="66484" y="19050"/>
                  </a:cubicBezTo>
                  <a:cubicBezTo>
                    <a:pt x="55435" y="18193"/>
                    <a:pt x="40386" y="0"/>
                    <a:pt x="26194" y="0"/>
                  </a:cubicBezTo>
                  <a:cubicBezTo>
                    <a:pt x="9049" y="0"/>
                    <a:pt x="0" y="20955"/>
                    <a:pt x="0" y="20955"/>
                  </a:cubicBezTo>
                  <a:cubicBezTo>
                    <a:pt x="0" y="20955"/>
                    <a:pt x="31432" y="41148"/>
                    <a:pt x="28003" y="667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5" name="Freihandform: Form 14">
              <a:extLst>
                <a:ext uri="{FF2B5EF4-FFF2-40B4-BE49-F238E27FC236}">
                  <a16:creationId xmlns:a16="http://schemas.microsoft.com/office/drawing/2014/main" id="{1375418B-3C33-4C97-8123-46E76599E0D9}"/>
                </a:ext>
              </a:extLst>
            </p:cNvPr>
            <p:cNvSpPr/>
            <p:nvPr/>
          </p:nvSpPr>
          <p:spPr>
            <a:xfrm>
              <a:off x="4593812" y="3294601"/>
              <a:ext cx="185846" cy="283482"/>
            </a:xfrm>
            <a:custGeom>
              <a:avLst/>
              <a:gdLst>
                <a:gd name="connsiteX0" fmla="*/ 180880 w 185846"/>
                <a:gd name="connsiteY0" fmla="*/ 203835 h 283482"/>
                <a:gd name="connsiteX1" fmla="*/ 131254 w 185846"/>
                <a:gd name="connsiteY1" fmla="*/ 53149 h 283482"/>
                <a:gd name="connsiteX2" fmla="*/ 90678 w 185846"/>
                <a:gd name="connsiteY2" fmla="*/ 7144 h 283482"/>
                <a:gd name="connsiteX3" fmla="*/ 85344 w 185846"/>
                <a:gd name="connsiteY3" fmla="*/ 0 h 283482"/>
                <a:gd name="connsiteX4" fmla="*/ 41053 w 185846"/>
                <a:gd name="connsiteY4" fmla="*/ 9525 h 283482"/>
                <a:gd name="connsiteX5" fmla="*/ 8001 w 185846"/>
                <a:gd name="connsiteY5" fmla="*/ 4477 h 283482"/>
                <a:gd name="connsiteX6" fmla="*/ 6763 w 185846"/>
                <a:gd name="connsiteY6" fmla="*/ 4001 h 283482"/>
                <a:gd name="connsiteX7" fmla="*/ 0 w 185846"/>
                <a:gd name="connsiteY7" fmla="*/ 11716 h 283482"/>
                <a:gd name="connsiteX8" fmla="*/ 42863 w 185846"/>
                <a:gd name="connsiteY8" fmla="*/ 39052 h 283482"/>
                <a:gd name="connsiteX9" fmla="*/ 53626 w 185846"/>
                <a:gd name="connsiteY9" fmla="*/ 57245 h 283482"/>
                <a:gd name="connsiteX10" fmla="*/ 11239 w 185846"/>
                <a:gd name="connsiteY10" fmla="*/ 70675 h 283482"/>
                <a:gd name="connsiteX11" fmla="*/ 10287 w 185846"/>
                <a:gd name="connsiteY11" fmla="*/ 72581 h 283482"/>
                <a:gd name="connsiteX12" fmla="*/ 18478 w 185846"/>
                <a:gd name="connsiteY12" fmla="*/ 89916 h 283482"/>
                <a:gd name="connsiteX13" fmla="*/ 60103 w 185846"/>
                <a:gd name="connsiteY13" fmla="*/ 137541 h 283482"/>
                <a:gd name="connsiteX14" fmla="*/ 60103 w 185846"/>
                <a:gd name="connsiteY14" fmla="*/ 138112 h 283482"/>
                <a:gd name="connsiteX15" fmla="*/ 111443 w 185846"/>
                <a:gd name="connsiteY15" fmla="*/ 282702 h 283482"/>
                <a:gd name="connsiteX16" fmla="*/ 180785 w 185846"/>
                <a:gd name="connsiteY16" fmla="*/ 277178 h 283482"/>
                <a:gd name="connsiteX17" fmla="*/ 180880 w 185846"/>
                <a:gd name="connsiteY17" fmla="*/ 203835 h 283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85846" h="283482">
                  <a:moveTo>
                    <a:pt x="180880" y="203835"/>
                  </a:moveTo>
                  <a:cubicBezTo>
                    <a:pt x="180880" y="203835"/>
                    <a:pt x="176403" y="118110"/>
                    <a:pt x="131254" y="53149"/>
                  </a:cubicBezTo>
                  <a:cubicBezTo>
                    <a:pt x="131254" y="53149"/>
                    <a:pt x="96965" y="13907"/>
                    <a:pt x="90678" y="7144"/>
                  </a:cubicBezTo>
                  <a:cubicBezTo>
                    <a:pt x="88725" y="4899"/>
                    <a:pt x="86942" y="2511"/>
                    <a:pt x="85344" y="0"/>
                  </a:cubicBezTo>
                  <a:cubicBezTo>
                    <a:pt x="71474" y="6433"/>
                    <a:pt x="56342" y="9687"/>
                    <a:pt x="41053" y="9525"/>
                  </a:cubicBezTo>
                  <a:cubicBezTo>
                    <a:pt x="29839" y="9590"/>
                    <a:pt x="18684" y="7886"/>
                    <a:pt x="8001" y="4477"/>
                  </a:cubicBezTo>
                  <a:lnTo>
                    <a:pt x="6763" y="4001"/>
                  </a:lnTo>
                  <a:cubicBezTo>
                    <a:pt x="4813" y="6824"/>
                    <a:pt x="2544" y="9413"/>
                    <a:pt x="0" y="11716"/>
                  </a:cubicBezTo>
                  <a:cubicBezTo>
                    <a:pt x="26860" y="11716"/>
                    <a:pt x="42196" y="37909"/>
                    <a:pt x="42863" y="39052"/>
                  </a:cubicBezTo>
                  <a:lnTo>
                    <a:pt x="53626" y="57245"/>
                  </a:lnTo>
                  <a:lnTo>
                    <a:pt x="11239" y="70675"/>
                  </a:lnTo>
                  <a:cubicBezTo>
                    <a:pt x="10688" y="71164"/>
                    <a:pt x="10347" y="71846"/>
                    <a:pt x="10287" y="72581"/>
                  </a:cubicBezTo>
                  <a:cubicBezTo>
                    <a:pt x="11062" y="79095"/>
                    <a:pt x="13937" y="85181"/>
                    <a:pt x="18478" y="89916"/>
                  </a:cubicBezTo>
                  <a:cubicBezTo>
                    <a:pt x="24860" y="96774"/>
                    <a:pt x="57912" y="134684"/>
                    <a:pt x="60103" y="137541"/>
                  </a:cubicBezTo>
                  <a:lnTo>
                    <a:pt x="60103" y="138112"/>
                  </a:lnTo>
                  <a:cubicBezTo>
                    <a:pt x="96965" y="190786"/>
                    <a:pt x="107728" y="254794"/>
                    <a:pt x="111443" y="282702"/>
                  </a:cubicBezTo>
                  <a:cubicBezTo>
                    <a:pt x="126397" y="283654"/>
                    <a:pt x="164783" y="285179"/>
                    <a:pt x="180785" y="277178"/>
                  </a:cubicBezTo>
                  <a:cubicBezTo>
                    <a:pt x="192119" y="271272"/>
                    <a:pt x="180880" y="203835"/>
                    <a:pt x="180880" y="2038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6" name="Freihandform: Form 21">
              <a:extLst>
                <a:ext uri="{FF2B5EF4-FFF2-40B4-BE49-F238E27FC236}">
                  <a16:creationId xmlns:a16="http://schemas.microsoft.com/office/drawing/2014/main" id="{7666CF27-9CD8-4AE2-9D91-2E25F9B63C1C}"/>
                </a:ext>
              </a:extLst>
            </p:cNvPr>
            <p:cNvSpPr/>
            <p:nvPr/>
          </p:nvSpPr>
          <p:spPr>
            <a:xfrm>
              <a:off x="4423981" y="3186016"/>
              <a:ext cx="128968" cy="70727"/>
            </a:xfrm>
            <a:custGeom>
              <a:avLst/>
              <a:gdLst>
                <a:gd name="connsiteX0" fmla="*/ 28480 w 128968"/>
                <a:gd name="connsiteY0" fmla="*/ 66770 h 70727"/>
                <a:gd name="connsiteX1" fmla="*/ 29432 w 128968"/>
                <a:gd name="connsiteY1" fmla="*/ 66770 h 70727"/>
                <a:gd name="connsiteX2" fmla="*/ 94298 w 128968"/>
                <a:gd name="connsiteY2" fmla="*/ 62389 h 70727"/>
                <a:gd name="connsiteX3" fmla="*/ 103346 w 128968"/>
                <a:gd name="connsiteY3" fmla="*/ 39053 h 70727"/>
                <a:gd name="connsiteX4" fmla="*/ 128969 w 128968"/>
                <a:gd name="connsiteY4" fmla="*/ 31052 h 70727"/>
                <a:gd name="connsiteX5" fmla="*/ 100394 w 128968"/>
                <a:gd name="connsiteY5" fmla="*/ 12002 h 70727"/>
                <a:gd name="connsiteX6" fmla="*/ 67151 w 128968"/>
                <a:gd name="connsiteY6" fmla="*/ 19050 h 70727"/>
                <a:gd name="connsiteX7" fmla="*/ 26860 w 128968"/>
                <a:gd name="connsiteY7" fmla="*/ 0 h 70727"/>
                <a:gd name="connsiteX8" fmla="*/ 0 w 128968"/>
                <a:gd name="connsiteY8" fmla="*/ 21050 h 70727"/>
                <a:gd name="connsiteX9" fmla="*/ 28480 w 128968"/>
                <a:gd name="connsiteY9" fmla="*/ 66770 h 70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8968" h="70727">
                  <a:moveTo>
                    <a:pt x="28480" y="66770"/>
                  </a:moveTo>
                  <a:lnTo>
                    <a:pt x="29432" y="66770"/>
                  </a:lnTo>
                  <a:cubicBezTo>
                    <a:pt x="50864" y="73278"/>
                    <a:pt x="73936" y="71720"/>
                    <a:pt x="94298" y="62389"/>
                  </a:cubicBezTo>
                  <a:cubicBezTo>
                    <a:pt x="91892" y="53468"/>
                    <a:pt x="95556" y="44019"/>
                    <a:pt x="103346" y="39053"/>
                  </a:cubicBezTo>
                  <a:lnTo>
                    <a:pt x="128969" y="31052"/>
                  </a:lnTo>
                  <a:cubicBezTo>
                    <a:pt x="128969" y="31052"/>
                    <a:pt x="117920" y="12002"/>
                    <a:pt x="100394" y="12002"/>
                  </a:cubicBezTo>
                  <a:cubicBezTo>
                    <a:pt x="82868" y="12002"/>
                    <a:pt x="80201" y="20098"/>
                    <a:pt x="67151" y="19050"/>
                  </a:cubicBezTo>
                  <a:cubicBezTo>
                    <a:pt x="56102" y="18193"/>
                    <a:pt x="40958" y="0"/>
                    <a:pt x="26860" y="0"/>
                  </a:cubicBezTo>
                  <a:cubicBezTo>
                    <a:pt x="9144" y="95"/>
                    <a:pt x="0" y="21050"/>
                    <a:pt x="0" y="21050"/>
                  </a:cubicBezTo>
                  <a:cubicBezTo>
                    <a:pt x="0" y="21050"/>
                    <a:pt x="31718" y="40862"/>
                    <a:pt x="28480" y="667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7" name="Freihandform: Form 22">
              <a:extLst>
                <a:ext uri="{FF2B5EF4-FFF2-40B4-BE49-F238E27FC236}">
                  <a16:creationId xmlns:a16="http://schemas.microsoft.com/office/drawing/2014/main" id="{1630720D-FE70-42EC-84B6-0CD7690BA742}"/>
                </a:ext>
              </a:extLst>
            </p:cNvPr>
            <p:cNvSpPr/>
            <p:nvPr/>
          </p:nvSpPr>
          <p:spPr>
            <a:xfrm>
              <a:off x="4362516" y="3263835"/>
              <a:ext cx="204339" cy="278511"/>
            </a:xfrm>
            <a:custGeom>
              <a:avLst/>
              <a:gdLst>
                <a:gd name="connsiteX0" fmla="*/ 132712 w 204339"/>
                <a:gd name="connsiteY0" fmla="*/ 126302 h 278511"/>
                <a:gd name="connsiteX1" fmla="*/ 142237 w 204339"/>
                <a:gd name="connsiteY1" fmla="*/ 108966 h 278511"/>
                <a:gd name="connsiteX2" fmla="*/ 121472 w 204339"/>
                <a:gd name="connsiteY2" fmla="*/ 82582 h 278511"/>
                <a:gd name="connsiteX3" fmla="*/ 109566 w 204339"/>
                <a:gd name="connsiteY3" fmla="*/ 74676 h 278511"/>
                <a:gd name="connsiteX4" fmla="*/ 115281 w 204339"/>
                <a:gd name="connsiteY4" fmla="*/ 61436 h 278511"/>
                <a:gd name="connsiteX5" fmla="*/ 157000 w 204339"/>
                <a:gd name="connsiteY5" fmla="*/ 30290 h 278511"/>
                <a:gd name="connsiteX6" fmla="*/ 189671 w 204339"/>
                <a:gd name="connsiteY6" fmla="*/ 43815 h 278511"/>
                <a:gd name="connsiteX7" fmla="*/ 199196 w 204339"/>
                <a:gd name="connsiteY7" fmla="*/ 49530 h 278511"/>
                <a:gd name="connsiteX8" fmla="*/ 204340 w 204339"/>
                <a:gd name="connsiteY8" fmla="*/ 48292 h 278511"/>
                <a:gd name="connsiteX9" fmla="*/ 168049 w 204339"/>
                <a:gd name="connsiteY9" fmla="*/ 7048 h 278511"/>
                <a:gd name="connsiteX10" fmla="*/ 162620 w 204339"/>
                <a:gd name="connsiteY10" fmla="*/ 0 h 278511"/>
                <a:gd name="connsiteX11" fmla="*/ 118329 w 204339"/>
                <a:gd name="connsiteY11" fmla="*/ 9525 h 278511"/>
                <a:gd name="connsiteX12" fmla="*/ 85277 w 204339"/>
                <a:gd name="connsiteY12" fmla="*/ 4477 h 278511"/>
                <a:gd name="connsiteX13" fmla="*/ 83848 w 204339"/>
                <a:gd name="connsiteY13" fmla="*/ 3715 h 278511"/>
                <a:gd name="connsiteX14" fmla="*/ 74800 w 204339"/>
                <a:gd name="connsiteY14" fmla="*/ 13240 h 278511"/>
                <a:gd name="connsiteX15" fmla="*/ 6124 w 204339"/>
                <a:gd name="connsiteY15" fmla="*/ 153067 h 278511"/>
                <a:gd name="connsiteX16" fmla="*/ 1076 w 204339"/>
                <a:gd name="connsiteY16" fmla="*/ 259842 h 278511"/>
                <a:gd name="connsiteX17" fmla="*/ 49368 w 204339"/>
                <a:gd name="connsiteY17" fmla="*/ 276987 h 278511"/>
                <a:gd name="connsiteX18" fmla="*/ 58226 w 204339"/>
                <a:gd name="connsiteY18" fmla="*/ 278511 h 278511"/>
                <a:gd name="connsiteX19" fmla="*/ 58226 w 204339"/>
                <a:gd name="connsiteY19" fmla="*/ 275273 h 278511"/>
                <a:gd name="connsiteX20" fmla="*/ 132712 w 204339"/>
                <a:gd name="connsiteY20" fmla="*/ 126302 h 278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4339" h="278511">
                  <a:moveTo>
                    <a:pt x="132712" y="126302"/>
                  </a:moveTo>
                  <a:cubicBezTo>
                    <a:pt x="143189" y="116777"/>
                    <a:pt x="142713" y="110966"/>
                    <a:pt x="142237" y="108966"/>
                  </a:cubicBezTo>
                  <a:cubicBezTo>
                    <a:pt x="141475" y="98489"/>
                    <a:pt x="127663" y="86392"/>
                    <a:pt x="121472" y="82582"/>
                  </a:cubicBezTo>
                  <a:lnTo>
                    <a:pt x="109566" y="74676"/>
                  </a:lnTo>
                  <a:lnTo>
                    <a:pt x="115281" y="61436"/>
                  </a:lnTo>
                  <a:cubicBezTo>
                    <a:pt x="120329" y="49816"/>
                    <a:pt x="134331" y="30290"/>
                    <a:pt x="157000" y="30290"/>
                  </a:cubicBezTo>
                  <a:cubicBezTo>
                    <a:pt x="169008" y="31391"/>
                    <a:pt x="180399" y="36107"/>
                    <a:pt x="189671" y="43815"/>
                  </a:cubicBezTo>
                  <a:cubicBezTo>
                    <a:pt x="192728" y="45910"/>
                    <a:pt x="195909" y="47819"/>
                    <a:pt x="199196" y="49530"/>
                  </a:cubicBezTo>
                  <a:cubicBezTo>
                    <a:pt x="200990" y="49577"/>
                    <a:pt x="202764" y="49150"/>
                    <a:pt x="204340" y="48292"/>
                  </a:cubicBezTo>
                  <a:cubicBezTo>
                    <a:pt x="194815" y="37624"/>
                    <a:pt x="172907" y="12383"/>
                    <a:pt x="168049" y="7048"/>
                  </a:cubicBezTo>
                  <a:cubicBezTo>
                    <a:pt x="166034" y="4865"/>
                    <a:pt x="164217" y="2506"/>
                    <a:pt x="162620" y="0"/>
                  </a:cubicBezTo>
                  <a:cubicBezTo>
                    <a:pt x="148750" y="6433"/>
                    <a:pt x="133618" y="9687"/>
                    <a:pt x="118329" y="9525"/>
                  </a:cubicBezTo>
                  <a:cubicBezTo>
                    <a:pt x="107115" y="9590"/>
                    <a:pt x="95961" y="7886"/>
                    <a:pt x="85277" y="4477"/>
                  </a:cubicBezTo>
                  <a:lnTo>
                    <a:pt x="83848" y="3715"/>
                  </a:lnTo>
                  <a:cubicBezTo>
                    <a:pt x="81212" y="7230"/>
                    <a:pt x="78176" y="10427"/>
                    <a:pt x="74800" y="13240"/>
                  </a:cubicBezTo>
                  <a:cubicBezTo>
                    <a:pt x="33080" y="50578"/>
                    <a:pt x="11077" y="122777"/>
                    <a:pt x="6124" y="153067"/>
                  </a:cubicBezTo>
                  <a:cubicBezTo>
                    <a:pt x="338" y="188346"/>
                    <a:pt x="-1356" y="224175"/>
                    <a:pt x="1076" y="259842"/>
                  </a:cubicBezTo>
                  <a:cubicBezTo>
                    <a:pt x="3076" y="286322"/>
                    <a:pt x="27270" y="273939"/>
                    <a:pt x="49368" y="276987"/>
                  </a:cubicBezTo>
                  <a:cubicBezTo>
                    <a:pt x="52797" y="276987"/>
                    <a:pt x="55750" y="277940"/>
                    <a:pt x="58226" y="278511"/>
                  </a:cubicBezTo>
                  <a:cubicBezTo>
                    <a:pt x="58226" y="277463"/>
                    <a:pt x="58226" y="276320"/>
                    <a:pt x="58226" y="275273"/>
                  </a:cubicBezTo>
                  <a:cubicBezTo>
                    <a:pt x="63274" y="248031"/>
                    <a:pt x="85658" y="168021"/>
                    <a:pt x="132712" y="12630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8" name="Freihandform: Form 25">
              <a:extLst>
                <a:ext uri="{FF2B5EF4-FFF2-40B4-BE49-F238E27FC236}">
                  <a16:creationId xmlns:a16="http://schemas.microsoft.com/office/drawing/2014/main" id="{03A0F5EB-B331-46F9-A7D5-2586E97521FD}"/>
                </a:ext>
              </a:extLst>
            </p:cNvPr>
            <p:cNvSpPr/>
            <p:nvPr/>
          </p:nvSpPr>
          <p:spPr>
            <a:xfrm>
              <a:off x="4432185" y="3381183"/>
              <a:ext cx="262580" cy="295444"/>
            </a:xfrm>
            <a:custGeom>
              <a:avLst/>
              <a:gdLst>
                <a:gd name="connsiteX0" fmla="*/ 257543 w 262580"/>
                <a:gd name="connsiteY0" fmla="*/ 210503 h 295444"/>
                <a:gd name="connsiteX1" fmla="*/ 256210 w 262580"/>
                <a:gd name="connsiteY1" fmla="*/ 196787 h 295444"/>
                <a:gd name="connsiteX2" fmla="*/ 208585 w 262580"/>
                <a:gd name="connsiteY2" fmla="*/ 61341 h 295444"/>
                <a:gd name="connsiteX3" fmla="*/ 178867 w 262580"/>
                <a:gd name="connsiteY3" fmla="*/ 27242 h 295444"/>
                <a:gd name="connsiteX4" fmla="*/ 167437 w 262580"/>
                <a:gd name="connsiteY4" fmla="*/ 14478 h 295444"/>
                <a:gd name="connsiteX5" fmla="*/ 157912 w 262580"/>
                <a:gd name="connsiteY5" fmla="*/ 0 h 295444"/>
                <a:gd name="connsiteX6" fmla="*/ 117716 w 262580"/>
                <a:gd name="connsiteY6" fmla="*/ 8763 h 295444"/>
                <a:gd name="connsiteX7" fmla="*/ 107239 w 262580"/>
                <a:gd name="connsiteY7" fmla="*/ 8192 h 295444"/>
                <a:gd name="connsiteX8" fmla="*/ 87712 w 262580"/>
                <a:gd name="connsiteY8" fmla="*/ 4953 h 295444"/>
                <a:gd name="connsiteX9" fmla="*/ 87712 w 262580"/>
                <a:gd name="connsiteY9" fmla="*/ 4953 h 295444"/>
                <a:gd name="connsiteX10" fmla="*/ 74663 w 262580"/>
                <a:gd name="connsiteY10" fmla="*/ 22289 h 295444"/>
                <a:gd name="connsiteX11" fmla="*/ 6083 w 262580"/>
                <a:gd name="connsiteY11" fmla="*/ 161353 h 295444"/>
                <a:gd name="connsiteX12" fmla="*/ 5416 w 262580"/>
                <a:gd name="connsiteY12" fmla="*/ 166021 h 295444"/>
                <a:gd name="connsiteX13" fmla="*/ 1035 w 262580"/>
                <a:gd name="connsiteY13" fmla="*/ 268129 h 295444"/>
                <a:gd name="connsiteX14" fmla="*/ 21799 w 262580"/>
                <a:gd name="connsiteY14" fmla="*/ 285560 h 295444"/>
                <a:gd name="connsiteX15" fmla="*/ 21799 w 262580"/>
                <a:gd name="connsiteY15" fmla="*/ 285560 h 295444"/>
                <a:gd name="connsiteX16" fmla="*/ 30277 w 262580"/>
                <a:gd name="connsiteY16" fmla="*/ 285560 h 295444"/>
                <a:gd name="connsiteX17" fmla="*/ 40945 w 262580"/>
                <a:gd name="connsiteY17" fmla="*/ 285560 h 295444"/>
                <a:gd name="connsiteX18" fmla="*/ 49422 w 262580"/>
                <a:gd name="connsiteY18" fmla="*/ 286131 h 295444"/>
                <a:gd name="connsiteX19" fmla="*/ 68472 w 262580"/>
                <a:gd name="connsiteY19" fmla="*/ 290322 h 295444"/>
                <a:gd name="connsiteX20" fmla="*/ 114478 w 262580"/>
                <a:gd name="connsiteY20" fmla="*/ 295180 h 295444"/>
                <a:gd name="connsiteX21" fmla="*/ 181153 w 262580"/>
                <a:gd name="connsiteY21" fmla="*/ 291370 h 295444"/>
                <a:gd name="connsiteX22" fmla="*/ 182200 w 262580"/>
                <a:gd name="connsiteY22" fmla="*/ 291370 h 295444"/>
                <a:gd name="connsiteX23" fmla="*/ 183248 w 262580"/>
                <a:gd name="connsiteY23" fmla="*/ 291370 h 295444"/>
                <a:gd name="connsiteX24" fmla="*/ 211823 w 262580"/>
                <a:gd name="connsiteY24" fmla="*/ 292513 h 295444"/>
                <a:gd name="connsiteX25" fmla="*/ 257448 w 262580"/>
                <a:gd name="connsiteY25" fmla="*/ 286226 h 295444"/>
                <a:gd name="connsiteX26" fmla="*/ 257448 w 262580"/>
                <a:gd name="connsiteY26" fmla="*/ 213170 h 295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62580" h="295444">
                  <a:moveTo>
                    <a:pt x="257543" y="210503"/>
                  </a:moveTo>
                  <a:cubicBezTo>
                    <a:pt x="257543" y="210503"/>
                    <a:pt x="257543" y="205264"/>
                    <a:pt x="256210" y="196787"/>
                  </a:cubicBezTo>
                  <a:cubicBezTo>
                    <a:pt x="252971" y="170212"/>
                    <a:pt x="242303" y="110204"/>
                    <a:pt x="208585" y="61341"/>
                  </a:cubicBezTo>
                  <a:cubicBezTo>
                    <a:pt x="206299" y="58579"/>
                    <a:pt x="190392" y="40291"/>
                    <a:pt x="178867" y="27242"/>
                  </a:cubicBezTo>
                  <a:lnTo>
                    <a:pt x="167437" y="14478"/>
                  </a:lnTo>
                  <a:cubicBezTo>
                    <a:pt x="163560" y="10152"/>
                    <a:pt x="160350" y="5272"/>
                    <a:pt x="157912" y="0"/>
                  </a:cubicBezTo>
                  <a:cubicBezTo>
                    <a:pt x="145311" y="5814"/>
                    <a:pt x="131593" y="8805"/>
                    <a:pt x="117716" y="8763"/>
                  </a:cubicBezTo>
                  <a:cubicBezTo>
                    <a:pt x="114215" y="8778"/>
                    <a:pt x="110717" y="8588"/>
                    <a:pt x="107239" y="8192"/>
                  </a:cubicBezTo>
                  <a:cubicBezTo>
                    <a:pt x="100627" y="7870"/>
                    <a:pt x="94074" y="6783"/>
                    <a:pt x="87712" y="4953"/>
                  </a:cubicBezTo>
                  <a:lnTo>
                    <a:pt x="87712" y="4953"/>
                  </a:lnTo>
                  <a:cubicBezTo>
                    <a:pt x="84700" y="11627"/>
                    <a:pt x="80243" y="17548"/>
                    <a:pt x="74663" y="22289"/>
                  </a:cubicBezTo>
                  <a:cubicBezTo>
                    <a:pt x="31039" y="60389"/>
                    <a:pt x="10369" y="135636"/>
                    <a:pt x="6083" y="161353"/>
                  </a:cubicBezTo>
                  <a:cubicBezTo>
                    <a:pt x="6083" y="162878"/>
                    <a:pt x="6083" y="164402"/>
                    <a:pt x="5416" y="166021"/>
                  </a:cubicBezTo>
                  <a:cubicBezTo>
                    <a:pt x="233" y="199795"/>
                    <a:pt x="-1236" y="234035"/>
                    <a:pt x="1035" y="268129"/>
                  </a:cubicBezTo>
                  <a:cubicBezTo>
                    <a:pt x="1987" y="280988"/>
                    <a:pt x="7417" y="285560"/>
                    <a:pt x="21799" y="285560"/>
                  </a:cubicBezTo>
                  <a:lnTo>
                    <a:pt x="21799" y="285560"/>
                  </a:lnTo>
                  <a:cubicBezTo>
                    <a:pt x="24657" y="285560"/>
                    <a:pt x="27514" y="285560"/>
                    <a:pt x="30277" y="285560"/>
                  </a:cubicBezTo>
                  <a:cubicBezTo>
                    <a:pt x="33039" y="285560"/>
                    <a:pt x="37230" y="285560"/>
                    <a:pt x="40945" y="285560"/>
                  </a:cubicBezTo>
                  <a:cubicBezTo>
                    <a:pt x="43781" y="285539"/>
                    <a:pt x="46614" y="285730"/>
                    <a:pt x="49422" y="286131"/>
                  </a:cubicBezTo>
                  <a:cubicBezTo>
                    <a:pt x="55873" y="287021"/>
                    <a:pt x="62243" y="288423"/>
                    <a:pt x="68472" y="290322"/>
                  </a:cubicBezTo>
                  <a:cubicBezTo>
                    <a:pt x="83429" y="294495"/>
                    <a:pt x="98979" y="296137"/>
                    <a:pt x="114478" y="295180"/>
                  </a:cubicBezTo>
                  <a:cubicBezTo>
                    <a:pt x="136765" y="295515"/>
                    <a:pt x="159048" y="294241"/>
                    <a:pt x="181153" y="291370"/>
                  </a:cubicBezTo>
                  <a:lnTo>
                    <a:pt x="182200" y="291370"/>
                  </a:lnTo>
                  <a:lnTo>
                    <a:pt x="183248" y="291370"/>
                  </a:lnTo>
                  <a:cubicBezTo>
                    <a:pt x="187439" y="291370"/>
                    <a:pt x="198869" y="292513"/>
                    <a:pt x="211823" y="292513"/>
                  </a:cubicBezTo>
                  <a:cubicBezTo>
                    <a:pt x="227297" y="293452"/>
                    <a:pt x="242804" y="291315"/>
                    <a:pt x="257448" y="286226"/>
                  </a:cubicBezTo>
                  <a:cubicBezTo>
                    <a:pt x="258591" y="285655"/>
                    <a:pt x="268402" y="278702"/>
                    <a:pt x="257448" y="2131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9" name="Freihandform: Form 26">
              <a:extLst>
                <a:ext uri="{FF2B5EF4-FFF2-40B4-BE49-F238E27FC236}">
                  <a16:creationId xmlns:a16="http://schemas.microsoft.com/office/drawing/2014/main" id="{80324E02-AD88-4DAA-895E-335B167F6C1D}"/>
                </a:ext>
              </a:extLst>
            </p:cNvPr>
            <p:cNvSpPr/>
            <p:nvPr/>
          </p:nvSpPr>
          <p:spPr>
            <a:xfrm>
              <a:off x="4493323" y="3311175"/>
              <a:ext cx="128873" cy="61819"/>
            </a:xfrm>
            <a:custGeom>
              <a:avLst/>
              <a:gdLst>
                <a:gd name="connsiteX0" fmla="*/ 66484 w 128873"/>
                <a:gd name="connsiteY0" fmla="*/ 19145 h 61819"/>
                <a:gd name="connsiteX1" fmla="*/ 49435 w 128873"/>
                <a:gd name="connsiteY1" fmla="*/ 10478 h 61819"/>
                <a:gd name="connsiteX2" fmla="*/ 26194 w 128873"/>
                <a:gd name="connsiteY2" fmla="*/ 0 h 61819"/>
                <a:gd name="connsiteX3" fmla="*/ 0 w 128873"/>
                <a:gd name="connsiteY3" fmla="*/ 20860 h 61819"/>
                <a:gd name="connsiteX4" fmla="*/ 0 w 128873"/>
                <a:gd name="connsiteY4" fmla="*/ 20860 h 61819"/>
                <a:gd name="connsiteX5" fmla="*/ 28575 w 128873"/>
                <a:gd name="connsiteY5" fmla="*/ 58293 h 61819"/>
                <a:gd name="connsiteX6" fmla="*/ 32576 w 128873"/>
                <a:gd name="connsiteY6" fmla="*/ 58293 h 61819"/>
                <a:gd name="connsiteX7" fmla="*/ 53531 w 128873"/>
                <a:gd name="connsiteY7" fmla="*/ 61722 h 61819"/>
                <a:gd name="connsiteX8" fmla="*/ 91631 w 128873"/>
                <a:gd name="connsiteY8" fmla="*/ 54007 h 61819"/>
                <a:gd name="connsiteX9" fmla="*/ 94202 w 128873"/>
                <a:gd name="connsiteY9" fmla="*/ 53245 h 61819"/>
                <a:gd name="connsiteX10" fmla="*/ 98965 w 128873"/>
                <a:gd name="connsiteY10" fmla="*/ 42767 h 61819"/>
                <a:gd name="connsiteX11" fmla="*/ 102299 w 128873"/>
                <a:gd name="connsiteY11" fmla="*/ 39529 h 61819"/>
                <a:gd name="connsiteX12" fmla="*/ 103537 w 128873"/>
                <a:gd name="connsiteY12" fmla="*/ 38576 h 61819"/>
                <a:gd name="connsiteX13" fmla="*/ 128873 w 128873"/>
                <a:gd name="connsiteY13" fmla="*/ 30575 h 61819"/>
                <a:gd name="connsiteX14" fmla="*/ 100298 w 128873"/>
                <a:gd name="connsiteY14" fmla="*/ 11525 h 61819"/>
                <a:gd name="connsiteX15" fmla="*/ 84201 w 128873"/>
                <a:gd name="connsiteY15" fmla="*/ 14478 h 61819"/>
                <a:gd name="connsiteX16" fmla="*/ 81534 w 128873"/>
                <a:gd name="connsiteY16" fmla="*/ 15621 h 61819"/>
                <a:gd name="connsiteX17" fmla="*/ 80677 w 128873"/>
                <a:gd name="connsiteY17" fmla="*/ 15621 h 61819"/>
                <a:gd name="connsiteX18" fmla="*/ 66484 w 128873"/>
                <a:gd name="connsiteY18" fmla="*/ 19145 h 61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8873" h="61819">
                  <a:moveTo>
                    <a:pt x="66484" y="19145"/>
                  </a:moveTo>
                  <a:cubicBezTo>
                    <a:pt x="60185" y="17673"/>
                    <a:pt x="54336" y="14700"/>
                    <a:pt x="49435" y="10478"/>
                  </a:cubicBezTo>
                  <a:cubicBezTo>
                    <a:pt x="42813" y="4892"/>
                    <a:pt x="34764" y="1263"/>
                    <a:pt x="26194" y="0"/>
                  </a:cubicBezTo>
                  <a:cubicBezTo>
                    <a:pt x="9335" y="0"/>
                    <a:pt x="95" y="20574"/>
                    <a:pt x="0" y="20860"/>
                  </a:cubicBezTo>
                  <a:lnTo>
                    <a:pt x="0" y="20860"/>
                  </a:lnTo>
                  <a:cubicBezTo>
                    <a:pt x="8954" y="26575"/>
                    <a:pt x="25813" y="41338"/>
                    <a:pt x="28575" y="58293"/>
                  </a:cubicBezTo>
                  <a:cubicBezTo>
                    <a:pt x="29888" y="57962"/>
                    <a:pt x="31263" y="57962"/>
                    <a:pt x="32576" y="58293"/>
                  </a:cubicBezTo>
                  <a:cubicBezTo>
                    <a:pt x="39386" y="60324"/>
                    <a:pt x="46428" y="61476"/>
                    <a:pt x="53531" y="61722"/>
                  </a:cubicBezTo>
                  <a:cubicBezTo>
                    <a:pt x="66676" y="62378"/>
                    <a:pt x="79776" y="59725"/>
                    <a:pt x="91631" y="54007"/>
                  </a:cubicBezTo>
                  <a:cubicBezTo>
                    <a:pt x="92444" y="53622"/>
                    <a:pt x="93311" y="53365"/>
                    <a:pt x="94202" y="53245"/>
                  </a:cubicBezTo>
                  <a:cubicBezTo>
                    <a:pt x="94724" y="49360"/>
                    <a:pt x="96380" y="45715"/>
                    <a:pt x="98965" y="42767"/>
                  </a:cubicBezTo>
                  <a:cubicBezTo>
                    <a:pt x="99981" y="41594"/>
                    <a:pt x="101096" y="40510"/>
                    <a:pt x="102299" y="39529"/>
                  </a:cubicBezTo>
                  <a:lnTo>
                    <a:pt x="103537" y="38576"/>
                  </a:lnTo>
                  <a:lnTo>
                    <a:pt x="128873" y="30575"/>
                  </a:lnTo>
                  <a:cubicBezTo>
                    <a:pt x="128873" y="30575"/>
                    <a:pt x="117539" y="11525"/>
                    <a:pt x="100298" y="11525"/>
                  </a:cubicBezTo>
                  <a:cubicBezTo>
                    <a:pt x="94790" y="11437"/>
                    <a:pt x="89319" y="12441"/>
                    <a:pt x="84201" y="14478"/>
                  </a:cubicBezTo>
                  <a:lnTo>
                    <a:pt x="81534" y="15621"/>
                  </a:lnTo>
                  <a:lnTo>
                    <a:pt x="80677" y="15621"/>
                  </a:lnTo>
                  <a:cubicBezTo>
                    <a:pt x="76393" y="18160"/>
                    <a:pt x="71458" y="19385"/>
                    <a:pt x="66484" y="191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310" name="Grafik 8">
            <a:extLst>
              <a:ext uri="{FF2B5EF4-FFF2-40B4-BE49-F238E27FC236}">
                <a16:creationId xmlns:a16="http://schemas.microsoft.com/office/drawing/2014/main" id="{18D1ED03-FA70-4B13-ACB5-9E60F495D88F}"/>
              </a:ext>
            </a:extLst>
          </p:cNvPr>
          <p:cNvSpPr/>
          <p:nvPr/>
        </p:nvSpPr>
        <p:spPr>
          <a:xfrm>
            <a:off x="1028735" y="4383985"/>
            <a:ext cx="350743" cy="551823"/>
          </a:xfrm>
          <a:custGeom>
            <a:avLst/>
            <a:gdLst>
              <a:gd name="connsiteX0" fmla="*/ 250127 w 298894"/>
              <a:gd name="connsiteY0" fmla="*/ 0 h 470249"/>
              <a:gd name="connsiteX1" fmla="*/ 48768 w 298894"/>
              <a:gd name="connsiteY1" fmla="*/ 0 h 470249"/>
              <a:gd name="connsiteX2" fmla="*/ 0 w 298894"/>
              <a:gd name="connsiteY2" fmla="*/ 57150 h 470249"/>
              <a:gd name="connsiteX3" fmla="*/ 0 w 298894"/>
              <a:gd name="connsiteY3" fmla="*/ 415862 h 470249"/>
              <a:gd name="connsiteX4" fmla="*/ 48768 w 298894"/>
              <a:gd name="connsiteY4" fmla="*/ 470249 h 470249"/>
              <a:gd name="connsiteX5" fmla="*/ 250127 w 298894"/>
              <a:gd name="connsiteY5" fmla="*/ 470249 h 470249"/>
              <a:gd name="connsiteX6" fmla="*/ 298895 w 298894"/>
              <a:gd name="connsiteY6" fmla="*/ 415862 h 470249"/>
              <a:gd name="connsiteX7" fmla="*/ 298895 w 298894"/>
              <a:gd name="connsiteY7" fmla="*/ 57150 h 470249"/>
              <a:gd name="connsiteX8" fmla="*/ 250127 w 298894"/>
              <a:gd name="connsiteY8" fmla="*/ 0 h 470249"/>
              <a:gd name="connsiteX9" fmla="*/ 175831 w 298894"/>
              <a:gd name="connsiteY9" fmla="*/ 442150 h 470249"/>
              <a:gd name="connsiteX10" fmla="*/ 159353 w 298894"/>
              <a:gd name="connsiteY10" fmla="*/ 461200 h 470249"/>
              <a:gd name="connsiteX11" fmla="*/ 139541 w 298894"/>
              <a:gd name="connsiteY11" fmla="*/ 461200 h 470249"/>
              <a:gd name="connsiteX12" fmla="*/ 123063 w 298894"/>
              <a:gd name="connsiteY12" fmla="*/ 442150 h 470249"/>
              <a:gd name="connsiteX13" fmla="*/ 123063 w 298894"/>
              <a:gd name="connsiteY13" fmla="*/ 429197 h 470249"/>
              <a:gd name="connsiteX14" fmla="*/ 137774 w 298894"/>
              <a:gd name="connsiteY14" fmla="*/ 413079 h 470249"/>
              <a:gd name="connsiteX15" fmla="*/ 139541 w 298894"/>
              <a:gd name="connsiteY15" fmla="*/ 413099 h 470249"/>
              <a:gd name="connsiteX16" fmla="*/ 159353 w 298894"/>
              <a:gd name="connsiteY16" fmla="*/ 413099 h 470249"/>
              <a:gd name="connsiteX17" fmla="*/ 175811 w 298894"/>
              <a:gd name="connsiteY17" fmla="*/ 427429 h 470249"/>
              <a:gd name="connsiteX18" fmla="*/ 175832 w 298894"/>
              <a:gd name="connsiteY18" fmla="*/ 429196 h 470249"/>
              <a:gd name="connsiteX19" fmla="*/ 263081 w 298894"/>
              <a:gd name="connsiteY19" fmla="*/ 396621 h 470249"/>
              <a:gd name="connsiteX20" fmla="*/ 32480 w 298894"/>
              <a:gd name="connsiteY20" fmla="*/ 396621 h 470249"/>
              <a:gd name="connsiteX21" fmla="*/ 32480 w 298894"/>
              <a:gd name="connsiteY21" fmla="*/ 44768 h 470249"/>
              <a:gd name="connsiteX22" fmla="*/ 263081 w 298894"/>
              <a:gd name="connsiteY22" fmla="*/ 44768 h 470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298894" h="470249">
                <a:moveTo>
                  <a:pt x="250127" y="0"/>
                </a:moveTo>
                <a:lnTo>
                  <a:pt x="48768" y="0"/>
                </a:lnTo>
                <a:cubicBezTo>
                  <a:pt x="22765" y="0"/>
                  <a:pt x="0" y="25622"/>
                  <a:pt x="0" y="57150"/>
                </a:cubicBezTo>
                <a:lnTo>
                  <a:pt x="0" y="415862"/>
                </a:lnTo>
                <a:cubicBezTo>
                  <a:pt x="0" y="444437"/>
                  <a:pt x="22765" y="470249"/>
                  <a:pt x="48768" y="470249"/>
                </a:cubicBezTo>
                <a:lnTo>
                  <a:pt x="250127" y="470249"/>
                </a:lnTo>
                <a:cubicBezTo>
                  <a:pt x="276130" y="470249"/>
                  <a:pt x="298895" y="444627"/>
                  <a:pt x="298895" y="415862"/>
                </a:cubicBezTo>
                <a:lnTo>
                  <a:pt x="298895" y="57150"/>
                </a:lnTo>
                <a:cubicBezTo>
                  <a:pt x="298895" y="25622"/>
                  <a:pt x="276225" y="0"/>
                  <a:pt x="250127" y="0"/>
                </a:cubicBezTo>
                <a:close/>
                <a:moveTo>
                  <a:pt x="175831" y="442150"/>
                </a:moveTo>
                <a:cubicBezTo>
                  <a:pt x="175831" y="455009"/>
                  <a:pt x="169164" y="461200"/>
                  <a:pt x="159353" y="461200"/>
                </a:cubicBezTo>
                <a:lnTo>
                  <a:pt x="139541" y="461200"/>
                </a:lnTo>
                <a:cubicBezTo>
                  <a:pt x="130016" y="461200"/>
                  <a:pt x="123063" y="454724"/>
                  <a:pt x="123063" y="442150"/>
                </a:cubicBezTo>
                <a:lnTo>
                  <a:pt x="123063" y="429197"/>
                </a:lnTo>
                <a:cubicBezTo>
                  <a:pt x="122674" y="420683"/>
                  <a:pt x="129261" y="413467"/>
                  <a:pt x="137774" y="413079"/>
                </a:cubicBezTo>
                <a:cubicBezTo>
                  <a:pt x="138363" y="413052"/>
                  <a:pt x="138953" y="413059"/>
                  <a:pt x="139541" y="413099"/>
                </a:cubicBezTo>
                <a:lnTo>
                  <a:pt x="159353" y="413099"/>
                </a:lnTo>
                <a:cubicBezTo>
                  <a:pt x="167855" y="412512"/>
                  <a:pt x="175223" y="418927"/>
                  <a:pt x="175811" y="427429"/>
                </a:cubicBezTo>
                <a:cubicBezTo>
                  <a:pt x="175851" y="428017"/>
                  <a:pt x="175858" y="428608"/>
                  <a:pt x="175832" y="429196"/>
                </a:cubicBezTo>
                <a:close/>
                <a:moveTo>
                  <a:pt x="263081" y="396621"/>
                </a:moveTo>
                <a:lnTo>
                  <a:pt x="32480" y="396621"/>
                </a:lnTo>
                <a:lnTo>
                  <a:pt x="32480" y="44768"/>
                </a:lnTo>
                <a:lnTo>
                  <a:pt x="263081" y="44768"/>
                </a:ln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311" name="Grafik 1866">
            <a:extLst>
              <a:ext uri="{FF2B5EF4-FFF2-40B4-BE49-F238E27FC236}">
                <a16:creationId xmlns:a16="http://schemas.microsoft.com/office/drawing/2014/main" id="{22755BE6-16A9-4F7B-BA23-19C5145AC7F8}"/>
              </a:ext>
            </a:extLst>
          </p:cNvPr>
          <p:cNvGrpSpPr/>
          <p:nvPr/>
        </p:nvGrpSpPr>
        <p:grpSpPr>
          <a:xfrm>
            <a:off x="1658266" y="4379179"/>
            <a:ext cx="498283" cy="561435"/>
            <a:chOff x="4657687" y="3490875"/>
            <a:chExt cx="424624" cy="478440"/>
          </a:xfrm>
          <a:solidFill>
            <a:srgbClr val="808080"/>
          </a:solidFill>
        </p:grpSpPr>
        <p:sp>
          <p:nvSpPr>
            <p:cNvPr id="312" name="Freihandform: Form 1874">
              <a:extLst>
                <a:ext uri="{FF2B5EF4-FFF2-40B4-BE49-F238E27FC236}">
                  <a16:creationId xmlns:a16="http://schemas.microsoft.com/office/drawing/2014/main" id="{334034C2-7308-408F-A4F2-22ADA8128785}"/>
                </a:ext>
              </a:extLst>
            </p:cNvPr>
            <p:cNvSpPr/>
            <p:nvPr/>
          </p:nvSpPr>
          <p:spPr>
            <a:xfrm>
              <a:off x="4873714" y="3738525"/>
              <a:ext cx="9525" cy="11239"/>
            </a:xfrm>
            <a:custGeom>
              <a:avLst/>
              <a:gdLst>
                <a:gd name="connsiteX0" fmla="*/ 9525 w 9525"/>
                <a:gd name="connsiteY0" fmla="*/ 11240 h 11239"/>
                <a:gd name="connsiteX1" fmla="*/ 0 w 9525"/>
                <a:gd name="connsiteY1" fmla="*/ 0 h 11239"/>
                <a:gd name="connsiteX2" fmla="*/ 762 w 9525"/>
                <a:gd name="connsiteY2" fmla="*/ 2095 h 11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11239">
                  <a:moveTo>
                    <a:pt x="9525" y="11240"/>
                  </a:moveTo>
                  <a:lnTo>
                    <a:pt x="0" y="0"/>
                  </a:lnTo>
                  <a:cubicBezTo>
                    <a:pt x="196" y="718"/>
                    <a:pt x="451" y="1419"/>
                    <a:pt x="762" y="209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3" name="Freihandform: Form 1875">
              <a:extLst>
                <a:ext uri="{FF2B5EF4-FFF2-40B4-BE49-F238E27FC236}">
                  <a16:creationId xmlns:a16="http://schemas.microsoft.com/office/drawing/2014/main" id="{58B096C0-C185-4F55-9233-FA71D55F177A}"/>
                </a:ext>
              </a:extLst>
            </p:cNvPr>
            <p:cNvSpPr/>
            <p:nvPr/>
          </p:nvSpPr>
          <p:spPr>
            <a:xfrm>
              <a:off x="4732100" y="3612081"/>
              <a:ext cx="157660" cy="157972"/>
            </a:xfrm>
            <a:custGeom>
              <a:avLst/>
              <a:gdLst>
                <a:gd name="connsiteX0" fmla="*/ 147995 w 157660"/>
                <a:gd name="connsiteY0" fmla="*/ 81105 h 157972"/>
                <a:gd name="connsiteX1" fmla="*/ 156861 w 157660"/>
                <a:gd name="connsiteY1" fmla="*/ 80446 h 157972"/>
                <a:gd name="connsiteX2" fmla="*/ 157520 w 157660"/>
                <a:gd name="connsiteY2" fmla="*/ 81105 h 157972"/>
                <a:gd name="connsiteX3" fmla="*/ 141137 w 157660"/>
                <a:gd name="connsiteY3" fmla="*/ 29098 h 157972"/>
                <a:gd name="connsiteX4" fmla="*/ 29885 w 157660"/>
                <a:gd name="connsiteY4" fmla="*/ 16049 h 157972"/>
                <a:gd name="connsiteX5" fmla="*/ 16766 w 157660"/>
                <a:gd name="connsiteY5" fmla="*/ 125996 h 157972"/>
                <a:gd name="connsiteX6" fmla="*/ 17121 w 157660"/>
                <a:gd name="connsiteY6" fmla="*/ 126444 h 157972"/>
                <a:gd name="connsiteX7" fmla="*/ 98941 w 157660"/>
                <a:gd name="connsiteY7" fmla="*/ 155971 h 157972"/>
                <a:gd name="connsiteX8" fmla="*/ 92464 w 157660"/>
                <a:gd name="connsiteY8" fmla="*/ 146446 h 157972"/>
                <a:gd name="connsiteX9" fmla="*/ 23694 w 157660"/>
                <a:gd name="connsiteY9" fmla="*/ 123586 h 157972"/>
                <a:gd name="connsiteX10" fmla="*/ 36838 w 157660"/>
                <a:gd name="connsiteY10" fmla="*/ 22621 h 157972"/>
                <a:gd name="connsiteX11" fmla="*/ 134946 w 157660"/>
                <a:gd name="connsiteY11" fmla="*/ 35575 h 157972"/>
                <a:gd name="connsiteX12" fmla="*/ 147995 w 157660"/>
                <a:gd name="connsiteY12" fmla="*/ 81105 h 157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660" h="157972">
                  <a:moveTo>
                    <a:pt x="147995" y="81105"/>
                  </a:moveTo>
                  <a:cubicBezTo>
                    <a:pt x="150261" y="78474"/>
                    <a:pt x="154231" y="78179"/>
                    <a:pt x="156861" y="80446"/>
                  </a:cubicBezTo>
                  <a:cubicBezTo>
                    <a:pt x="157096" y="80649"/>
                    <a:pt x="157317" y="80869"/>
                    <a:pt x="157520" y="81105"/>
                  </a:cubicBezTo>
                  <a:cubicBezTo>
                    <a:pt x="158660" y="62342"/>
                    <a:pt x="152826" y="43820"/>
                    <a:pt x="141137" y="29098"/>
                  </a:cubicBezTo>
                  <a:cubicBezTo>
                    <a:pt x="111705" y="-3477"/>
                    <a:pt x="62556" y="-9954"/>
                    <a:pt x="29885" y="16049"/>
                  </a:cubicBezTo>
                  <a:cubicBezTo>
                    <a:pt x="-4099" y="42787"/>
                    <a:pt x="-9972" y="92012"/>
                    <a:pt x="16766" y="125996"/>
                  </a:cubicBezTo>
                  <a:cubicBezTo>
                    <a:pt x="16884" y="126145"/>
                    <a:pt x="17002" y="126295"/>
                    <a:pt x="17121" y="126444"/>
                  </a:cubicBezTo>
                  <a:cubicBezTo>
                    <a:pt x="36299" y="151405"/>
                    <a:pt x="68243" y="162933"/>
                    <a:pt x="98941" y="155971"/>
                  </a:cubicBezTo>
                  <a:lnTo>
                    <a:pt x="92464" y="146446"/>
                  </a:lnTo>
                  <a:cubicBezTo>
                    <a:pt x="69509" y="152923"/>
                    <a:pt x="43315" y="143112"/>
                    <a:pt x="23694" y="123586"/>
                  </a:cubicBezTo>
                  <a:cubicBezTo>
                    <a:pt x="-550" y="92074"/>
                    <a:pt x="5335" y="46876"/>
                    <a:pt x="36838" y="22621"/>
                  </a:cubicBezTo>
                  <a:cubicBezTo>
                    <a:pt x="66270" y="-239"/>
                    <a:pt x="108752" y="6333"/>
                    <a:pt x="134946" y="35575"/>
                  </a:cubicBezTo>
                  <a:cubicBezTo>
                    <a:pt x="144127" y="48931"/>
                    <a:pt x="148708" y="64913"/>
                    <a:pt x="147995" y="811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4" name="Freihandform: Form 1876">
              <a:extLst>
                <a:ext uri="{FF2B5EF4-FFF2-40B4-BE49-F238E27FC236}">
                  <a16:creationId xmlns:a16="http://schemas.microsoft.com/office/drawing/2014/main" id="{58330DFD-585E-48B5-95AC-4A01B030034D}"/>
                </a:ext>
              </a:extLst>
            </p:cNvPr>
            <p:cNvSpPr/>
            <p:nvPr/>
          </p:nvSpPr>
          <p:spPr>
            <a:xfrm>
              <a:off x="4759224" y="3638064"/>
              <a:ext cx="105006" cy="104571"/>
            </a:xfrm>
            <a:custGeom>
              <a:avLst/>
              <a:gdLst>
                <a:gd name="connsiteX0" fmla="*/ 28955 w 105006"/>
                <a:gd name="connsiteY0" fmla="*/ 22641 h 104571"/>
                <a:gd name="connsiteX1" fmla="*/ 80368 w 105006"/>
                <a:gd name="connsiteY1" fmla="*/ 28326 h 104571"/>
                <a:gd name="connsiteX2" fmla="*/ 81057 w 105006"/>
                <a:gd name="connsiteY2" fmla="*/ 29213 h 104571"/>
                <a:gd name="connsiteX3" fmla="*/ 90582 w 105006"/>
                <a:gd name="connsiteY3" fmla="*/ 48835 h 104571"/>
                <a:gd name="connsiteX4" fmla="*/ 103822 w 105006"/>
                <a:gd name="connsiteY4" fmla="*/ 62360 h 104571"/>
                <a:gd name="connsiteX5" fmla="*/ 64485 w 105006"/>
                <a:gd name="connsiteY5" fmla="*/ 1174 h 104571"/>
                <a:gd name="connsiteX6" fmla="*/ 19145 w 105006"/>
                <a:gd name="connsiteY6" fmla="*/ 13211 h 104571"/>
                <a:gd name="connsiteX7" fmla="*/ 10033 w 105006"/>
                <a:gd name="connsiteY7" fmla="*/ 81575 h 104571"/>
                <a:gd name="connsiteX8" fmla="*/ 12763 w 105006"/>
                <a:gd name="connsiteY8" fmla="*/ 84839 h 104571"/>
                <a:gd name="connsiteX9" fmla="*/ 51815 w 105006"/>
                <a:gd name="connsiteY9" fmla="*/ 104556 h 104571"/>
                <a:gd name="connsiteX10" fmla="*/ 38766 w 105006"/>
                <a:gd name="connsiteY10" fmla="*/ 91411 h 104571"/>
                <a:gd name="connsiteX11" fmla="*/ 22288 w 105006"/>
                <a:gd name="connsiteY11" fmla="*/ 78362 h 104571"/>
                <a:gd name="connsiteX12" fmla="*/ 26414 w 105006"/>
                <a:gd name="connsiteY12" fmla="*/ 24639 h 104571"/>
                <a:gd name="connsiteX13" fmla="*/ 28955 w 105006"/>
                <a:gd name="connsiteY13" fmla="*/ 22641 h 104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5006" h="104571">
                  <a:moveTo>
                    <a:pt x="28955" y="22641"/>
                  </a:moveTo>
                  <a:cubicBezTo>
                    <a:pt x="44722" y="10013"/>
                    <a:pt x="67741" y="12558"/>
                    <a:pt x="80368" y="28326"/>
                  </a:cubicBezTo>
                  <a:cubicBezTo>
                    <a:pt x="80602" y="28618"/>
                    <a:pt x="80832" y="28914"/>
                    <a:pt x="81057" y="29213"/>
                  </a:cubicBezTo>
                  <a:cubicBezTo>
                    <a:pt x="86702" y="34237"/>
                    <a:pt x="90126" y="41292"/>
                    <a:pt x="90582" y="48835"/>
                  </a:cubicBezTo>
                  <a:lnTo>
                    <a:pt x="103822" y="62360"/>
                  </a:lnTo>
                  <a:cubicBezTo>
                    <a:pt x="109855" y="34602"/>
                    <a:pt x="92243" y="7208"/>
                    <a:pt x="64485" y="1174"/>
                  </a:cubicBezTo>
                  <a:cubicBezTo>
                    <a:pt x="48315" y="-2340"/>
                    <a:pt x="31442" y="2139"/>
                    <a:pt x="19145" y="13211"/>
                  </a:cubicBezTo>
                  <a:cubicBezTo>
                    <a:pt x="-2250" y="29573"/>
                    <a:pt x="-6329" y="60181"/>
                    <a:pt x="10033" y="81575"/>
                  </a:cubicBezTo>
                  <a:cubicBezTo>
                    <a:pt x="10895" y="82702"/>
                    <a:pt x="11806" y="83791"/>
                    <a:pt x="12763" y="84839"/>
                  </a:cubicBezTo>
                  <a:cubicBezTo>
                    <a:pt x="21646" y="97549"/>
                    <a:pt x="36314" y="104955"/>
                    <a:pt x="51815" y="104556"/>
                  </a:cubicBezTo>
                  <a:lnTo>
                    <a:pt x="38766" y="91411"/>
                  </a:lnTo>
                  <a:cubicBezTo>
                    <a:pt x="31989" y="88989"/>
                    <a:pt x="26198" y="84403"/>
                    <a:pt x="22288" y="78362"/>
                  </a:cubicBezTo>
                  <a:cubicBezTo>
                    <a:pt x="8592" y="62387"/>
                    <a:pt x="10439" y="38335"/>
                    <a:pt x="26414" y="24639"/>
                  </a:cubicBezTo>
                  <a:cubicBezTo>
                    <a:pt x="27233" y="23937"/>
                    <a:pt x="28080" y="23271"/>
                    <a:pt x="28955" y="2264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5" name="Freihandform: Form 1877">
              <a:extLst>
                <a:ext uri="{FF2B5EF4-FFF2-40B4-BE49-F238E27FC236}">
                  <a16:creationId xmlns:a16="http://schemas.microsoft.com/office/drawing/2014/main" id="{21F807A3-1772-4B23-AE66-BBDA29F61A8A}"/>
                </a:ext>
              </a:extLst>
            </p:cNvPr>
            <p:cNvSpPr/>
            <p:nvPr/>
          </p:nvSpPr>
          <p:spPr>
            <a:xfrm>
              <a:off x="4802727" y="3682918"/>
              <a:ext cx="279584" cy="225532"/>
            </a:xfrm>
            <a:custGeom>
              <a:avLst/>
              <a:gdLst>
                <a:gd name="connsiteX0" fmla="*/ 257772 w 279584"/>
                <a:gd name="connsiteY0" fmla="*/ 133998 h 225532"/>
                <a:gd name="connsiteX1" fmla="*/ 245485 w 279584"/>
                <a:gd name="connsiteY1" fmla="*/ 103232 h 225532"/>
                <a:gd name="connsiteX2" fmla="*/ 172238 w 279584"/>
                <a:gd name="connsiteY2" fmla="*/ 11697 h 225532"/>
                <a:gd name="connsiteX3" fmla="*/ 147758 w 279584"/>
                <a:gd name="connsiteY3" fmla="*/ 8649 h 225532"/>
                <a:gd name="connsiteX4" fmla="*/ 143072 w 279584"/>
                <a:gd name="connsiteY4" fmla="*/ 30926 h 225532"/>
                <a:gd name="connsiteX5" fmla="*/ 144710 w 279584"/>
                <a:gd name="connsiteY5" fmla="*/ 33033 h 225532"/>
                <a:gd name="connsiteX6" fmla="*/ 144710 w 279584"/>
                <a:gd name="connsiteY6" fmla="*/ 36557 h 225532"/>
                <a:gd name="connsiteX7" fmla="*/ 135185 w 279584"/>
                <a:gd name="connsiteY7" fmla="*/ 24365 h 225532"/>
                <a:gd name="connsiteX8" fmla="*/ 112763 w 279584"/>
                <a:gd name="connsiteY8" fmla="*/ 19716 h 225532"/>
                <a:gd name="connsiteX9" fmla="*/ 110706 w 279584"/>
                <a:gd name="connsiteY9" fmla="*/ 21317 h 225532"/>
                <a:gd name="connsiteX10" fmla="*/ 105761 w 279584"/>
                <a:gd name="connsiteY10" fmla="*/ 43262 h 225532"/>
                <a:gd name="connsiteX11" fmla="*/ 107658 w 279584"/>
                <a:gd name="connsiteY11" fmla="*/ 45701 h 225532"/>
                <a:gd name="connsiteX12" fmla="*/ 98133 w 279584"/>
                <a:gd name="connsiteY12" fmla="*/ 36176 h 225532"/>
                <a:gd name="connsiteX13" fmla="*/ 74035 w 279584"/>
                <a:gd name="connsiteY13" fmla="*/ 33223 h 225532"/>
                <a:gd name="connsiteX14" fmla="*/ 70225 w 279584"/>
                <a:gd name="connsiteY14" fmla="*/ 55607 h 225532"/>
                <a:gd name="connsiteX15" fmla="*/ 79750 w 279584"/>
                <a:gd name="connsiteY15" fmla="*/ 66846 h 225532"/>
                <a:gd name="connsiteX16" fmla="*/ 70225 w 279584"/>
                <a:gd name="connsiteY16" fmla="*/ 57321 h 225532"/>
                <a:gd name="connsiteX17" fmla="*/ 69463 w 279584"/>
                <a:gd name="connsiteY17" fmla="*/ 55226 h 225532"/>
                <a:gd name="connsiteX18" fmla="*/ 54985 w 279584"/>
                <a:gd name="connsiteY18" fmla="*/ 38938 h 225532"/>
                <a:gd name="connsiteX19" fmla="*/ 30506 w 279584"/>
                <a:gd name="connsiteY19" fmla="*/ 5410 h 225532"/>
                <a:gd name="connsiteX20" fmla="*/ 7360 w 279584"/>
                <a:gd name="connsiteY20" fmla="*/ 2743 h 225532"/>
                <a:gd name="connsiteX21" fmla="*/ 2538 w 279584"/>
                <a:gd name="connsiteY21" fmla="*/ 24853 h 225532"/>
                <a:gd name="connsiteX22" fmla="*/ 4217 w 279584"/>
                <a:gd name="connsiteY22" fmla="*/ 27032 h 225532"/>
                <a:gd name="connsiteX23" fmla="*/ 86703 w 279584"/>
                <a:gd name="connsiteY23" fmla="*/ 133902 h 225532"/>
                <a:gd name="connsiteX24" fmla="*/ 80512 w 279584"/>
                <a:gd name="connsiteY24" fmla="*/ 139998 h 225532"/>
                <a:gd name="connsiteX25" fmla="*/ 13837 w 279584"/>
                <a:gd name="connsiteY25" fmla="*/ 152190 h 225532"/>
                <a:gd name="connsiteX26" fmla="*/ 29077 w 279584"/>
                <a:gd name="connsiteY26" fmla="*/ 173622 h 225532"/>
                <a:gd name="connsiteX27" fmla="*/ 99371 w 279584"/>
                <a:gd name="connsiteY27" fmla="*/ 185814 h 225532"/>
                <a:gd name="connsiteX28" fmla="*/ 175571 w 279584"/>
                <a:gd name="connsiteY28" fmla="*/ 201054 h 225532"/>
                <a:gd name="connsiteX29" fmla="*/ 193859 w 279584"/>
                <a:gd name="connsiteY29" fmla="*/ 225533 h 225532"/>
                <a:gd name="connsiteX30" fmla="*/ 279584 w 279584"/>
                <a:gd name="connsiteY30" fmla="*/ 158286 h 225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79584" h="225532">
                  <a:moveTo>
                    <a:pt x="257772" y="133998"/>
                  </a:moveTo>
                  <a:lnTo>
                    <a:pt x="245485" y="103232"/>
                  </a:lnTo>
                  <a:lnTo>
                    <a:pt x="172238" y="11697"/>
                  </a:lnTo>
                  <a:cubicBezTo>
                    <a:pt x="166046" y="5601"/>
                    <a:pt x="153854" y="2172"/>
                    <a:pt x="147758" y="8649"/>
                  </a:cubicBezTo>
                  <a:cubicBezTo>
                    <a:pt x="140313" y="13506"/>
                    <a:pt x="138214" y="23480"/>
                    <a:pt x="143072" y="30926"/>
                  </a:cubicBezTo>
                  <a:cubicBezTo>
                    <a:pt x="143559" y="31672"/>
                    <a:pt x="144107" y="32377"/>
                    <a:pt x="144710" y="33033"/>
                  </a:cubicBezTo>
                  <a:lnTo>
                    <a:pt x="144710" y="36557"/>
                  </a:lnTo>
                  <a:lnTo>
                    <a:pt x="135185" y="24365"/>
                  </a:lnTo>
                  <a:cubicBezTo>
                    <a:pt x="130277" y="16889"/>
                    <a:pt x="120238" y="14808"/>
                    <a:pt x="112763" y="19716"/>
                  </a:cubicBezTo>
                  <a:cubicBezTo>
                    <a:pt x="112035" y="20193"/>
                    <a:pt x="111348" y="20729"/>
                    <a:pt x="110706" y="21317"/>
                  </a:cubicBezTo>
                  <a:cubicBezTo>
                    <a:pt x="103281" y="26011"/>
                    <a:pt x="101067" y="35837"/>
                    <a:pt x="105761" y="43262"/>
                  </a:cubicBezTo>
                  <a:cubicBezTo>
                    <a:pt x="106313" y="44135"/>
                    <a:pt x="106948" y="44951"/>
                    <a:pt x="107658" y="45701"/>
                  </a:cubicBezTo>
                  <a:lnTo>
                    <a:pt x="98133" y="36176"/>
                  </a:lnTo>
                  <a:cubicBezTo>
                    <a:pt x="91849" y="29537"/>
                    <a:pt x="81736" y="28298"/>
                    <a:pt x="74035" y="33223"/>
                  </a:cubicBezTo>
                  <a:cubicBezTo>
                    <a:pt x="69060" y="39559"/>
                    <a:pt x="67627" y="47981"/>
                    <a:pt x="70225" y="55607"/>
                  </a:cubicBezTo>
                  <a:lnTo>
                    <a:pt x="79750" y="66846"/>
                  </a:lnTo>
                  <a:lnTo>
                    <a:pt x="70225" y="57321"/>
                  </a:lnTo>
                  <a:cubicBezTo>
                    <a:pt x="69914" y="56645"/>
                    <a:pt x="69659" y="55944"/>
                    <a:pt x="69463" y="55226"/>
                  </a:cubicBezTo>
                  <a:cubicBezTo>
                    <a:pt x="54985" y="39033"/>
                    <a:pt x="54985" y="38938"/>
                    <a:pt x="54985" y="38938"/>
                  </a:cubicBezTo>
                  <a:lnTo>
                    <a:pt x="30506" y="5410"/>
                  </a:lnTo>
                  <a:cubicBezTo>
                    <a:pt x="24297" y="-643"/>
                    <a:pt x="14783" y="-1740"/>
                    <a:pt x="7360" y="2743"/>
                  </a:cubicBezTo>
                  <a:cubicBezTo>
                    <a:pt x="-77" y="7517"/>
                    <a:pt x="-2236" y="17416"/>
                    <a:pt x="2538" y="24853"/>
                  </a:cubicBezTo>
                  <a:cubicBezTo>
                    <a:pt x="3034" y="25626"/>
                    <a:pt x="3595" y="26355"/>
                    <a:pt x="4217" y="27032"/>
                  </a:cubicBezTo>
                  <a:lnTo>
                    <a:pt x="86703" y="133902"/>
                  </a:lnTo>
                  <a:lnTo>
                    <a:pt x="80512" y="139998"/>
                  </a:lnTo>
                  <a:cubicBezTo>
                    <a:pt x="28601" y="127806"/>
                    <a:pt x="16409" y="143046"/>
                    <a:pt x="13837" y="152190"/>
                  </a:cubicBezTo>
                  <a:cubicBezTo>
                    <a:pt x="7741" y="161715"/>
                    <a:pt x="13837" y="173622"/>
                    <a:pt x="29077" y="173622"/>
                  </a:cubicBezTo>
                  <a:cubicBezTo>
                    <a:pt x="62700" y="167526"/>
                    <a:pt x="99371" y="185814"/>
                    <a:pt x="99371" y="185814"/>
                  </a:cubicBezTo>
                  <a:lnTo>
                    <a:pt x="175571" y="201054"/>
                  </a:lnTo>
                  <a:lnTo>
                    <a:pt x="193859" y="225533"/>
                  </a:lnTo>
                  <a:lnTo>
                    <a:pt x="279584" y="15828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6" name="Freihandform: Form 1878">
              <a:extLst>
                <a:ext uri="{FF2B5EF4-FFF2-40B4-BE49-F238E27FC236}">
                  <a16:creationId xmlns:a16="http://schemas.microsoft.com/office/drawing/2014/main" id="{4550EFEC-6820-499F-A793-F135DBD734D8}"/>
                </a:ext>
              </a:extLst>
            </p:cNvPr>
            <p:cNvSpPr/>
            <p:nvPr/>
          </p:nvSpPr>
          <p:spPr>
            <a:xfrm>
              <a:off x="4657687" y="3490875"/>
              <a:ext cx="300418" cy="478440"/>
            </a:xfrm>
            <a:custGeom>
              <a:avLst/>
              <a:gdLst>
                <a:gd name="connsiteX0" fmla="*/ 277273 w 300418"/>
                <a:gd name="connsiteY0" fmla="*/ 197453 h 478440"/>
                <a:gd name="connsiteX1" fmla="*/ 300419 w 300418"/>
                <a:gd name="connsiteY1" fmla="*/ 180975 h 478440"/>
                <a:gd name="connsiteX2" fmla="*/ 300419 w 300418"/>
                <a:gd name="connsiteY2" fmla="*/ 58579 h 478440"/>
                <a:gd name="connsiteX3" fmla="*/ 251460 w 300418"/>
                <a:gd name="connsiteY3" fmla="*/ 0 h 478440"/>
                <a:gd name="connsiteX4" fmla="*/ 48959 w 300418"/>
                <a:gd name="connsiteY4" fmla="*/ 0 h 478440"/>
                <a:gd name="connsiteX5" fmla="*/ 0 w 300418"/>
                <a:gd name="connsiteY5" fmla="*/ 58579 h 478440"/>
                <a:gd name="connsiteX6" fmla="*/ 0 w 300418"/>
                <a:gd name="connsiteY6" fmla="*/ 423100 h 478440"/>
                <a:gd name="connsiteX7" fmla="*/ 48959 w 300418"/>
                <a:gd name="connsiteY7" fmla="*/ 478441 h 478440"/>
                <a:gd name="connsiteX8" fmla="*/ 251460 w 300418"/>
                <a:gd name="connsiteY8" fmla="*/ 478441 h 478440"/>
                <a:gd name="connsiteX9" fmla="*/ 300419 w 300418"/>
                <a:gd name="connsiteY9" fmla="*/ 423100 h 478440"/>
                <a:gd name="connsiteX10" fmla="*/ 300419 w 300418"/>
                <a:gd name="connsiteY10" fmla="*/ 402146 h 478440"/>
                <a:gd name="connsiteX11" fmla="*/ 264509 w 300418"/>
                <a:gd name="connsiteY11" fmla="*/ 394525 h 478440"/>
                <a:gd name="connsiteX12" fmla="*/ 264509 w 300418"/>
                <a:gd name="connsiteY12" fmla="*/ 403574 h 478440"/>
                <a:gd name="connsiteX13" fmla="*/ 32671 w 300418"/>
                <a:gd name="connsiteY13" fmla="*/ 403574 h 478440"/>
                <a:gd name="connsiteX14" fmla="*/ 32671 w 300418"/>
                <a:gd name="connsiteY14" fmla="*/ 45530 h 478440"/>
                <a:gd name="connsiteX15" fmla="*/ 264509 w 300418"/>
                <a:gd name="connsiteY15" fmla="*/ 45530 h 478440"/>
                <a:gd name="connsiteX16" fmla="*/ 264509 w 300418"/>
                <a:gd name="connsiteY16" fmla="*/ 193167 h 478440"/>
                <a:gd name="connsiteX17" fmla="*/ 277273 w 300418"/>
                <a:gd name="connsiteY17" fmla="*/ 197453 h 478440"/>
                <a:gd name="connsiteX18" fmla="*/ 123825 w 300418"/>
                <a:gd name="connsiteY18" fmla="*/ 436150 h 478440"/>
                <a:gd name="connsiteX19" fmla="*/ 138632 w 300418"/>
                <a:gd name="connsiteY19" fmla="*/ 419937 h 478440"/>
                <a:gd name="connsiteX20" fmla="*/ 140399 w 300418"/>
                <a:gd name="connsiteY20" fmla="*/ 419957 h 478440"/>
                <a:gd name="connsiteX21" fmla="*/ 160211 w 300418"/>
                <a:gd name="connsiteY21" fmla="*/ 419957 h 478440"/>
                <a:gd name="connsiteX22" fmla="*/ 176763 w 300418"/>
                <a:gd name="connsiteY22" fmla="*/ 434383 h 478440"/>
                <a:gd name="connsiteX23" fmla="*/ 176784 w 300418"/>
                <a:gd name="connsiteY23" fmla="*/ 436150 h 478440"/>
                <a:gd name="connsiteX24" fmla="*/ 176784 w 300418"/>
                <a:gd name="connsiteY24" fmla="*/ 449199 h 478440"/>
                <a:gd name="connsiteX25" fmla="*/ 160211 w 300418"/>
                <a:gd name="connsiteY25" fmla="*/ 468249 h 478440"/>
                <a:gd name="connsiteX26" fmla="*/ 140303 w 300418"/>
                <a:gd name="connsiteY26" fmla="*/ 468249 h 478440"/>
                <a:gd name="connsiteX27" fmla="*/ 123730 w 300418"/>
                <a:gd name="connsiteY27" fmla="*/ 449199 h 478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00418" h="478440">
                  <a:moveTo>
                    <a:pt x="277273" y="197453"/>
                  </a:moveTo>
                  <a:cubicBezTo>
                    <a:pt x="280559" y="187494"/>
                    <a:pt x="289932" y="180821"/>
                    <a:pt x="300419" y="180975"/>
                  </a:cubicBezTo>
                  <a:lnTo>
                    <a:pt x="300419" y="58579"/>
                  </a:lnTo>
                  <a:cubicBezTo>
                    <a:pt x="300419" y="26003"/>
                    <a:pt x="277559" y="0"/>
                    <a:pt x="251460" y="0"/>
                  </a:cubicBezTo>
                  <a:lnTo>
                    <a:pt x="48959" y="0"/>
                  </a:lnTo>
                  <a:cubicBezTo>
                    <a:pt x="22860" y="0"/>
                    <a:pt x="0" y="26003"/>
                    <a:pt x="0" y="58579"/>
                  </a:cubicBezTo>
                  <a:lnTo>
                    <a:pt x="0" y="423100"/>
                  </a:lnTo>
                  <a:cubicBezTo>
                    <a:pt x="0" y="452342"/>
                    <a:pt x="22860" y="478441"/>
                    <a:pt x="48959" y="478441"/>
                  </a:cubicBezTo>
                  <a:lnTo>
                    <a:pt x="251460" y="478441"/>
                  </a:lnTo>
                  <a:cubicBezTo>
                    <a:pt x="277559" y="478441"/>
                    <a:pt x="300419" y="452342"/>
                    <a:pt x="300419" y="423100"/>
                  </a:cubicBezTo>
                  <a:lnTo>
                    <a:pt x="300419" y="402146"/>
                  </a:lnTo>
                  <a:lnTo>
                    <a:pt x="264509" y="394525"/>
                  </a:lnTo>
                  <a:lnTo>
                    <a:pt x="264509" y="403574"/>
                  </a:lnTo>
                  <a:lnTo>
                    <a:pt x="32671" y="403574"/>
                  </a:lnTo>
                  <a:lnTo>
                    <a:pt x="32671" y="45530"/>
                  </a:lnTo>
                  <a:lnTo>
                    <a:pt x="264509" y="45530"/>
                  </a:lnTo>
                  <a:lnTo>
                    <a:pt x="264509" y="193167"/>
                  </a:lnTo>
                  <a:cubicBezTo>
                    <a:pt x="269144" y="192995"/>
                    <a:pt x="273682" y="194519"/>
                    <a:pt x="277273" y="197453"/>
                  </a:cubicBezTo>
                  <a:close/>
                  <a:moveTo>
                    <a:pt x="123825" y="436150"/>
                  </a:moveTo>
                  <a:cubicBezTo>
                    <a:pt x="123437" y="427584"/>
                    <a:pt x="130066" y="420325"/>
                    <a:pt x="138632" y="419937"/>
                  </a:cubicBezTo>
                  <a:cubicBezTo>
                    <a:pt x="139220" y="419910"/>
                    <a:pt x="139810" y="419917"/>
                    <a:pt x="140399" y="419957"/>
                  </a:cubicBezTo>
                  <a:lnTo>
                    <a:pt x="160211" y="419957"/>
                  </a:lnTo>
                  <a:cubicBezTo>
                    <a:pt x="168765" y="419370"/>
                    <a:pt x="176176" y="425828"/>
                    <a:pt x="176763" y="434383"/>
                  </a:cubicBezTo>
                  <a:cubicBezTo>
                    <a:pt x="176804" y="434971"/>
                    <a:pt x="176811" y="435561"/>
                    <a:pt x="176784" y="436150"/>
                  </a:cubicBezTo>
                  <a:lnTo>
                    <a:pt x="176784" y="449199"/>
                  </a:lnTo>
                  <a:cubicBezTo>
                    <a:pt x="176784" y="462153"/>
                    <a:pt x="170117" y="468249"/>
                    <a:pt x="160211" y="468249"/>
                  </a:cubicBezTo>
                  <a:lnTo>
                    <a:pt x="140303" y="468249"/>
                  </a:lnTo>
                  <a:cubicBezTo>
                    <a:pt x="130778" y="468249"/>
                    <a:pt x="123730" y="461772"/>
                    <a:pt x="123730" y="44919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17" name="Grafik 1884">
            <a:extLst>
              <a:ext uri="{FF2B5EF4-FFF2-40B4-BE49-F238E27FC236}">
                <a16:creationId xmlns:a16="http://schemas.microsoft.com/office/drawing/2014/main" id="{38630D69-DFEA-4BB8-BD0A-F9D4D7E3C732}"/>
              </a:ext>
            </a:extLst>
          </p:cNvPr>
          <p:cNvGrpSpPr/>
          <p:nvPr/>
        </p:nvGrpSpPr>
        <p:grpSpPr>
          <a:xfrm>
            <a:off x="2435338" y="4412543"/>
            <a:ext cx="456481" cy="494707"/>
            <a:chOff x="4677308" y="3519450"/>
            <a:chExt cx="389001" cy="421576"/>
          </a:xfrm>
          <a:solidFill>
            <a:srgbClr val="808080"/>
          </a:solidFill>
        </p:grpSpPr>
        <p:sp>
          <p:nvSpPr>
            <p:cNvPr id="318" name="Freihandform: Form 1895">
              <a:extLst>
                <a:ext uri="{FF2B5EF4-FFF2-40B4-BE49-F238E27FC236}">
                  <a16:creationId xmlns:a16="http://schemas.microsoft.com/office/drawing/2014/main" id="{E1548A2F-058C-4C63-B827-D3BECAD496E9}"/>
                </a:ext>
              </a:extLst>
            </p:cNvPr>
            <p:cNvSpPr/>
            <p:nvPr/>
          </p:nvSpPr>
          <p:spPr>
            <a:xfrm>
              <a:off x="4996110" y="3622986"/>
              <a:ext cx="49053" cy="216979"/>
            </a:xfrm>
            <a:custGeom>
              <a:avLst/>
              <a:gdLst>
                <a:gd name="connsiteX0" fmla="*/ 49054 w 49053"/>
                <a:gd name="connsiteY0" fmla="*/ 6382 h 216979"/>
                <a:gd name="connsiteX1" fmla="*/ 0 w 49053"/>
                <a:gd name="connsiteY1" fmla="*/ 0 h 216979"/>
                <a:gd name="connsiteX2" fmla="*/ 0 w 49053"/>
                <a:gd name="connsiteY2" fmla="*/ 214503 h 216979"/>
                <a:gd name="connsiteX3" fmla="*/ 20574 w 49053"/>
                <a:gd name="connsiteY3" fmla="*/ 216980 h 216979"/>
                <a:gd name="connsiteX4" fmla="*/ 49054 w 49053"/>
                <a:gd name="connsiteY4" fmla="*/ 6382 h 216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53" h="216979">
                  <a:moveTo>
                    <a:pt x="49054" y="6382"/>
                  </a:moveTo>
                  <a:lnTo>
                    <a:pt x="0" y="0"/>
                  </a:lnTo>
                  <a:lnTo>
                    <a:pt x="0" y="214503"/>
                  </a:lnTo>
                  <a:lnTo>
                    <a:pt x="20574" y="216980"/>
                  </a:lnTo>
                  <a:lnTo>
                    <a:pt x="49054" y="638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9" name="Freihandform: Form 1896">
              <a:extLst>
                <a:ext uri="{FF2B5EF4-FFF2-40B4-BE49-F238E27FC236}">
                  <a16:creationId xmlns:a16="http://schemas.microsoft.com/office/drawing/2014/main" id="{8F766F96-A1C7-4DD8-8917-3B83C2A6AB4D}"/>
                </a:ext>
              </a:extLst>
            </p:cNvPr>
            <p:cNvSpPr/>
            <p:nvPr/>
          </p:nvSpPr>
          <p:spPr>
            <a:xfrm>
              <a:off x="4867046" y="3610699"/>
              <a:ext cx="76771" cy="218122"/>
            </a:xfrm>
            <a:custGeom>
              <a:avLst/>
              <a:gdLst>
                <a:gd name="connsiteX0" fmla="*/ 0 w 76771"/>
                <a:gd name="connsiteY0" fmla="*/ 208026 h 218122"/>
                <a:gd name="connsiteX1" fmla="*/ 76772 w 76771"/>
                <a:gd name="connsiteY1" fmla="*/ 218123 h 218122"/>
                <a:gd name="connsiteX2" fmla="*/ 76772 w 76771"/>
                <a:gd name="connsiteY2" fmla="*/ 6477 h 218122"/>
                <a:gd name="connsiteX3" fmla="*/ 27813 w 76771"/>
                <a:gd name="connsiteY3" fmla="*/ 0 h 218122"/>
                <a:gd name="connsiteX4" fmla="*/ 0 w 76771"/>
                <a:gd name="connsiteY4" fmla="*/ 208026 h 218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771" h="218122">
                  <a:moveTo>
                    <a:pt x="0" y="208026"/>
                  </a:moveTo>
                  <a:lnTo>
                    <a:pt x="76772" y="218123"/>
                  </a:lnTo>
                  <a:lnTo>
                    <a:pt x="76772" y="6477"/>
                  </a:lnTo>
                  <a:lnTo>
                    <a:pt x="27813" y="0"/>
                  </a:lnTo>
                  <a:lnTo>
                    <a:pt x="0" y="20802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0" name="Freihandform: Form 1897">
              <a:extLst>
                <a:ext uri="{FF2B5EF4-FFF2-40B4-BE49-F238E27FC236}">
                  <a16:creationId xmlns:a16="http://schemas.microsoft.com/office/drawing/2014/main" id="{681574C7-E47A-41C3-967A-5A85AA1AD44D}"/>
                </a:ext>
              </a:extLst>
            </p:cNvPr>
            <p:cNvSpPr/>
            <p:nvPr/>
          </p:nvSpPr>
          <p:spPr>
            <a:xfrm>
              <a:off x="4996110" y="3602889"/>
              <a:ext cx="70199" cy="259365"/>
            </a:xfrm>
            <a:custGeom>
              <a:avLst/>
              <a:gdLst>
                <a:gd name="connsiteX0" fmla="*/ 50483 w 70199"/>
                <a:gd name="connsiteY0" fmla="*/ 6763 h 259365"/>
                <a:gd name="connsiteX1" fmla="*/ 0 w 70199"/>
                <a:gd name="connsiteY1" fmla="*/ 0 h 259365"/>
                <a:gd name="connsiteX2" fmla="*/ 0 w 70199"/>
                <a:gd name="connsiteY2" fmla="*/ 10001 h 259365"/>
                <a:gd name="connsiteX3" fmla="*/ 49149 w 70199"/>
                <a:gd name="connsiteY3" fmla="*/ 16954 h 259365"/>
                <a:gd name="connsiteX4" fmla="*/ 59150 w 70199"/>
                <a:gd name="connsiteY4" fmla="*/ 18193 h 259365"/>
                <a:gd name="connsiteX5" fmla="*/ 57817 w 70199"/>
                <a:gd name="connsiteY5" fmla="*/ 28099 h 259365"/>
                <a:gd name="connsiteX6" fmla="*/ 30099 w 70199"/>
                <a:gd name="connsiteY6" fmla="*/ 238315 h 259365"/>
                <a:gd name="connsiteX7" fmla="*/ 28766 w 70199"/>
                <a:gd name="connsiteY7" fmla="*/ 248126 h 259365"/>
                <a:gd name="connsiteX8" fmla="*/ 18764 w 70199"/>
                <a:gd name="connsiteY8" fmla="*/ 246698 h 259365"/>
                <a:gd name="connsiteX9" fmla="*/ 0 w 70199"/>
                <a:gd name="connsiteY9" fmla="*/ 244411 h 259365"/>
                <a:gd name="connsiteX10" fmla="*/ 0 w 70199"/>
                <a:gd name="connsiteY10" fmla="*/ 254317 h 259365"/>
                <a:gd name="connsiteX11" fmla="*/ 17335 w 70199"/>
                <a:gd name="connsiteY11" fmla="*/ 256889 h 259365"/>
                <a:gd name="connsiteX12" fmla="*/ 37243 w 70199"/>
                <a:gd name="connsiteY12" fmla="*/ 259366 h 259365"/>
                <a:gd name="connsiteX13" fmla="*/ 39719 w 70199"/>
                <a:gd name="connsiteY13" fmla="*/ 239554 h 259365"/>
                <a:gd name="connsiteX14" fmla="*/ 67437 w 70199"/>
                <a:gd name="connsiteY14" fmla="*/ 29242 h 259365"/>
                <a:gd name="connsiteX15" fmla="*/ 70199 w 70199"/>
                <a:gd name="connsiteY15" fmla="*/ 9525 h 259365"/>
                <a:gd name="connsiteX16" fmla="*/ 50483 w 70199"/>
                <a:gd name="connsiteY16" fmla="*/ 6763 h 259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0199" h="259365">
                  <a:moveTo>
                    <a:pt x="50483" y="6763"/>
                  </a:moveTo>
                  <a:lnTo>
                    <a:pt x="0" y="0"/>
                  </a:lnTo>
                  <a:lnTo>
                    <a:pt x="0" y="10001"/>
                  </a:lnTo>
                  <a:lnTo>
                    <a:pt x="49149" y="16954"/>
                  </a:lnTo>
                  <a:lnTo>
                    <a:pt x="59150" y="18193"/>
                  </a:lnTo>
                  <a:lnTo>
                    <a:pt x="57817" y="28099"/>
                  </a:lnTo>
                  <a:lnTo>
                    <a:pt x="30099" y="238315"/>
                  </a:lnTo>
                  <a:lnTo>
                    <a:pt x="28766" y="248126"/>
                  </a:lnTo>
                  <a:lnTo>
                    <a:pt x="18764" y="246698"/>
                  </a:lnTo>
                  <a:lnTo>
                    <a:pt x="0" y="244411"/>
                  </a:lnTo>
                  <a:lnTo>
                    <a:pt x="0" y="254317"/>
                  </a:lnTo>
                  <a:lnTo>
                    <a:pt x="17335" y="256889"/>
                  </a:lnTo>
                  <a:lnTo>
                    <a:pt x="37243" y="259366"/>
                  </a:lnTo>
                  <a:lnTo>
                    <a:pt x="39719" y="239554"/>
                  </a:lnTo>
                  <a:lnTo>
                    <a:pt x="67437" y="29242"/>
                  </a:lnTo>
                  <a:lnTo>
                    <a:pt x="70199" y="9525"/>
                  </a:lnTo>
                  <a:lnTo>
                    <a:pt x="50483" y="67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1" name="Freihandform: Form 1898">
              <a:extLst>
                <a:ext uri="{FF2B5EF4-FFF2-40B4-BE49-F238E27FC236}">
                  <a16:creationId xmlns:a16="http://schemas.microsoft.com/office/drawing/2014/main" id="{46E22953-A4B5-45E6-A932-B6143DCAC329}"/>
                </a:ext>
              </a:extLst>
            </p:cNvPr>
            <p:cNvSpPr/>
            <p:nvPr/>
          </p:nvSpPr>
          <p:spPr>
            <a:xfrm>
              <a:off x="4844757" y="3587363"/>
              <a:ext cx="99060" cy="262604"/>
            </a:xfrm>
            <a:custGeom>
              <a:avLst/>
              <a:gdLst>
                <a:gd name="connsiteX0" fmla="*/ 99060 w 99060"/>
                <a:gd name="connsiteY0" fmla="*/ 262604 h 262604"/>
                <a:gd name="connsiteX1" fmla="*/ 99060 w 99060"/>
                <a:gd name="connsiteY1" fmla="*/ 252793 h 262604"/>
                <a:gd name="connsiteX2" fmla="*/ 21050 w 99060"/>
                <a:gd name="connsiteY2" fmla="*/ 242316 h 262604"/>
                <a:gd name="connsiteX3" fmla="*/ 11049 w 99060"/>
                <a:gd name="connsiteY3" fmla="*/ 241078 h 262604"/>
                <a:gd name="connsiteX4" fmla="*/ 12383 w 99060"/>
                <a:gd name="connsiteY4" fmla="*/ 231077 h 262604"/>
                <a:gd name="connsiteX5" fmla="*/ 40100 w 99060"/>
                <a:gd name="connsiteY5" fmla="*/ 21241 h 262604"/>
                <a:gd name="connsiteX6" fmla="*/ 41434 w 99060"/>
                <a:gd name="connsiteY6" fmla="*/ 11240 h 262604"/>
                <a:gd name="connsiteX7" fmla="*/ 51530 w 99060"/>
                <a:gd name="connsiteY7" fmla="*/ 12478 h 262604"/>
                <a:gd name="connsiteX8" fmla="*/ 99060 w 99060"/>
                <a:gd name="connsiteY8" fmla="*/ 18859 h 262604"/>
                <a:gd name="connsiteX9" fmla="*/ 99060 w 99060"/>
                <a:gd name="connsiteY9" fmla="*/ 8668 h 262604"/>
                <a:gd name="connsiteX10" fmla="*/ 52673 w 99060"/>
                <a:gd name="connsiteY10" fmla="*/ 2667 h 262604"/>
                <a:gd name="connsiteX11" fmla="*/ 32957 w 99060"/>
                <a:gd name="connsiteY11" fmla="*/ 0 h 262604"/>
                <a:gd name="connsiteX12" fmla="*/ 30290 w 99060"/>
                <a:gd name="connsiteY12" fmla="*/ 19907 h 262604"/>
                <a:gd name="connsiteX13" fmla="*/ 2572 w 99060"/>
                <a:gd name="connsiteY13" fmla="*/ 229838 h 262604"/>
                <a:gd name="connsiteX14" fmla="*/ 0 w 99060"/>
                <a:gd name="connsiteY14" fmla="*/ 249460 h 262604"/>
                <a:gd name="connsiteX15" fmla="*/ 19526 w 99060"/>
                <a:gd name="connsiteY15" fmla="*/ 251936 h 262604"/>
                <a:gd name="connsiteX16" fmla="*/ 99060 w 99060"/>
                <a:gd name="connsiteY16" fmla="*/ 262604 h 262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9060" h="262604">
                  <a:moveTo>
                    <a:pt x="99060" y="262604"/>
                  </a:moveTo>
                  <a:lnTo>
                    <a:pt x="99060" y="252793"/>
                  </a:lnTo>
                  <a:lnTo>
                    <a:pt x="21050" y="242316"/>
                  </a:lnTo>
                  <a:lnTo>
                    <a:pt x="11049" y="241078"/>
                  </a:lnTo>
                  <a:lnTo>
                    <a:pt x="12383" y="231077"/>
                  </a:lnTo>
                  <a:lnTo>
                    <a:pt x="40100" y="21241"/>
                  </a:lnTo>
                  <a:lnTo>
                    <a:pt x="41434" y="11240"/>
                  </a:lnTo>
                  <a:lnTo>
                    <a:pt x="51530" y="12478"/>
                  </a:lnTo>
                  <a:lnTo>
                    <a:pt x="99060" y="18859"/>
                  </a:lnTo>
                  <a:lnTo>
                    <a:pt x="99060" y="8668"/>
                  </a:lnTo>
                  <a:lnTo>
                    <a:pt x="52673" y="2667"/>
                  </a:lnTo>
                  <a:lnTo>
                    <a:pt x="32957" y="0"/>
                  </a:lnTo>
                  <a:lnTo>
                    <a:pt x="30290" y="19907"/>
                  </a:lnTo>
                  <a:lnTo>
                    <a:pt x="2572" y="229838"/>
                  </a:lnTo>
                  <a:lnTo>
                    <a:pt x="0" y="249460"/>
                  </a:lnTo>
                  <a:lnTo>
                    <a:pt x="19526" y="251936"/>
                  </a:lnTo>
                  <a:lnTo>
                    <a:pt x="99060" y="2626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2" name="Freihandform: Form 1899">
              <a:extLst>
                <a:ext uri="{FF2B5EF4-FFF2-40B4-BE49-F238E27FC236}">
                  <a16:creationId xmlns:a16="http://schemas.microsoft.com/office/drawing/2014/main" id="{A08775E3-A020-45A1-A79F-1D3E0574DAD0}"/>
                </a:ext>
              </a:extLst>
            </p:cNvPr>
            <p:cNvSpPr/>
            <p:nvPr/>
          </p:nvSpPr>
          <p:spPr>
            <a:xfrm>
              <a:off x="4677308" y="3519450"/>
              <a:ext cx="311562" cy="421576"/>
            </a:xfrm>
            <a:custGeom>
              <a:avLst/>
              <a:gdLst>
                <a:gd name="connsiteX0" fmla="*/ 311563 w 311562"/>
                <a:gd name="connsiteY0" fmla="*/ 19050 h 421576"/>
                <a:gd name="connsiteX1" fmla="*/ 310610 w 311562"/>
                <a:gd name="connsiteY1" fmla="*/ 16669 h 421576"/>
                <a:gd name="connsiteX2" fmla="*/ 309467 w 311562"/>
                <a:gd name="connsiteY2" fmla="*/ 14573 h 421576"/>
                <a:gd name="connsiteX3" fmla="*/ 308324 w 311562"/>
                <a:gd name="connsiteY3" fmla="*/ 12383 h 421576"/>
                <a:gd name="connsiteX4" fmla="*/ 306515 w 311562"/>
                <a:gd name="connsiteY4" fmla="*/ 10573 h 421576"/>
                <a:gd name="connsiteX5" fmla="*/ 304229 w 311562"/>
                <a:gd name="connsiteY5" fmla="*/ 8763 h 421576"/>
                <a:gd name="connsiteX6" fmla="*/ 302514 w 311562"/>
                <a:gd name="connsiteY6" fmla="*/ 6953 h 421576"/>
                <a:gd name="connsiteX7" fmla="*/ 300133 w 311562"/>
                <a:gd name="connsiteY7" fmla="*/ 5334 h 421576"/>
                <a:gd name="connsiteX8" fmla="*/ 297466 w 311562"/>
                <a:gd name="connsiteY8" fmla="*/ 4096 h 421576"/>
                <a:gd name="connsiteX9" fmla="*/ 294704 w 311562"/>
                <a:gd name="connsiteY9" fmla="*/ 3048 h 421576"/>
                <a:gd name="connsiteX10" fmla="*/ 291846 w 311562"/>
                <a:gd name="connsiteY10" fmla="*/ 1905 h 421576"/>
                <a:gd name="connsiteX11" fmla="*/ 289084 w 311562"/>
                <a:gd name="connsiteY11" fmla="*/ 1143 h 421576"/>
                <a:gd name="connsiteX12" fmla="*/ 285750 w 311562"/>
                <a:gd name="connsiteY12" fmla="*/ 572 h 421576"/>
                <a:gd name="connsiteX13" fmla="*/ 282512 w 311562"/>
                <a:gd name="connsiteY13" fmla="*/ 572 h 421576"/>
                <a:gd name="connsiteX14" fmla="*/ 278987 w 311562"/>
                <a:gd name="connsiteY14" fmla="*/ 572 h 421576"/>
                <a:gd name="connsiteX15" fmla="*/ 32576 w 311562"/>
                <a:gd name="connsiteY15" fmla="*/ 572 h 421576"/>
                <a:gd name="connsiteX16" fmla="*/ 29146 w 311562"/>
                <a:gd name="connsiteY16" fmla="*/ 0 h 421576"/>
                <a:gd name="connsiteX17" fmla="*/ 25813 w 311562"/>
                <a:gd name="connsiteY17" fmla="*/ 0 h 421576"/>
                <a:gd name="connsiteX18" fmla="*/ 22479 w 311562"/>
                <a:gd name="connsiteY18" fmla="*/ 1143 h 421576"/>
                <a:gd name="connsiteX19" fmla="*/ 19812 w 311562"/>
                <a:gd name="connsiteY19" fmla="*/ 1905 h 421576"/>
                <a:gd name="connsiteX20" fmla="*/ 16669 w 311562"/>
                <a:gd name="connsiteY20" fmla="*/ 3048 h 421576"/>
                <a:gd name="connsiteX21" fmla="*/ 14002 w 311562"/>
                <a:gd name="connsiteY21" fmla="*/ 4096 h 421576"/>
                <a:gd name="connsiteX22" fmla="*/ 11430 w 311562"/>
                <a:gd name="connsiteY22" fmla="*/ 5334 h 421576"/>
                <a:gd name="connsiteX23" fmla="*/ 8954 w 311562"/>
                <a:gd name="connsiteY23" fmla="*/ 6953 h 421576"/>
                <a:gd name="connsiteX24" fmla="*/ 6953 w 311562"/>
                <a:gd name="connsiteY24" fmla="*/ 8763 h 421576"/>
                <a:gd name="connsiteX25" fmla="*/ 5048 w 311562"/>
                <a:gd name="connsiteY25" fmla="*/ 10668 h 421576"/>
                <a:gd name="connsiteX26" fmla="*/ 3334 w 311562"/>
                <a:gd name="connsiteY26" fmla="*/ 12478 h 421576"/>
                <a:gd name="connsiteX27" fmla="*/ 2191 w 311562"/>
                <a:gd name="connsiteY27" fmla="*/ 14669 h 421576"/>
                <a:gd name="connsiteX28" fmla="*/ 953 w 311562"/>
                <a:gd name="connsiteY28" fmla="*/ 16764 h 421576"/>
                <a:gd name="connsiteX29" fmla="*/ 0 w 311562"/>
                <a:gd name="connsiteY29" fmla="*/ 19050 h 421576"/>
                <a:gd name="connsiteX30" fmla="*/ 0 w 311562"/>
                <a:gd name="connsiteY30" fmla="*/ 21527 h 421576"/>
                <a:gd name="connsiteX31" fmla="*/ 0 w 311562"/>
                <a:gd name="connsiteY31" fmla="*/ 23813 h 421576"/>
                <a:gd name="connsiteX32" fmla="*/ 0 w 311562"/>
                <a:gd name="connsiteY32" fmla="*/ 398050 h 421576"/>
                <a:gd name="connsiteX33" fmla="*/ 0 w 311562"/>
                <a:gd name="connsiteY33" fmla="*/ 400622 h 421576"/>
                <a:gd name="connsiteX34" fmla="*/ 0 w 311562"/>
                <a:gd name="connsiteY34" fmla="*/ 402908 h 421576"/>
                <a:gd name="connsiteX35" fmla="*/ 953 w 311562"/>
                <a:gd name="connsiteY35" fmla="*/ 405003 h 421576"/>
                <a:gd name="connsiteX36" fmla="*/ 2191 w 311562"/>
                <a:gd name="connsiteY36" fmla="*/ 407194 h 421576"/>
                <a:gd name="connsiteX37" fmla="*/ 3334 w 311562"/>
                <a:gd name="connsiteY37" fmla="*/ 409575 h 421576"/>
                <a:gd name="connsiteX38" fmla="*/ 5048 w 311562"/>
                <a:gd name="connsiteY38" fmla="*/ 411575 h 421576"/>
                <a:gd name="connsiteX39" fmla="*/ 6953 w 311562"/>
                <a:gd name="connsiteY39" fmla="*/ 413195 h 421576"/>
                <a:gd name="connsiteX40" fmla="*/ 9144 w 311562"/>
                <a:gd name="connsiteY40" fmla="*/ 415004 h 421576"/>
                <a:gd name="connsiteX41" fmla="*/ 11430 w 311562"/>
                <a:gd name="connsiteY41" fmla="*/ 416528 h 421576"/>
                <a:gd name="connsiteX42" fmla="*/ 14002 w 311562"/>
                <a:gd name="connsiteY42" fmla="*/ 417862 h 421576"/>
                <a:gd name="connsiteX43" fmla="*/ 16669 w 311562"/>
                <a:gd name="connsiteY43" fmla="*/ 419005 h 421576"/>
                <a:gd name="connsiteX44" fmla="*/ 19812 w 311562"/>
                <a:gd name="connsiteY44" fmla="*/ 420148 h 421576"/>
                <a:gd name="connsiteX45" fmla="*/ 22670 w 311562"/>
                <a:gd name="connsiteY45" fmla="*/ 420815 h 421576"/>
                <a:gd name="connsiteX46" fmla="*/ 25813 w 311562"/>
                <a:gd name="connsiteY46" fmla="*/ 421576 h 421576"/>
                <a:gd name="connsiteX47" fmla="*/ 29146 w 311562"/>
                <a:gd name="connsiteY47" fmla="*/ 421576 h 421576"/>
                <a:gd name="connsiteX48" fmla="*/ 282512 w 311562"/>
                <a:gd name="connsiteY48" fmla="*/ 421576 h 421576"/>
                <a:gd name="connsiteX49" fmla="*/ 285750 w 311562"/>
                <a:gd name="connsiteY49" fmla="*/ 421576 h 421576"/>
                <a:gd name="connsiteX50" fmla="*/ 289084 w 311562"/>
                <a:gd name="connsiteY50" fmla="*/ 420815 h 421576"/>
                <a:gd name="connsiteX51" fmla="*/ 291846 w 311562"/>
                <a:gd name="connsiteY51" fmla="*/ 420148 h 421576"/>
                <a:gd name="connsiteX52" fmla="*/ 294704 w 311562"/>
                <a:gd name="connsiteY52" fmla="*/ 419100 h 421576"/>
                <a:gd name="connsiteX53" fmla="*/ 297275 w 311562"/>
                <a:gd name="connsiteY53" fmla="*/ 417957 h 421576"/>
                <a:gd name="connsiteX54" fmla="*/ 299942 w 311562"/>
                <a:gd name="connsiteY54" fmla="*/ 416624 h 421576"/>
                <a:gd name="connsiteX55" fmla="*/ 302324 w 311562"/>
                <a:gd name="connsiteY55" fmla="*/ 415100 h 421576"/>
                <a:gd name="connsiteX56" fmla="*/ 304419 w 311562"/>
                <a:gd name="connsiteY56" fmla="*/ 413290 h 421576"/>
                <a:gd name="connsiteX57" fmla="*/ 306324 w 311562"/>
                <a:gd name="connsiteY57" fmla="*/ 411671 h 421576"/>
                <a:gd name="connsiteX58" fmla="*/ 308134 w 311562"/>
                <a:gd name="connsiteY58" fmla="*/ 409670 h 421576"/>
                <a:gd name="connsiteX59" fmla="*/ 309277 w 311562"/>
                <a:gd name="connsiteY59" fmla="*/ 407384 h 421576"/>
                <a:gd name="connsiteX60" fmla="*/ 310420 w 311562"/>
                <a:gd name="connsiteY60" fmla="*/ 405194 h 421576"/>
                <a:gd name="connsiteX61" fmla="*/ 311372 w 311562"/>
                <a:gd name="connsiteY61" fmla="*/ 403098 h 421576"/>
                <a:gd name="connsiteX62" fmla="*/ 311372 w 311562"/>
                <a:gd name="connsiteY62" fmla="*/ 400812 h 421576"/>
                <a:gd name="connsiteX63" fmla="*/ 311372 w 311562"/>
                <a:gd name="connsiteY63" fmla="*/ 398240 h 421576"/>
                <a:gd name="connsiteX64" fmla="*/ 311372 w 311562"/>
                <a:gd name="connsiteY64" fmla="*/ 23908 h 421576"/>
                <a:gd name="connsiteX65" fmla="*/ 311372 w 311562"/>
                <a:gd name="connsiteY65" fmla="*/ 21622 h 421576"/>
                <a:gd name="connsiteX66" fmla="*/ 176594 w 311562"/>
                <a:gd name="connsiteY66" fmla="*/ 389382 h 421576"/>
                <a:gd name="connsiteX67" fmla="*/ 176594 w 311562"/>
                <a:gd name="connsiteY67" fmla="*/ 391478 h 421576"/>
                <a:gd name="connsiteX68" fmla="*/ 176594 w 311562"/>
                <a:gd name="connsiteY68" fmla="*/ 393764 h 421576"/>
                <a:gd name="connsiteX69" fmla="*/ 176022 w 311562"/>
                <a:gd name="connsiteY69" fmla="*/ 395764 h 421576"/>
                <a:gd name="connsiteX70" fmla="*/ 175355 w 311562"/>
                <a:gd name="connsiteY70" fmla="*/ 397669 h 421576"/>
                <a:gd name="connsiteX71" fmla="*/ 174212 w 311562"/>
                <a:gd name="connsiteY71" fmla="*/ 399669 h 421576"/>
                <a:gd name="connsiteX72" fmla="*/ 173260 w 311562"/>
                <a:gd name="connsiteY72" fmla="*/ 401288 h 421576"/>
                <a:gd name="connsiteX73" fmla="*/ 172117 w 311562"/>
                <a:gd name="connsiteY73" fmla="*/ 403098 h 421576"/>
                <a:gd name="connsiteX74" fmla="*/ 170497 w 311562"/>
                <a:gd name="connsiteY74" fmla="*/ 404622 h 421576"/>
                <a:gd name="connsiteX75" fmla="*/ 168974 w 311562"/>
                <a:gd name="connsiteY75" fmla="*/ 405956 h 421576"/>
                <a:gd name="connsiteX76" fmla="*/ 167450 w 311562"/>
                <a:gd name="connsiteY76" fmla="*/ 407194 h 421576"/>
                <a:gd name="connsiteX77" fmla="*/ 165735 w 311562"/>
                <a:gd name="connsiteY77" fmla="*/ 408242 h 421576"/>
                <a:gd name="connsiteX78" fmla="*/ 163735 w 311562"/>
                <a:gd name="connsiteY78" fmla="*/ 409289 h 421576"/>
                <a:gd name="connsiteX79" fmla="*/ 161354 w 311562"/>
                <a:gd name="connsiteY79" fmla="*/ 409575 h 421576"/>
                <a:gd name="connsiteX80" fmla="*/ 159353 w 311562"/>
                <a:gd name="connsiteY80" fmla="*/ 410147 h 421576"/>
                <a:gd name="connsiteX81" fmla="*/ 157258 w 311562"/>
                <a:gd name="connsiteY81" fmla="*/ 410147 h 421576"/>
                <a:gd name="connsiteX82" fmla="*/ 155162 w 311562"/>
                <a:gd name="connsiteY82" fmla="*/ 410147 h 421576"/>
                <a:gd name="connsiteX83" fmla="*/ 152781 w 311562"/>
                <a:gd name="connsiteY83" fmla="*/ 410147 h 421576"/>
                <a:gd name="connsiteX84" fmla="*/ 150686 w 311562"/>
                <a:gd name="connsiteY84" fmla="*/ 410147 h 421576"/>
                <a:gd name="connsiteX85" fmla="*/ 148781 w 311562"/>
                <a:gd name="connsiteY85" fmla="*/ 409575 h 421576"/>
                <a:gd name="connsiteX86" fmla="*/ 146685 w 311562"/>
                <a:gd name="connsiteY86" fmla="*/ 409575 h 421576"/>
                <a:gd name="connsiteX87" fmla="*/ 144971 w 311562"/>
                <a:gd name="connsiteY87" fmla="*/ 408527 h 421576"/>
                <a:gd name="connsiteX88" fmla="*/ 143161 w 311562"/>
                <a:gd name="connsiteY88" fmla="*/ 407480 h 421576"/>
                <a:gd name="connsiteX89" fmla="*/ 141446 w 311562"/>
                <a:gd name="connsiteY89" fmla="*/ 406241 h 421576"/>
                <a:gd name="connsiteX90" fmla="*/ 139922 w 311562"/>
                <a:gd name="connsiteY90" fmla="*/ 404908 h 421576"/>
                <a:gd name="connsiteX91" fmla="*/ 138494 w 311562"/>
                <a:gd name="connsiteY91" fmla="*/ 403384 h 421576"/>
                <a:gd name="connsiteX92" fmla="*/ 137160 w 311562"/>
                <a:gd name="connsiteY92" fmla="*/ 401574 h 421576"/>
                <a:gd name="connsiteX93" fmla="*/ 136208 w 311562"/>
                <a:gd name="connsiteY93" fmla="*/ 399955 h 421576"/>
                <a:gd name="connsiteX94" fmla="*/ 135255 w 311562"/>
                <a:gd name="connsiteY94" fmla="*/ 397955 h 421576"/>
                <a:gd name="connsiteX95" fmla="*/ 134684 w 311562"/>
                <a:gd name="connsiteY95" fmla="*/ 396050 h 421576"/>
                <a:gd name="connsiteX96" fmla="*/ 133922 w 311562"/>
                <a:gd name="connsiteY96" fmla="*/ 394049 h 421576"/>
                <a:gd name="connsiteX97" fmla="*/ 133922 w 311562"/>
                <a:gd name="connsiteY97" fmla="*/ 391763 h 421576"/>
                <a:gd name="connsiteX98" fmla="*/ 133922 w 311562"/>
                <a:gd name="connsiteY98" fmla="*/ 389668 h 421576"/>
                <a:gd name="connsiteX99" fmla="*/ 133922 w 311562"/>
                <a:gd name="connsiteY99" fmla="*/ 387477 h 421576"/>
                <a:gd name="connsiteX100" fmla="*/ 133922 w 311562"/>
                <a:gd name="connsiteY100" fmla="*/ 385382 h 421576"/>
                <a:gd name="connsiteX101" fmla="*/ 134684 w 311562"/>
                <a:gd name="connsiteY101" fmla="*/ 383286 h 421576"/>
                <a:gd name="connsiteX102" fmla="*/ 135255 w 311562"/>
                <a:gd name="connsiteY102" fmla="*/ 381381 h 421576"/>
                <a:gd name="connsiteX103" fmla="*/ 136208 w 311562"/>
                <a:gd name="connsiteY103" fmla="*/ 379476 h 421576"/>
                <a:gd name="connsiteX104" fmla="*/ 137160 w 311562"/>
                <a:gd name="connsiteY104" fmla="*/ 377666 h 421576"/>
                <a:gd name="connsiteX105" fmla="*/ 138494 w 311562"/>
                <a:gd name="connsiteY105" fmla="*/ 376142 h 421576"/>
                <a:gd name="connsiteX106" fmla="*/ 139922 w 311562"/>
                <a:gd name="connsiteY106" fmla="*/ 374618 h 421576"/>
                <a:gd name="connsiteX107" fmla="*/ 141446 w 311562"/>
                <a:gd name="connsiteY107" fmla="*/ 372999 h 421576"/>
                <a:gd name="connsiteX108" fmla="*/ 143161 w 311562"/>
                <a:gd name="connsiteY108" fmla="*/ 372142 h 421576"/>
                <a:gd name="connsiteX109" fmla="*/ 144971 w 311562"/>
                <a:gd name="connsiteY109" fmla="*/ 370904 h 421576"/>
                <a:gd name="connsiteX110" fmla="*/ 146685 w 311562"/>
                <a:gd name="connsiteY110" fmla="*/ 369951 h 421576"/>
                <a:gd name="connsiteX111" fmla="*/ 148781 w 311562"/>
                <a:gd name="connsiteY111" fmla="*/ 369189 h 421576"/>
                <a:gd name="connsiteX112" fmla="*/ 150781 w 311562"/>
                <a:gd name="connsiteY112" fmla="*/ 369189 h 421576"/>
                <a:gd name="connsiteX113" fmla="*/ 152876 w 311562"/>
                <a:gd name="connsiteY113" fmla="*/ 369189 h 421576"/>
                <a:gd name="connsiteX114" fmla="*/ 157353 w 311562"/>
                <a:gd name="connsiteY114" fmla="*/ 369189 h 421576"/>
                <a:gd name="connsiteX115" fmla="*/ 159449 w 311562"/>
                <a:gd name="connsiteY115" fmla="*/ 369189 h 421576"/>
                <a:gd name="connsiteX116" fmla="*/ 161449 w 311562"/>
                <a:gd name="connsiteY116" fmla="*/ 369189 h 421576"/>
                <a:gd name="connsiteX117" fmla="*/ 163354 w 311562"/>
                <a:gd name="connsiteY117" fmla="*/ 369951 h 421576"/>
                <a:gd name="connsiteX118" fmla="*/ 165354 w 311562"/>
                <a:gd name="connsiteY118" fmla="*/ 370904 h 421576"/>
                <a:gd name="connsiteX119" fmla="*/ 167069 w 311562"/>
                <a:gd name="connsiteY119" fmla="*/ 372142 h 421576"/>
                <a:gd name="connsiteX120" fmla="*/ 168593 w 311562"/>
                <a:gd name="connsiteY120" fmla="*/ 372999 h 421576"/>
                <a:gd name="connsiteX121" fmla="*/ 170117 w 311562"/>
                <a:gd name="connsiteY121" fmla="*/ 374618 h 421576"/>
                <a:gd name="connsiteX122" fmla="*/ 171736 w 311562"/>
                <a:gd name="connsiteY122" fmla="*/ 376142 h 421576"/>
                <a:gd name="connsiteX123" fmla="*/ 172879 w 311562"/>
                <a:gd name="connsiteY123" fmla="*/ 377666 h 421576"/>
                <a:gd name="connsiteX124" fmla="*/ 173831 w 311562"/>
                <a:gd name="connsiteY124" fmla="*/ 379476 h 421576"/>
                <a:gd name="connsiteX125" fmla="*/ 174974 w 311562"/>
                <a:gd name="connsiteY125" fmla="*/ 381381 h 421576"/>
                <a:gd name="connsiteX126" fmla="*/ 175641 w 311562"/>
                <a:gd name="connsiteY126" fmla="*/ 383286 h 421576"/>
                <a:gd name="connsiteX127" fmla="*/ 176213 w 311562"/>
                <a:gd name="connsiteY127" fmla="*/ 385382 h 421576"/>
                <a:gd name="connsiteX128" fmla="*/ 176213 w 311562"/>
                <a:gd name="connsiteY128" fmla="*/ 387477 h 421576"/>
                <a:gd name="connsiteX129" fmla="*/ 276130 w 311562"/>
                <a:gd name="connsiteY129" fmla="*/ 72295 h 421576"/>
                <a:gd name="connsiteX130" fmla="*/ 276130 w 311562"/>
                <a:gd name="connsiteY130" fmla="*/ 356140 h 421576"/>
                <a:gd name="connsiteX131" fmla="*/ 38767 w 311562"/>
                <a:gd name="connsiteY131" fmla="*/ 356140 h 421576"/>
                <a:gd name="connsiteX132" fmla="*/ 38767 w 311562"/>
                <a:gd name="connsiteY132" fmla="*/ 39243 h 421576"/>
                <a:gd name="connsiteX133" fmla="*/ 276130 w 311562"/>
                <a:gd name="connsiteY133" fmla="*/ 39243 h 42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</a:cxnLst>
              <a:rect l="l" t="t" r="r" b="b"/>
              <a:pathLst>
                <a:path w="311562" h="421576">
                  <a:moveTo>
                    <a:pt x="311563" y="19050"/>
                  </a:moveTo>
                  <a:lnTo>
                    <a:pt x="310610" y="16669"/>
                  </a:lnTo>
                  <a:lnTo>
                    <a:pt x="309467" y="14573"/>
                  </a:lnTo>
                  <a:lnTo>
                    <a:pt x="308324" y="12383"/>
                  </a:lnTo>
                  <a:lnTo>
                    <a:pt x="306515" y="10573"/>
                  </a:lnTo>
                  <a:lnTo>
                    <a:pt x="304229" y="8763"/>
                  </a:lnTo>
                  <a:lnTo>
                    <a:pt x="302514" y="6953"/>
                  </a:lnTo>
                  <a:lnTo>
                    <a:pt x="300133" y="5334"/>
                  </a:lnTo>
                  <a:lnTo>
                    <a:pt x="297466" y="4096"/>
                  </a:lnTo>
                  <a:lnTo>
                    <a:pt x="294704" y="3048"/>
                  </a:lnTo>
                  <a:lnTo>
                    <a:pt x="291846" y="1905"/>
                  </a:lnTo>
                  <a:lnTo>
                    <a:pt x="289084" y="1143"/>
                  </a:lnTo>
                  <a:lnTo>
                    <a:pt x="285750" y="572"/>
                  </a:lnTo>
                  <a:lnTo>
                    <a:pt x="282512" y="572"/>
                  </a:lnTo>
                  <a:lnTo>
                    <a:pt x="278987" y="572"/>
                  </a:lnTo>
                  <a:lnTo>
                    <a:pt x="32576" y="572"/>
                  </a:lnTo>
                  <a:lnTo>
                    <a:pt x="29146" y="0"/>
                  </a:lnTo>
                  <a:lnTo>
                    <a:pt x="25813" y="0"/>
                  </a:lnTo>
                  <a:lnTo>
                    <a:pt x="22479" y="1143"/>
                  </a:lnTo>
                  <a:lnTo>
                    <a:pt x="19812" y="1905"/>
                  </a:lnTo>
                  <a:lnTo>
                    <a:pt x="16669" y="3048"/>
                  </a:lnTo>
                  <a:lnTo>
                    <a:pt x="14002" y="4096"/>
                  </a:lnTo>
                  <a:lnTo>
                    <a:pt x="11430" y="5334"/>
                  </a:lnTo>
                  <a:lnTo>
                    <a:pt x="8954" y="6953"/>
                  </a:lnTo>
                  <a:lnTo>
                    <a:pt x="6953" y="8763"/>
                  </a:lnTo>
                  <a:lnTo>
                    <a:pt x="5048" y="10668"/>
                  </a:lnTo>
                  <a:lnTo>
                    <a:pt x="3334" y="12478"/>
                  </a:lnTo>
                  <a:lnTo>
                    <a:pt x="2191" y="14669"/>
                  </a:lnTo>
                  <a:lnTo>
                    <a:pt x="953" y="16764"/>
                  </a:lnTo>
                  <a:lnTo>
                    <a:pt x="0" y="19050"/>
                  </a:lnTo>
                  <a:lnTo>
                    <a:pt x="0" y="21527"/>
                  </a:lnTo>
                  <a:lnTo>
                    <a:pt x="0" y="23813"/>
                  </a:lnTo>
                  <a:lnTo>
                    <a:pt x="0" y="398050"/>
                  </a:lnTo>
                  <a:lnTo>
                    <a:pt x="0" y="400622"/>
                  </a:lnTo>
                  <a:lnTo>
                    <a:pt x="0" y="402908"/>
                  </a:lnTo>
                  <a:lnTo>
                    <a:pt x="953" y="405003"/>
                  </a:lnTo>
                  <a:lnTo>
                    <a:pt x="2191" y="407194"/>
                  </a:lnTo>
                  <a:lnTo>
                    <a:pt x="3334" y="409575"/>
                  </a:lnTo>
                  <a:lnTo>
                    <a:pt x="5048" y="411575"/>
                  </a:lnTo>
                  <a:lnTo>
                    <a:pt x="6953" y="413195"/>
                  </a:lnTo>
                  <a:lnTo>
                    <a:pt x="9144" y="415004"/>
                  </a:lnTo>
                  <a:lnTo>
                    <a:pt x="11430" y="416528"/>
                  </a:lnTo>
                  <a:lnTo>
                    <a:pt x="14002" y="417862"/>
                  </a:lnTo>
                  <a:lnTo>
                    <a:pt x="16669" y="419005"/>
                  </a:lnTo>
                  <a:lnTo>
                    <a:pt x="19812" y="420148"/>
                  </a:lnTo>
                  <a:lnTo>
                    <a:pt x="22670" y="420815"/>
                  </a:lnTo>
                  <a:lnTo>
                    <a:pt x="25813" y="421576"/>
                  </a:lnTo>
                  <a:lnTo>
                    <a:pt x="29146" y="421576"/>
                  </a:lnTo>
                  <a:lnTo>
                    <a:pt x="282512" y="421576"/>
                  </a:lnTo>
                  <a:lnTo>
                    <a:pt x="285750" y="421576"/>
                  </a:lnTo>
                  <a:lnTo>
                    <a:pt x="289084" y="420815"/>
                  </a:lnTo>
                  <a:lnTo>
                    <a:pt x="291846" y="420148"/>
                  </a:lnTo>
                  <a:lnTo>
                    <a:pt x="294704" y="419100"/>
                  </a:lnTo>
                  <a:lnTo>
                    <a:pt x="297275" y="417957"/>
                  </a:lnTo>
                  <a:lnTo>
                    <a:pt x="299942" y="416624"/>
                  </a:lnTo>
                  <a:lnTo>
                    <a:pt x="302324" y="415100"/>
                  </a:lnTo>
                  <a:lnTo>
                    <a:pt x="304419" y="413290"/>
                  </a:lnTo>
                  <a:lnTo>
                    <a:pt x="306324" y="411671"/>
                  </a:lnTo>
                  <a:lnTo>
                    <a:pt x="308134" y="409670"/>
                  </a:lnTo>
                  <a:lnTo>
                    <a:pt x="309277" y="407384"/>
                  </a:lnTo>
                  <a:lnTo>
                    <a:pt x="310420" y="405194"/>
                  </a:lnTo>
                  <a:lnTo>
                    <a:pt x="311372" y="403098"/>
                  </a:lnTo>
                  <a:lnTo>
                    <a:pt x="311372" y="400812"/>
                  </a:lnTo>
                  <a:lnTo>
                    <a:pt x="311372" y="398240"/>
                  </a:lnTo>
                  <a:lnTo>
                    <a:pt x="311372" y="23908"/>
                  </a:lnTo>
                  <a:lnTo>
                    <a:pt x="311372" y="21622"/>
                  </a:lnTo>
                  <a:close/>
                  <a:moveTo>
                    <a:pt x="176594" y="389382"/>
                  </a:moveTo>
                  <a:lnTo>
                    <a:pt x="176594" y="391478"/>
                  </a:lnTo>
                  <a:lnTo>
                    <a:pt x="176594" y="393764"/>
                  </a:lnTo>
                  <a:lnTo>
                    <a:pt x="176022" y="395764"/>
                  </a:lnTo>
                  <a:lnTo>
                    <a:pt x="175355" y="397669"/>
                  </a:lnTo>
                  <a:lnTo>
                    <a:pt x="174212" y="399669"/>
                  </a:lnTo>
                  <a:lnTo>
                    <a:pt x="173260" y="401288"/>
                  </a:lnTo>
                  <a:lnTo>
                    <a:pt x="172117" y="403098"/>
                  </a:lnTo>
                  <a:lnTo>
                    <a:pt x="170497" y="404622"/>
                  </a:lnTo>
                  <a:lnTo>
                    <a:pt x="168974" y="405956"/>
                  </a:lnTo>
                  <a:lnTo>
                    <a:pt x="167450" y="407194"/>
                  </a:lnTo>
                  <a:lnTo>
                    <a:pt x="165735" y="408242"/>
                  </a:lnTo>
                  <a:lnTo>
                    <a:pt x="163735" y="409289"/>
                  </a:lnTo>
                  <a:lnTo>
                    <a:pt x="161354" y="409575"/>
                  </a:lnTo>
                  <a:lnTo>
                    <a:pt x="159353" y="410147"/>
                  </a:lnTo>
                  <a:lnTo>
                    <a:pt x="157258" y="410147"/>
                  </a:lnTo>
                  <a:lnTo>
                    <a:pt x="155162" y="410147"/>
                  </a:lnTo>
                  <a:lnTo>
                    <a:pt x="152781" y="410147"/>
                  </a:lnTo>
                  <a:lnTo>
                    <a:pt x="150686" y="410147"/>
                  </a:lnTo>
                  <a:lnTo>
                    <a:pt x="148781" y="409575"/>
                  </a:lnTo>
                  <a:lnTo>
                    <a:pt x="146685" y="409575"/>
                  </a:lnTo>
                  <a:lnTo>
                    <a:pt x="144971" y="408527"/>
                  </a:lnTo>
                  <a:lnTo>
                    <a:pt x="143161" y="407480"/>
                  </a:lnTo>
                  <a:lnTo>
                    <a:pt x="141446" y="406241"/>
                  </a:lnTo>
                  <a:lnTo>
                    <a:pt x="139922" y="404908"/>
                  </a:lnTo>
                  <a:lnTo>
                    <a:pt x="138494" y="403384"/>
                  </a:lnTo>
                  <a:lnTo>
                    <a:pt x="137160" y="401574"/>
                  </a:lnTo>
                  <a:lnTo>
                    <a:pt x="136208" y="399955"/>
                  </a:lnTo>
                  <a:lnTo>
                    <a:pt x="135255" y="397955"/>
                  </a:lnTo>
                  <a:lnTo>
                    <a:pt x="134684" y="396050"/>
                  </a:lnTo>
                  <a:lnTo>
                    <a:pt x="133922" y="394049"/>
                  </a:lnTo>
                  <a:lnTo>
                    <a:pt x="133922" y="391763"/>
                  </a:lnTo>
                  <a:lnTo>
                    <a:pt x="133922" y="389668"/>
                  </a:lnTo>
                  <a:lnTo>
                    <a:pt x="133922" y="387477"/>
                  </a:lnTo>
                  <a:lnTo>
                    <a:pt x="133922" y="385382"/>
                  </a:lnTo>
                  <a:lnTo>
                    <a:pt x="134684" y="383286"/>
                  </a:lnTo>
                  <a:lnTo>
                    <a:pt x="135255" y="381381"/>
                  </a:lnTo>
                  <a:lnTo>
                    <a:pt x="136208" y="379476"/>
                  </a:lnTo>
                  <a:lnTo>
                    <a:pt x="137160" y="377666"/>
                  </a:lnTo>
                  <a:lnTo>
                    <a:pt x="138494" y="376142"/>
                  </a:lnTo>
                  <a:lnTo>
                    <a:pt x="139922" y="374618"/>
                  </a:lnTo>
                  <a:lnTo>
                    <a:pt x="141446" y="372999"/>
                  </a:lnTo>
                  <a:lnTo>
                    <a:pt x="143161" y="372142"/>
                  </a:lnTo>
                  <a:lnTo>
                    <a:pt x="144971" y="370904"/>
                  </a:lnTo>
                  <a:lnTo>
                    <a:pt x="146685" y="369951"/>
                  </a:lnTo>
                  <a:lnTo>
                    <a:pt x="148781" y="369189"/>
                  </a:lnTo>
                  <a:lnTo>
                    <a:pt x="150781" y="369189"/>
                  </a:lnTo>
                  <a:lnTo>
                    <a:pt x="152876" y="369189"/>
                  </a:lnTo>
                  <a:lnTo>
                    <a:pt x="157353" y="369189"/>
                  </a:lnTo>
                  <a:lnTo>
                    <a:pt x="159449" y="369189"/>
                  </a:lnTo>
                  <a:lnTo>
                    <a:pt x="161449" y="369189"/>
                  </a:lnTo>
                  <a:lnTo>
                    <a:pt x="163354" y="369951"/>
                  </a:lnTo>
                  <a:lnTo>
                    <a:pt x="165354" y="370904"/>
                  </a:lnTo>
                  <a:lnTo>
                    <a:pt x="167069" y="372142"/>
                  </a:lnTo>
                  <a:lnTo>
                    <a:pt x="168593" y="372999"/>
                  </a:lnTo>
                  <a:lnTo>
                    <a:pt x="170117" y="374618"/>
                  </a:lnTo>
                  <a:lnTo>
                    <a:pt x="171736" y="376142"/>
                  </a:lnTo>
                  <a:lnTo>
                    <a:pt x="172879" y="377666"/>
                  </a:lnTo>
                  <a:lnTo>
                    <a:pt x="173831" y="379476"/>
                  </a:lnTo>
                  <a:lnTo>
                    <a:pt x="174974" y="381381"/>
                  </a:lnTo>
                  <a:lnTo>
                    <a:pt x="175641" y="383286"/>
                  </a:lnTo>
                  <a:lnTo>
                    <a:pt x="176213" y="385382"/>
                  </a:lnTo>
                  <a:lnTo>
                    <a:pt x="176213" y="387477"/>
                  </a:lnTo>
                  <a:close/>
                  <a:moveTo>
                    <a:pt x="276130" y="72295"/>
                  </a:moveTo>
                  <a:lnTo>
                    <a:pt x="276130" y="356140"/>
                  </a:lnTo>
                  <a:lnTo>
                    <a:pt x="38767" y="356140"/>
                  </a:lnTo>
                  <a:lnTo>
                    <a:pt x="38767" y="39243"/>
                  </a:lnTo>
                  <a:lnTo>
                    <a:pt x="276130" y="3924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23" name="Grafik 292">
            <a:extLst>
              <a:ext uri="{FF2B5EF4-FFF2-40B4-BE49-F238E27FC236}">
                <a16:creationId xmlns:a16="http://schemas.microsoft.com/office/drawing/2014/main" id="{D48748DF-CE52-4091-88ED-BA326F541B1A}"/>
              </a:ext>
            </a:extLst>
          </p:cNvPr>
          <p:cNvGrpSpPr/>
          <p:nvPr/>
        </p:nvGrpSpPr>
        <p:grpSpPr>
          <a:xfrm>
            <a:off x="3170606" y="4482457"/>
            <a:ext cx="586025" cy="354878"/>
            <a:chOff x="4624350" y="3576600"/>
            <a:chExt cx="499395" cy="302418"/>
          </a:xfrm>
          <a:solidFill>
            <a:srgbClr val="808080"/>
          </a:solidFill>
        </p:grpSpPr>
        <p:sp>
          <p:nvSpPr>
            <p:cNvPr id="324" name="Freihandform: Form 2210">
              <a:extLst>
                <a:ext uri="{FF2B5EF4-FFF2-40B4-BE49-F238E27FC236}">
                  <a16:creationId xmlns:a16="http://schemas.microsoft.com/office/drawing/2014/main" id="{FE506927-D310-4810-9590-81668F4E7D3A}"/>
                </a:ext>
              </a:extLst>
            </p:cNvPr>
            <p:cNvSpPr/>
            <p:nvPr/>
          </p:nvSpPr>
          <p:spPr>
            <a:xfrm>
              <a:off x="4676832" y="3576600"/>
              <a:ext cx="383000" cy="264128"/>
            </a:xfrm>
            <a:custGeom>
              <a:avLst/>
              <a:gdLst>
                <a:gd name="connsiteX0" fmla="*/ 381572 w 383000"/>
                <a:gd name="connsiteY0" fmla="*/ 25527 h 264128"/>
                <a:gd name="connsiteX1" fmla="*/ 380238 w 383000"/>
                <a:gd name="connsiteY1" fmla="*/ 18479 h 264128"/>
                <a:gd name="connsiteX2" fmla="*/ 377381 w 383000"/>
                <a:gd name="connsiteY2" fmla="*/ 14192 h 264128"/>
                <a:gd name="connsiteX3" fmla="*/ 373094 w 383000"/>
                <a:gd name="connsiteY3" fmla="*/ 8477 h 264128"/>
                <a:gd name="connsiteX4" fmla="*/ 368808 w 383000"/>
                <a:gd name="connsiteY4" fmla="*/ 4286 h 264128"/>
                <a:gd name="connsiteX5" fmla="*/ 363188 w 383000"/>
                <a:gd name="connsiteY5" fmla="*/ 1429 h 264128"/>
                <a:gd name="connsiteX6" fmla="*/ 356045 w 383000"/>
                <a:gd name="connsiteY6" fmla="*/ 0 h 264128"/>
                <a:gd name="connsiteX7" fmla="*/ 25527 w 383000"/>
                <a:gd name="connsiteY7" fmla="*/ 0 h 264128"/>
                <a:gd name="connsiteX8" fmla="*/ 19907 w 383000"/>
                <a:gd name="connsiteY8" fmla="*/ 1429 h 264128"/>
                <a:gd name="connsiteX9" fmla="*/ 14192 w 383000"/>
                <a:gd name="connsiteY9" fmla="*/ 4286 h 264128"/>
                <a:gd name="connsiteX10" fmla="*/ 8477 w 383000"/>
                <a:gd name="connsiteY10" fmla="*/ 8477 h 264128"/>
                <a:gd name="connsiteX11" fmla="*/ 5715 w 383000"/>
                <a:gd name="connsiteY11" fmla="*/ 14192 h 264128"/>
                <a:gd name="connsiteX12" fmla="*/ 1429 w 383000"/>
                <a:gd name="connsiteY12" fmla="*/ 18479 h 264128"/>
                <a:gd name="connsiteX13" fmla="*/ 0 w 383000"/>
                <a:gd name="connsiteY13" fmla="*/ 25527 h 264128"/>
                <a:gd name="connsiteX14" fmla="*/ 0 w 383000"/>
                <a:gd name="connsiteY14" fmla="*/ 264128 h 264128"/>
                <a:gd name="connsiteX15" fmla="*/ 383000 w 383000"/>
                <a:gd name="connsiteY15" fmla="*/ 264128 h 264128"/>
                <a:gd name="connsiteX16" fmla="*/ 383000 w 383000"/>
                <a:gd name="connsiteY16" fmla="*/ 31242 h 264128"/>
                <a:gd name="connsiteX17" fmla="*/ 356045 w 383000"/>
                <a:gd name="connsiteY17" fmla="*/ 235649 h 264128"/>
                <a:gd name="connsiteX18" fmla="*/ 26956 w 383000"/>
                <a:gd name="connsiteY18" fmla="*/ 235649 h 264128"/>
                <a:gd name="connsiteX19" fmla="*/ 26956 w 383000"/>
                <a:gd name="connsiteY19" fmla="*/ 28575 h 264128"/>
                <a:gd name="connsiteX20" fmla="*/ 356045 w 383000"/>
                <a:gd name="connsiteY20" fmla="*/ 28575 h 264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83000" h="264128">
                  <a:moveTo>
                    <a:pt x="381572" y="25527"/>
                  </a:moveTo>
                  <a:lnTo>
                    <a:pt x="380238" y="18479"/>
                  </a:lnTo>
                  <a:lnTo>
                    <a:pt x="377381" y="14192"/>
                  </a:lnTo>
                  <a:lnTo>
                    <a:pt x="373094" y="8477"/>
                  </a:lnTo>
                  <a:lnTo>
                    <a:pt x="368808" y="4286"/>
                  </a:lnTo>
                  <a:lnTo>
                    <a:pt x="363188" y="1429"/>
                  </a:lnTo>
                  <a:lnTo>
                    <a:pt x="356045" y="0"/>
                  </a:lnTo>
                  <a:lnTo>
                    <a:pt x="25527" y="0"/>
                  </a:lnTo>
                  <a:lnTo>
                    <a:pt x="19907" y="1429"/>
                  </a:lnTo>
                  <a:lnTo>
                    <a:pt x="14192" y="4286"/>
                  </a:lnTo>
                  <a:lnTo>
                    <a:pt x="8477" y="8477"/>
                  </a:lnTo>
                  <a:lnTo>
                    <a:pt x="5715" y="14192"/>
                  </a:lnTo>
                  <a:lnTo>
                    <a:pt x="1429" y="18479"/>
                  </a:lnTo>
                  <a:lnTo>
                    <a:pt x="0" y="25527"/>
                  </a:lnTo>
                  <a:lnTo>
                    <a:pt x="0" y="264128"/>
                  </a:lnTo>
                  <a:lnTo>
                    <a:pt x="383000" y="264128"/>
                  </a:lnTo>
                  <a:lnTo>
                    <a:pt x="383000" y="31242"/>
                  </a:lnTo>
                  <a:close/>
                  <a:moveTo>
                    <a:pt x="356045" y="235649"/>
                  </a:moveTo>
                  <a:lnTo>
                    <a:pt x="26956" y="235649"/>
                  </a:lnTo>
                  <a:lnTo>
                    <a:pt x="26956" y="28575"/>
                  </a:lnTo>
                  <a:lnTo>
                    <a:pt x="356045" y="2857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5" name="Freihandform: Form 2211">
              <a:extLst>
                <a:ext uri="{FF2B5EF4-FFF2-40B4-BE49-F238E27FC236}">
                  <a16:creationId xmlns:a16="http://schemas.microsoft.com/office/drawing/2014/main" id="{F41469C2-33BA-45E2-ADE2-B6B612A10387}"/>
                </a:ext>
              </a:extLst>
            </p:cNvPr>
            <p:cNvSpPr/>
            <p:nvPr/>
          </p:nvSpPr>
          <p:spPr>
            <a:xfrm>
              <a:off x="4624350" y="3846347"/>
              <a:ext cx="499395" cy="32670"/>
            </a:xfrm>
            <a:custGeom>
              <a:avLst/>
              <a:gdLst>
                <a:gd name="connsiteX0" fmla="*/ 0 w 499395"/>
                <a:gd name="connsiteY0" fmla="*/ 0 h 32670"/>
                <a:gd name="connsiteX1" fmla="*/ 0 w 499395"/>
                <a:gd name="connsiteY1" fmla="*/ 2858 h 32670"/>
                <a:gd name="connsiteX2" fmla="*/ 0 w 499395"/>
                <a:gd name="connsiteY2" fmla="*/ 5715 h 32670"/>
                <a:gd name="connsiteX3" fmla="*/ 0 w 499395"/>
                <a:gd name="connsiteY3" fmla="*/ 7144 h 32670"/>
                <a:gd name="connsiteX4" fmla="*/ 0 w 499395"/>
                <a:gd name="connsiteY4" fmla="*/ 10001 h 32670"/>
                <a:gd name="connsiteX5" fmla="*/ 0 w 499395"/>
                <a:gd name="connsiteY5" fmla="*/ 12764 h 32670"/>
                <a:gd name="connsiteX6" fmla="*/ 0 w 499395"/>
                <a:gd name="connsiteY6" fmla="*/ 15621 h 32670"/>
                <a:gd name="connsiteX7" fmla="*/ 0 w 499395"/>
                <a:gd name="connsiteY7" fmla="*/ 17050 h 32670"/>
                <a:gd name="connsiteX8" fmla="*/ 0 w 499395"/>
                <a:gd name="connsiteY8" fmla="*/ 17050 h 32670"/>
                <a:gd name="connsiteX9" fmla="*/ 0 w 499395"/>
                <a:gd name="connsiteY9" fmla="*/ 17050 h 32670"/>
                <a:gd name="connsiteX10" fmla="*/ 0 w 499395"/>
                <a:gd name="connsiteY10" fmla="*/ 17050 h 32670"/>
                <a:gd name="connsiteX11" fmla="*/ 0 w 499395"/>
                <a:gd name="connsiteY11" fmla="*/ 18479 h 32670"/>
                <a:gd name="connsiteX12" fmla="*/ 0 w 499395"/>
                <a:gd name="connsiteY12" fmla="*/ 19907 h 32670"/>
                <a:gd name="connsiteX13" fmla="*/ 1429 w 499395"/>
                <a:gd name="connsiteY13" fmla="*/ 19907 h 32670"/>
                <a:gd name="connsiteX14" fmla="*/ 2858 w 499395"/>
                <a:gd name="connsiteY14" fmla="*/ 21336 h 32670"/>
                <a:gd name="connsiteX15" fmla="*/ 7049 w 499395"/>
                <a:gd name="connsiteY15" fmla="*/ 24194 h 32670"/>
                <a:gd name="connsiteX16" fmla="*/ 12764 w 499395"/>
                <a:gd name="connsiteY16" fmla="*/ 27051 h 32670"/>
                <a:gd name="connsiteX17" fmla="*/ 17050 w 499395"/>
                <a:gd name="connsiteY17" fmla="*/ 28384 h 32670"/>
                <a:gd name="connsiteX18" fmla="*/ 22670 w 499395"/>
                <a:gd name="connsiteY18" fmla="*/ 29813 h 32670"/>
                <a:gd name="connsiteX19" fmla="*/ 24098 w 499395"/>
                <a:gd name="connsiteY19" fmla="*/ 31242 h 32670"/>
                <a:gd name="connsiteX20" fmla="*/ 26956 w 499395"/>
                <a:gd name="connsiteY20" fmla="*/ 31242 h 32670"/>
                <a:gd name="connsiteX21" fmla="*/ 28385 w 499395"/>
                <a:gd name="connsiteY21" fmla="*/ 31242 h 32670"/>
                <a:gd name="connsiteX22" fmla="*/ 28385 w 499395"/>
                <a:gd name="connsiteY22" fmla="*/ 32671 h 32670"/>
                <a:gd name="connsiteX23" fmla="*/ 49625 w 499395"/>
                <a:gd name="connsiteY23" fmla="*/ 32671 h 32670"/>
                <a:gd name="connsiteX24" fmla="*/ 69533 w 499395"/>
                <a:gd name="connsiteY24" fmla="*/ 32671 h 32670"/>
                <a:gd name="connsiteX25" fmla="*/ 87916 w 499395"/>
                <a:gd name="connsiteY25" fmla="*/ 32671 h 32670"/>
                <a:gd name="connsiteX26" fmla="*/ 106394 w 499395"/>
                <a:gd name="connsiteY26" fmla="*/ 32671 h 32670"/>
                <a:gd name="connsiteX27" fmla="*/ 124873 w 499395"/>
                <a:gd name="connsiteY27" fmla="*/ 32671 h 32670"/>
                <a:gd name="connsiteX28" fmla="*/ 141827 w 499395"/>
                <a:gd name="connsiteY28" fmla="*/ 32671 h 32670"/>
                <a:gd name="connsiteX29" fmla="*/ 157448 w 499395"/>
                <a:gd name="connsiteY29" fmla="*/ 32671 h 32670"/>
                <a:gd name="connsiteX30" fmla="*/ 174498 w 499395"/>
                <a:gd name="connsiteY30" fmla="*/ 32671 h 32670"/>
                <a:gd name="connsiteX31" fmla="*/ 190119 w 499395"/>
                <a:gd name="connsiteY31" fmla="*/ 32671 h 32670"/>
                <a:gd name="connsiteX32" fmla="*/ 204311 w 499395"/>
                <a:gd name="connsiteY32" fmla="*/ 32671 h 32670"/>
                <a:gd name="connsiteX33" fmla="*/ 219932 w 499395"/>
                <a:gd name="connsiteY33" fmla="*/ 32671 h 32670"/>
                <a:gd name="connsiteX34" fmla="*/ 232696 w 499395"/>
                <a:gd name="connsiteY34" fmla="*/ 32671 h 32670"/>
                <a:gd name="connsiteX35" fmla="*/ 246793 w 499395"/>
                <a:gd name="connsiteY35" fmla="*/ 32671 h 32670"/>
                <a:gd name="connsiteX36" fmla="*/ 259556 w 499395"/>
                <a:gd name="connsiteY36" fmla="*/ 32671 h 32670"/>
                <a:gd name="connsiteX37" fmla="*/ 272415 w 499395"/>
                <a:gd name="connsiteY37" fmla="*/ 32671 h 32670"/>
                <a:gd name="connsiteX38" fmla="*/ 283750 w 499395"/>
                <a:gd name="connsiteY38" fmla="*/ 32671 h 32670"/>
                <a:gd name="connsiteX39" fmla="*/ 295085 w 499395"/>
                <a:gd name="connsiteY39" fmla="*/ 32671 h 32670"/>
                <a:gd name="connsiteX40" fmla="*/ 306419 w 499395"/>
                <a:gd name="connsiteY40" fmla="*/ 32671 h 32670"/>
                <a:gd name="connsiteX41" fmla="*/ 316325 w 499395"/>
                <a:gd name="connsiteY41" fmla="*/ 32671 h 32670"/>
                <a:gd name="connsiteX42" fmla="*/ 326326 w 499395"/>
                <a:gd name="connsiteY42" fmla="*/ 32671 h 32670"/>
                <a:gd name="connsiteX43" fmla="*/ 336233 w 499395"/>
                <a:gd name="connsiteY43" fmla="*/ 32671 h 32670"/>
                <a:gd name="connsiteX44" fmla="*/ 344710 w 499395"/>
                <a:gd name="connsiteY44" fmla="*/ 32671 h 32670"/>
                <a:gd name="connsiteX45" fmla="*/ 353282 w 499395"/>
                <a:gd name="connsiteY45" fmla="*/ 32671 h 32670"/>
                <a:gd name="connsiteX46" fmla="*/ 361760 w 499395"/>
                <a:gd name="connsiteY46" fmla="*/ 32671 h 32670"/>
                <a:gd name="connsiteX47" fmla="*/ 370237 w 499395"/>
                <a:gd name="connsiteY47" fmla="*/ 32671 h 32670"/>
                <a:gd name="connsiteX48" fmla="*/ 377381 w 499395"/>
                <a:gd name="connsiteY48" fmla="*/ 32671 h 32670"/>
                <a:gd name="connsiteX49" fmla="*/ 384429 w 499395"/>
                <a:gd name="connsiteY49" fmla="*/ 32671 h 32670"/>
                <a:gd name="connsiteX50" fmla="*/ 391573 w 499395"/>
                <a:gd name="connsiteY50" fmla="*/ 32671 h 32670"/>
                <a:gd name="connsiteX51" fmla="*/ 397193 w 499395"/>
                <a:gd name="connsiteY51" fmla="*/ 32671 h 32670"/>
                <a:gd name="connsiteX52" fmla="*/ 402908 w 499395"/>
                <a:gd name="connsiteY52" fmla="*/ 32671 h 32670"/>
                <a:gd name="connsiteX53" fmla="*/ 414242 w 499395"/>
                <a:gd name="connsiteY53" fmla="*/ 32671 h 32670"/>
                <a:gd name="connsiteX54" fmla="*/ 424148 w 499395"/>
                <a:gd name="connsiteY54" fmla="*/ 32671 h 32670"/>
                <a:gd name="connsiteX55" fmla="*/ 432721 w 499395"/>
                <a:gd name="connsiteY55" fmla="*/ 32671 h 32670"/>
                <a:gd name="connsiteX56" fmla="*/ 439769 w 499395"/>
                <a:gd name="connsiteY56" fmla="*/ 32671 h 32670"/>
                <a:gd name="connsiteX57" fmla="*/ 446818 w 499395"/>
                <a:gd name="connsiteY57" fmla="*/ 32671 h 32670"/>
                <a:gd name="connsiteX58" fmla="*/ 451104 w 499395"/>
                <a:gd name="connsiteY58" fmla="*/ 32671 h 32670"/>
                <a:gd name="connsiteX59" fmla="*/ 456819 w 499395"/>
                <a:gd name="connsiteY59" fmla="*/ 32671 h 32670"/>
                <a:gd name="connsiteX60" fmla="*/ 459676 w 499395"/>
                <a:gd name="connsiteY60" fmla="*/ 32671 h 32670"/>
                <a:gd name="connsiteX61" fmla="*/ 462439 w 499395"/>
                <a:gd name="connsiteY61" fmla="*/ 32671 h 32670"/>
                <a:gd name="connsiteX62" fmla="*/ 465296 w 499395"/>
                <a:gd name="connsiteY62" fmla="*/ 32671 h 32670"/>
                <a:gd name="connsiteX63" fmla="*/ 466725 w 499395"/>
                <a:gd name="connsiteY63" fmla="*/ 32671 h 32670"/>
                <a:gd name="connsiteX64" fmla="*/ 468154 w 499395"/>
                <a:gd name="connsiteY64" fmla="*/ 32671 h 32670"/>
                <a:gd name="connsiteX65" fmla="*/ 468154 w 499395"/>
                <a:gd name="connsiteY65" fmla="*/ 32671 h 32670"/>
                <a:gd name="connsiteX66" fmla="*/ 469583 w 499395"/>
                <a:gd name="connsiteY66" fmla="*/ 32671 h 32670"/>
                <a:gd name="connsiteX67" fmla="*/ 469583 w 499395"/>
                <a:gd name="connsiteY67" fmla="*/ 32671 h 32670"/>
                <a:gd name="connsiteX68" fmla="*/ 471011 w 499395"/>
                <a:gd name="connsiteY68" fmla="*/ 31242 h 32670"/>
                <a:gd name="connsiteX69" fmla="*/ 472440 w 499395"/>
                <a:gd name="connsiteY69" fmla="*/ 31242 h 32670"/>
                <a:gd name="connsiteX70" fmla="*/ 475202 w 499395"/>
                <a:gd name="connsiteY70" fmla="*/ 29813 h 32670"/>
                <a:gd name="connsiteX71" fmla="*/ 480917 w 499395"/>
                <a:gd name="connsiteY71" fmla="*/ 28384 h 32670"/>
                <a:gd name="connsiteX72" fmla="*/ 485204 w 499395"/>
                <a:gd name="connsiteY72" fmla="*/ 27051 h 32670"/>
                <a:gd name="connsiteX73" fmla="*/ 490823 w 499395"/>
                <a:gd name="connsiteY73" fmla="*/ 24194 h 32670"/>
                <a:gd name="connsiteX74" fmla="*/ 495110 w 499395"/>
                <a:gd name="connsiteY74" fmla="*/ 21336 h 32670"/>
                <a:gd name="connsiteX75" fmla="*/ 496538 w 499395"/>
                <a:gd name="connsiteY75" fmla="*/ 19907 h 32670"/>
                <a:gd name="connsiteX76" fmla="*/ 497967 w 499395"/>
                <a:gd name="connsiteY76" fmla="*/ 19907 h 32670"/>
                <a:gd name="connsiteX77" fmla="*/ 497967 w 499395"/>
                <a:gd name="connsiteY77" fmla="*/ 18479 h 32670"/>
                <a:gd name="connsiteX78" fmla="*/ 499396 w 499395"/>
                <a:gd name="connsiteY78" fmla="*/ 17050 h 32670"/>
                <a:gd name="connsiteX79" fmla="*/ 499396 w 499395"/>
                <a:gd name="connsiteY79" fmla="*/ 14192 h 32670"/>
                <a:gd name="connsiteX80" fmla="*/ 499396 w 499395"/>
                <a:gd name="connsiteY80" fmla="*/ 11430 h 32670"/>
                <a:gd name="connsiteX81" fmla="*/ 499396 w 499395"/>
                <a:gd name="connsiteY81" fmla="*/ 8572 h 32670"/>
                <a:gd name="connsiteX82" fmla="*/ 499396 w 499395"/>
                <a:gd name="connsiteY82" fmla="*/ 7144 h 32670"/>
                <a:gd name="connsiteX83" fmla="*/ 499396 w 499395"/>
                <a:gd name="connsiteY83" fmla="*/ 4286 h 32670"/>
                <a:gd name="connsiteX84" fmla="*/ 499396 w 499395"/>
                <a:gd name="connsiteY84" fmla="*/ 1429 h 32670"/>
                <a:gd name="connsiteX85" fmla="*/ 499396 w 499395"/>
                <a:gd name="connsiteY85" fmla="*/ 0 h 32670"/>
                <a:gd name="connsiteX86" fmla="*/ 499396 w 499395"/>
                <a:gd name="connsiteY86" fmla="*/ 0 h 32670"/>
                <a:gd name="connsiteX87" fmla="*/ 499396 w 499395"/>
                <a:gd name="connsiteY87" fmla="*/ 0 h 32670"/>
                <a:gd name="connsiteX88" fmla="*/ 499396 w 499395"/>
                <a:gd name="connsiteY88" fmla="*/ 0 h 32670"/>
                <a:gd name="connsiteX89" fmla="*/ 0 w 499395"/>
                <a:gd name="connsiteY89" fmla="*/ 0 h 32670"/>
                <a:gd name="connsiteX90" fmla="*/ 0 w 499395"/>
                <a:gd name="connsiteY90" fmla="*/ 0 h 32670"/>
                <a:gd name="connsiteX91" fmla="*/ 0 w 499395"/>
                <a:gd name="connsiteY91" fmla="*/ 0 h 32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499395" h="32670">
                  <a:moveTo>
                    <a:pt x="0" y="0"/>
                  </a:moveTo>
                  <a:lnTo>
                    <a:pt x="0" y="2858"/>
                  </a:lnTo>
                  <a:lnTo>
                    <a:pt x="0" y="5715"/>
                  </a:lnTo>
                  <a:lnTo>
                    <a:pt x="0" y="7144"/>
                  </a:lnTo>
                  <a:lnTo>
                    <a:pt x="0" y="10001"/>
                  </a:lnTo>
                  <a:lnTo>
                    <a:pt x="0" y="12764"/>
                  </a:lnTo>
                  <a:lnTo>
                    <a:pt x="0" y="15621"/>
                  </a:lnTo>
                  <a:lnTo>
                    <a:pt x="0" y="17050"/>
                  </a:lnTo>
                  <a:lnTo>
                    <a:pt x="0" y="17050"/>
                  </a:lnTo>
                  <a:lnTo>
                    <a:pt x="0" y="17050"/>
                  </a:lnTo>
                  <a:lnTo>
                    <a:pt x="0" y="17050"/>
                  </a:lnTo>
                  <a:lnTo>
                    <a:pt x="0" y="18479"/>
                  </a:lnTo>
                  <a:lnTo>
                    <a:pt x="0" y="19907"/>
                  </a:lnTo>
                  <a:lnTo>
                    <a:pt x="1429" y="19907"/>
                  </a:lnTo>
                  <a:lnTo>
                    <a:pt x="2858" y="21336"/>
                  </a:lnTo>
                  <a:lnTo>
                    <a:pt x="7049" y="24194"/>
                  </a:lnTo>
                  <a:lnTo>
                    <a:pt x="12764" y="27051"/>
                  </a:lnTo>
                  <a:lnTo>
                    <a:pt x="17050" y="28384"/>
                  </a:lnTo>
                  <a:lnTo>
                    <a:pt x="22670" y="29813"/>
                  </a:lnTo>
                  <a:lnTo>
                    <a:pt x="24098" y="31242"/>
                  </a:lnTo>
                  <a:lnTo>
                    <a:pt x="26956" y="31242"/>
                  </a:lnTo>
                  <a:lnTo>
                    <a:pt x="28385" y="31242"/>
                  </a:lnTo>
                  <a:lnTo>
                    <a:pt x="28385" y="32671"/>
                  </a:lnTo>
                  <a:lnTo>
                    <a:pt x="49625" y="32671"/>
                  </a:lnTo>
                  <a:lnTo>
                    <a:pt x="69533" y="32671"/>
                  </a:lnTo>
                  <a:lnTo>
                    <a:pt x="87916" y="32671"/>
                  </a:lnTo>
                  <a:lnTo>
                    <a:pt x="106394" y="32671"/>
                  </a:lnTo>
                  <a:lnTo>
                    <a:pt x="124873" y="32671"/>
                  </a:lnTo>
                  <a:lnTo>
                    <a:pt x="141827" y="32671"/>
                  </a:lnTo>
                  <a:lnTo>
                    <a:pt x="157448" y="32671"/>
                  </a:lnTo>
                  <a:lnTo>
                    <a:pt x="174498" y="32671"/>
                  </a:lnTo>
                  <a:lnTo>
                    <a:pt x="190119" y="32671"/>
                  </a:lnTo>
                  <a:lnTo>
                    <a:pt x="204311" y="32671"/>
                  </a:lnTo>
                  <a:lnTo>
                    <a:pt x="219932" y="32671"/>
                  </a:lnTo>
                  <a:lnTo>
                    <a:pt x="232696" y="32671"/>
                  </a:lnTo>
                  <a:lnTo>
                    <a:pt x="246793" y="32671"/>
                  </a:lnTo>
                  <a:lnTo>
                    <a:pt x="259556" y="32671"/>
                  </a:lnTo>
                  <a:lnTo>
                    <a:pt x="272415" y="32671"/>
                  </a:lnTo>
                  <a:lnTo>
                    <a:pt x="283750" y="32671"/>
                  </a:lnTo>
                  <a:lnTo>
                    <a:pt x="295085" y="32671"/>
                  </a:lnTo>
                  <a:lnTo>
                    <a:pt x="306419" y="32671"/>
                  </a:lnTo>
                  <a:lnTo>
                    <a:pt x="316325" y="32671"/>
                  </a:lnTo>
                  <a:lnTo>
                    <a:pt x="326326" y="32671"/>
                  </a:lnTo>
                  <a:lnTo>
                    <a:pt x="336233" y="32671"/>
                  </a:lnTo>
                  <a:lnTo>
                    <a:pt x="344710" y="32671"/>
                  </a:lnTo>
                  <a:lnTo>
                    <a:pt x="353282" y="32671"/>
                  </a:lnTo>
                  <a:lnTo>
                    <a:pt x="361760" y="32671"/>
                  </a:lnTo>
                  <a:lnTo>
                    <a:pt x="370237" y="32671"/>
                  </a:lnTo>
                  <a:lnTo>
                    <a:pt x="377381" y="32671"/>
                  </a:lnTo>
                  <a:lnTo>
                    <a:pt x="384429" y="32671"/>
                  </a:lnTo>
                  <a:lnTo>
                    <a:pt x="391573" y="32671"/>
                  </a:lnTo>
                  <a:lnTo>
                    <a:pt x="397193" y="32671"/>
                  </a:lnTo>
                  <a:lnTo>
                    <a:pt x="402908" y="32671"/>
                  </a:lnTo>
                  <a:lnTo>
                    <a:pt x="414242" y="32671"/>
                  </a:lnTo>
                  <a:lnTo>
                    <a:pt x="424148" y="32671"/>
                  </a:lnTo>
                  <a:lnTo>
                    <a:pt x="432721" y="32671"/>
                  </a:lnTo>
                  <a:lnTo>
                    <a:pt x="439769" y="32671"/>
                  </a:lnTo>
                  <a:lnTo>
                    <a:pt x="446818" y="32671"/>
                  </a:lnTo>
                  <a:lnTo>
                    <a:pt x="451104" y="32671"/>
                  </a:lnTo>
                  <a:lnTo>
                    <a:pt x="456819" y="32671"/>
                  </a:lnTo>
                  <a:lnTo>
                    <a:pt x="459676" y="32671"/>
                  </a:lnTo>
                  <a:lnTo>
                    <a:pt x="462439" y="32671"/>
                  </a:lnTo>
                  <a:lnTo>
                    <a:pt x="465296" y="32671"/>
                  </a:lnTo>
                  <a:lnTo>
                    <a:pt x="466725" y="32671"/>
                  </a:lnTo>
                  <a:lnTo>
                    <a:pt x="468154" y="32671"/>
                  </a:lnTo>
                  <a:lnTo>
                    <a:pt x="468154" y="32671"/>
                  </a:lnTo>
                  <a:lnTo>
                    <a:pt x="469583" y="32671"/>
                  </a:lnTo>
                  <a:lnTo>
                    <a:pt x="469583" y="32671"/>
                  </a:lnTo>
                  <a:lnTo>
                    <a:pt x="471011" y="31242"/>
                  </a:lnTo>
                  <a:lnTo>
                    <a:pt x="472440" y="31242"/>
                  </a:lnTo>
                  <a:lnTo>
                    <a:pt x="475202" y="29813"/>
                  </a:lnTo>
                  <a:lnTo>
                    <a:pt x="480917" y="28384"/>
                  </a:lnTo>
                  <a:lnTo>
                    <a:pt x="485204" y="27051"/>
                  </a:lnTo>
                  <a:lnTo>
                    <a:pt x="490823" y="24194"/>
                  </a:lnTo>
                  <a:lnTo>
                    <a:pt x="495110" y="21336"/>
                  </a:lnTo>
                  <a:lnTo>
                    <a:pt x="496538" y="19907"/>
                  </a:lnTo>
                  <a:lnTo>
                    <a:pt x="497967" y="19907"/>
                  </a:lnTo>
                  <a:lnTo>
                    <a:pt x="497967" y="18479"/>
                  </a:lnTo>
                  <a:lnTo>
                    <a:pt x="499396" y="17050"/>
                  </a:lnTo>
                  <a:lnTo>
                    <a:pt x="499396" y="14192"/>
                  </a:lnTo>
                  <a:lnTo>
                    <a:pt x="499396" y="11430"/>
                  </a:lnTo>
                  <a:lnTo>
                    <a:pt x="499396" y="8572"/>
                  </a:lnTo>
                  <a:lnTo>
                    <a:pt x="499396" y="7144"/>
                  </a:lnTo>
                  <a:lnTo>
                    <a:pt x="499396" y="4286"/>
                  </a:lnTo>
                  <a:lnTo>
                    <a:pt x="499396" y="1429"/>
                  </a:lnTo>
                  <a:lnTo>
                    <a:pt x="499396" y="0"/>
                  </a:lnTo>
                  <a:lnTo>
                    <a:pt x="499396" y="0"/>
                  </a:lnTo>
                  <a:lnTo>
                    <a:pt x="499396" y="0"/>
                  </a:lnTo>
                  <a:lnTo>
                    <a:pt x="49939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26" name="Grafik 193">
            <a:extLst>
              <a:ext uri="{FF2B5EF4-FFF2-40B4-BE49-F238E27FC236}">
                <a16:creationId xmlns:a16="http://schemas.microsoft.com/office/drawing/2014/main" id="{157256DB-7B4D-4AD1-8248-6493F44F61F4}"/>
              </a:ext>
            </a:extLst>
          </p:cNvPr>
          <p:cNvGrpSpPr/>
          <p:nvPr/>
        </p:nvGrpSpPr>
        <p:grpSpPr>
          <a:xfrm>
            <a:off x="4833313" y="4441702"/>
            <a:ext cx="507523" cy="436389"/>
            <a:chOff x="4358194" y="3243238"/>
            <a:chExt cx="432498" cy="371879"/>
          </a:xfrm>
          <a:solidFill>
            <a:srgbClr val="808080"/>
          </a:solidFill>
        </p:grpSpPr>
        <p:sp>
          <p:nvSpPr>
            <p:cNvPr id="327" name="Freihandform: Form 214">
              <a:extLst>
                <a:ext uri="{FF2B5EF4-FFF2-40B4-BE49-F238E27FC236}">
                  <a16:creationId xmlns:a16="http://schemas.microsoft.com/office/drawing/2014/main" id="{38A948CE-36E7-4821-A375-D99CA110306E}"/>
                </a:ext>
              </a:extLst>
            </p:cNvPr>
            <p:cNvSpPr/>
            <p:nvPr/>
          </p:nvSpPr>
          <p:spPr>
            <a:xfrm>
              <a:off x="4691062" y="3344512"/>
              <a:ext cx="32180" cy="90297"/>
            </a:xfrm>
            <a:custGeom>
              <a:avLst/>
              <a:gdLst>
                <a:gd name="connsiteX0" fmla="*/ 11906 w 32180"/>
                <a:gd name="connsiteY0" fmla="*/ 0 h 90297"/>
                <a:gd name="connsiteX1" fmla="*/ 11906 w 32180"/>
                <a:gd name="connsiteY1" fmla="*/ 0 h 90297"/>
                <a:gd name="connsiteX2" fmla="*/ 0 w 32180"/>
                <a:gd name="connsiteY2" fmla="*/ 11811 h 90297"/>
                <a:gd name="connsiteX3" fmla="*/ 0 w 32180"/>
                <a:gd name="connsiteY3" fmla="*/ 11811 h 90297"/>
                <a:gd name="connsiteX4" fmla="*/ 0 w 32180"/>
                <a:gd name="connsiteY4" fmla="*/ 78486 h 90297"/>
                <a:gd name="connsiteX5" fmla="*/ 12192 w 32180"/>
                <a:gd name="connsiteY5" fmla="*/ 90297 h 90297"/>
                <a:gd name="connsiteX6" fmla="*/ 16464 w 32180"/>
                <a:gd name="connsiteY6" fmla="*/ 4462 h 90297"/>
                <a:gd name="connsiteX7" fmla="*/ 12192 w 32180"/>
                <a:gd name="connsiteY7" fmla="*/ 191 h 90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180" h="90297">
                  <a:moveTo>
                    <a:pt x="11906" y="0"/>
                  </a:moveTo>
                  <a:lnTo>
                    <a:pt x="11906" y="0"/>
                  </a:lnTo>
                  <a:lnTo>
                    <a:pt x="0" y="11811"/>
                  </a:lnTo>
                  <a:lnTo>
                    <a:pt x="0" y="11811"/>
                  </a:lnTo>
                  <a:cubicBezTo>
                    <a:pt x="17154" y="30726"/>
                    <a:pt x="17154" y="59571"/>
                    <a:pt x="0" y="78486"/>
                  </a:cubicBezTo>
                  <a:lnTo>
                    <a:pt x="12192" y="90297"/>
                  </a:lnTo>
                  <a:cubicBezTo>
                    <a:pt x="37074" y="67774"/>
                    <a:pt x="38987" y="29344"/>
                    <a:pt x="16464" y="4462"/>
                  </a:cubicBezTo>
                  <a:cubicBezTo>
                    <a:pt x="15111" y="2968"/>
                    <a:pt x="13686" y="1543"/>
                    <a:pt x="12192" y="19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8" name="Freihandform: Form 215">
              <a:extLst>
                <a:ext uri="{FF2B5EF4-FFF2-40B4-BE49-F238E27FC236}">
                  <a16:creationId xmlns:a16="http://schemas.microsoft.com/office/drawing/2014/main" id="{9D28C34D-CDEB-43AF-B8CF-6F19E02288ED}"/>
                </a:ext>
              </a:extLst>
            </p:cNvPr>
            <p:cNvSpPr/>
            <p:nvPr/>
          </p:nvSpPr>
          <p:spPr>
            <a:xfrm>
              <a:off x="4715731" y="3318128"/>
              <a:ext cx="40416" cy="140493"/>
            </a:xfrm>
            <a:custGeom>
              <a:avLst/>
              <a:gdLst>
                <a:gd name="connsiteX0" fmla="*/ 11811 w 40416"/>
                <a:gd name="connsiteY0" fmla="*/ 2381 h 140493"/>
                <a:gd name="connsiteX1" fmla="*/ 11811 w 40416"/>
                <a:gd name="connsiteY1" fmla="*/ 0 h 140493"/>
                <a:gd name="connsiteX2" fmla="*/ 0 w 40416"/>
                <a:gd name="connsiteY2" fmla="*/ 14287 h 140493"/>
                <a:gd name="connsiteX3" fmla="*/ 0 w 40416"/>
                <a:gd name="connsiteY3" fmla="*/ 14287 h 140493"/>
                <a:gd name="connsiteX4" fmla="*/ 0 w 40416"/>
                <a:gd name="connsiteY4" fmla="*/ 128587 h 140493"/>
                <a:gd name="connsiteX5" fmla="*/ 11811 w 40416"/>
                <a:gd name="connsiteY5" fmla="*/ 140494 h 140493"/>
                <a:gd name="connsiteX6" fmla="*/ 40386 w 40416"/>
                <a:gd name="connsiteY6" fmla="*/ 71628 h 140493"/>
                <a:gd name="connsiteX7" fmla="*/ 11811 w 40416"/>
                <a:gd name="connsiteY7" fmla="*/ 2762 h 140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416" h="140493">
                  <a:moveTo>
                    <a:pt x="11811" y="2381"/>
                  </a:moveTo>
                  <a:lnTo>
                    <a:pt x="11811" y="0"/>
                  </a:lnTo>
                  <a:lnTo>
                    <a:pt x="0" y="14287"/>
                  </a:lnTo>
                  <a:lnTo>
                    <a:pt x="0" y="14287"/>
                  </a:lnTo>
                  <a:cubicBezTo>
                    <a:pt x="31024" y="46072"/>
                    <a:pt x="31024" y="96803"/>
                    <a:pt x="0" y="128587"/>
                  </a:cubicBezTo>
                  <a:lnTo>
                    <a:pt x="11811" y="140494"/>
                  </a:lnTo>
                  <a:cubicBezTo>
                    <a:pt x="30298" y="122375"/>
                    <a:pt x="40614" y="97512"/>
                    <a:pt x="40386" y="71628"/>
                  </a:cubicBezTo>
                  <a:cubicBezTo>
                    <a:pt x="41053" y="45660"/>
                    <a:pt x="30667" y="20629"/>
                    <a:pt x="11811" y="2762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9" name="Freihandform: Form 216">
              <a:extLst>
                <a:ext uri="{FF2B5EF4-FFF2-40B4-BE49-F238E27FC236}">
                  <a16:creationId xmlns:a16="http://schemas.microsoft.com/office/drawing/2014/main" id="{1ADA710E-DC4E-4FFA-B922-2EFDDA63012F}"/>
                </a:ext>
              </a:extLst>
            </p:cNvPr>
            <p:cNvSpPr/>
            <p:nvPr/>
          </p:nvSpPr>
          <p:spPr>
            <a:xfrm>
              <a:off x="4737924" y="3293649"/>
              <a:ext cx="52768" cy="190880"/>
            </a:xfrm>
            <a:custGeom>
              <a:avLst/>
              <a:gdLst>
                <a:gd name="connsiteX0" fmla="*/ 52769 w 52768"/>
                <a:gd name="connsiteY0" fmla="*/ 95250 h 190880"/>
                <a:gd name="connsiteX1" fmla="*/ 14669 w 52768"/>
                <a:gd name="connsiteY1" fmla="*/ 0 h 190880"/>
                <a:gd name="connsiteX2" fmla="*/ 0 w 52768"/>
                <a:gd name="connsiteY2" fmla="*/ 11525 h 190880"/>
                <a:gd name="connsiteX3" fmla="*/ 0 w 52768"/>
                <a:gd name="connsiteY3" fmla="*/ 176594 h 190880"/>
                <a:gd name="connsiteX4" fmla="*/ 14383 w 52768"/>
                <a:gd name="connsiteY4" fmla="*/ 190881 h 190880"/>
                <a:gd name="connsiteX5" fmla="*/ 52483 w 52768"/>
                <a:gd name="connsiteY5" fmla="*/ 95631 h 190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768" h="190880">
                  <a:moveTo>
                    <a:pt x="52769" y="95250"/>
                  </a:moveTo>
                  <a:cubicBezTo>
                    <a:pt x="52389" y="59860"/>
                    <a:pt x="38801" y="25889"/>
                    <a:pt x="14669" y="0"/>
                  </a:cubicBezTo>
                  <a:lnTo>
                    <a:pt x="0" y="11525"/>
                  </a:lnTo>
                  <a:cubicBezTo>
                    <a:pt x="45552" y="57120"/>
                    <a:pt x="45552" y="130998"/>
                    <a:pt x="0" y="176594"/>
                  </a:cubicBezTo>
                  <a:lnTo>
                    <a:pt x="14383" y="190881"/>
                  </a:lnTo>
                  <a:cubicBezTo>
                    <a:pt x="38531" y="165002"/>
                    <a:pt x="52122" y="131025"/>
                    <a:pt x="52483" y="9563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0" name="Freihandform: Form 217">
              <a:extLst>
                <a:ext uri="{FF2B5EF4-FFF2-40B4-BE49-F238E27FC236}">
                  <a16:creationId xmlns:a16="http://schemas.microsoft.com/office/drawing/2014/main" id="{15111399-DCB5-45B4-8284-DFBC2608E2E3}"/>
                </a:ext>
              </a:extLst>
            </p:cNvPr>
            <p:cNvSpPr/>
            <p:nvPr/>
          </p:nvSpPr>
          <p:spPr>
            <a:xfrm>
              <a:off x="4358194" y="3243238"/>
              <a:ext cx="312857" cy="371879"/>
            </a:xfrm>
            <a:custGeom>
              <a:avLst/>
              <a:gdLst>
                <a:gd name="connsiteX0" fmla="*/ 290100 w 312857"/>
                <a:gd name="connsiteY0" fmla="*/ 217099 h 371879"/>
                <a:gd name="connsiteX1" fmla="*/ 311531 w 312857"/>
                <a:gd name="connsiteY1" fmla="*/ 195667 h 371879"/>
                <a:gd name="connsiteX2" fmla="*/ 292481 w 312857"/>
                <a:gd name="connsiteY2" fmla="*/ 164711 h 371879"/>
                <a:gd name="connsiteX3" fmla="*/ 292481 w 312857"/>
                <a:gd name="connsiteY3" fmla="*/ 164711 h 371879"/>
                <a:gd name="connsiteX4" fmla="*/ 218567 w 312857"/>
                <a:gd name="connsiteY4" fmla="*/ 161949 h 371879"/>
                <a:gd name="connsiteX5" fmla="*/ 209042 w 312857"/>
                <a:gd name="connsiteY5" fmla="*/ 147757 h 371879"/>
                <a:gd name="connsiteX6" fmla="*/ 125413 w 312857"/>
                <a:gd name="connsiteY6" fmla="*/ 147757 h 371879"/>
                <a:gd name="connsiteX7" fmla="*/ 108744 w 312857"/>
                <a:gd name="connsiteY7" fmla="*/ 154900 h 371879"/>
                <a:gd name="connsiteX8" fmla="*/ 92075 w 312857"/>
                <a:gd name="connsiteY8" fmla="*/ 178618 h 371879"/>
                <a:gd name="connsiteX9" fmla="*/ 84932 w 312857"/>
                <a:gd name="connsiteY9" fmla="*/ 183380 h 371879"/>
                <a:gd name="connsiteX10" fmla="*/ 80074 w 312857"/>
                <a:gd name="connsiteY10" fmla="*/ 176236 h 371879"/>
                <a:gd name="connsiteX11" fmla="*/ 99124 w 312857"/>
                <a:gd name="connsiteY11" fmla="*/ 142994 h 371879"/>
                <a:gd name="connsiteX12" fmla="*/ 122936 w 312857"/>
                <a:gd name="connsiteY12" fmla="*/ 133469 h 371879"/>
                <a:gd name="connsiteX13" fmla="*/ 285242 w 312857"/>
                <a:gd name="connsiteY13" fmla="*/ 133469 h 371879"/>
                <a:gd name="connsiteX14" fmla="*/ 287624 w 312857"/>
                <a:gd name="connsiteY14" fmla="*/ 121563 h 371879"/>
                <a:gd name="connsiteX15" fmla="*/ 275717 w 312857"/>
                <a:gd name="connsiteY15" fmla="*/ 67175 h 371879"/>
                <a:gd name="connsiteX16" fmla="*/ 199517 w 312857"/>
                <a:gd name="connsiteY16" fmla="*/ 7739 h 371879"/>
                <a:gd name="connsiteX17" fmla="*/ 82550 w 312857"/>
                <a:gd name="connsiteY17" fmla="*/ 10120 h 371879"/>
                <a:gd name="connsiteX18" fmla="*/ 9017 w 312857"/>
                <a:gd name="connsiteY18" fmla="*/ 81463 h 371879"/>
                <a:gd name="connsiteX19" fmla="*/ 9017 w 312857"/>
                <a:gd name="connsiteY19" fmla="*/ 195763 h 371879"/>
                <a:gd name="connsiteX20" fmla="*/ 56642 w 312857"/>
                <a:gd name="connsiteY20" fmla="*/ 283774 h 371879"/>
                <a:gd name="connsiteX21" fmla="*/ 44736 w 312857"/>
                <a:gd name="connsiteY21" fmla="*/ 369499 h 371879"/>
                <a:gd name="connsiteX22" fmla="*/ 149511 w 312857"/>
                <a:gd name="connsiteY22" fmla="*/ 369499 h 371879"/>
                <a:gd name="connsiteX23" fmla="*/ 194850 w 312857"/>
                <a:gd name="connsiteY23" fmla="*/ 371880 h 371879"/>
                <a:gd name="connsiteX24" fmla="*/ 201994 w 312857"/>
                <a:gd name="connsiteY24" fmla="*/ 340924 h 371879"/>
                <a:gd name="connsiteX25" fmla="*/ 216281 w 312857"/>
                <a:gd name="connsiteY25" fmla="*/ 312349 h 371879"/>
                <a:gd name="connsiteX26" fmla="*/ 233045 w 312857"/>
                <a:gd name="connsiteY26" fmla="*/ 307586 h 371879"/>
                <a:gd name="connsiteX27" fmla="*/ 233045 w 312857"/>
                <a:gd name="connsiteY27" fmla="*/ 307586 h 371879"/>
                <a:gd name="connsiteX28" fmla="*/ 273622 w 312857"/>
                <a:gd name="connsiteY28" fmla="*/ 307586 h 371879"/>
                <a:gd name="connsiteX29" fmla="*/ 285528 w 312857"/>
                <a:gd name="connsiteY29" fmla="*/ 279011 h 371879"/>
                <a:gd name="connsiteX30" fmla="*/ 285528 w 312857"/>
                <a:gd name="connsiteY30" fmla="*/ 264724 h 371879"/>
                <a:gd name="connsiteX31" fmla="*/ 290291 w 312857"/>
                <a:gd name="connsiteY31" fmla="*/ 259961 h 371879"/>
                <a:gd name="connsiteX32" fmla="*/ 287909 w 312857"/>
                <a:gd name="connsiteY32" fmla="*/ 255199 h 371879"/>
                <a:gd name="connsiteX33" fmla="*/ 292672 w 312857"/>
                <a:gd name="connsiteY33" fmla="*/ 245674 h 371879"/>
                <a:gd name="connsiteX34" fmla="*/ 290291 w 312857"/>
                <a:gd name="connsiteY34" fmla="*/ 217099 h 37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312857" h="371879">
                  <a:moveTo>
                    <a:pt x="290100" y="217099"/>
                  </a:moveTo>
                  <a:cubicBezTo>
                    <a:pt x="294863" y="212336"/>
                    <a:pt x="318675" y="205192"/>
                    <a:pt x="311531" y="195667"/>
                  </a:cubicBezTo>
                  <a:cubicBezTo>
                    <a:pt x="309150" y="183761"/>
                    <a:pt x="297244" y="174236"/>
                    <a:pt x="292481" y="164711"/>
                  </a:cubicBezTo>
                  <a:lnTo>
                    <a:pt x="292481" y="164711"/>
                  </a:lnTo>
                  <a:cubicBezTo>
                    <a:pt x="273431" y="161949"/>
                    <a:pt x="223330" y="161949"/>
                    <a:pt x="218567" y="161949"/>
                  </a:cubicBezTo>
                  <a:cubicBezTo>
                    <a:pt x="211424" y="161949"/>
                    <a:pt x="209042" y="147757"/>
                    <a:pt x="209042" y="147757"/>
                  </a:cubicBezTo>
                  <a:lnTo>
                    <a:pt x="125413" y="147757"/>
                  </a:lnTo>
                  <a:cubicBezTo>
                    <a:pt x="119098" y="147680"/>
                    <a:pt x="113044" y="150274"/>
                    <a:pt x="108744" y="154900"/>
                  </a:cubicBezTo>
                  <a:cubicBezTo>
                    <a:pt x="100742" y="160769"/>
                    <a:pt x="94886" y="169101"/>
                    <a:pt x="92075" y="178618"/>
                  </a:cubicBezTo>
                  <a:cubicBezTo>
                    <a:pt x="92075" y="180999"/>
                    <a:pt x="87313" y="183380"/>
                    <a:pt x="84932" y="183380"/>
                  </a:cubicBezTo>
                  <a:cubicBezTo>
                    <a:pt x="82550" y="183380"/>
                    <a:pt x="80074" y="178618"/>
                    <a:pt x="80074" y="176236"/>
                  </a:cubicBezTo>
                  <a:cubicBezTo>
                    <a:pt x="82634" y="163377"/>
                    <a:pt x="89323" y="151704"/>
                    <a:pt x="99124" y="142994"/>
                  </a:cubicBezTo>
                  <a:cubicBezTo>
                    <a:pt x="108649" y="135850"/>
                    <a:pt x="122936" y="135850"/>
                    <a:pt x="122936" y="133469"/>
                  </a:cubicBezTo>
                  <a:lnTo>
                    <a:pt x="285242" y="133469"/>
                  </a:lnTo>
                  <a:cubicBezTo>
                    <a:pt x="285082" y="129368"/>
                    <a:pt x="285898" y="125287"/>
                    <a:pt x="287624" y="121563"/>
                  </a:cubicBezTo>
                  <a:cubicBezTo>
                    <a:pt x="289610" y="102625"/>
                    <a:pt x="285435" y="83551"/>
                    <a:pt x="275717" y="67175"/>
                  </a:cubicBezTo>
                  <a:cubicBezTo>
                    <a:pt x="261043" y="36510"/>
                    <a:pt x="232832" y="14506"/>
                    <a:pt x="199517" y="7739"/>
                  </a:cubicBezTo>
                  <a:cubicBezTo>
                    <a:pt x="163703" y="-1786"/>
                    <a:pt x="118364" y="-4167"/>
                    <a:pt x="82550" y="10120"/>
                  </a:cubicBezTo>
                  <a:cubicBezTo>
                    <a:pt x="48759" y="21960"/>
                    <a:pt x="21873" y="48045"/>
                    <a:pt x="9017" y="81463"/>
                  </a:cubicBezTo>
                  <a:cubicBezTo>
                    <a:pt x="-5270" y="114800"/>
                    <a:pt x="-508" y="159949"/>
                    <a:pt x="9017" y="195763"/>
                  </a:cubicBezTo>
                  <a:cubicBezTo>
                    <a:pt x="18542" y="229100"/>
                    <a:pt x="47117" y="252913"/>
                    <a:pt x="56642" y="283774"/>
                  </a:cubicBezTo>
                  <a:cubicBezTo>
                    <a:pt x="66167" y="309967"/>
                    <a:pt x="54261" y="345591"/>
                    <a:pt x="44736" y="369499"/>
                  </a:cubicBezTo>
                  <a:lnTo>
                    <a:pt x="149511" y="369499"/>
                  </a:lnTo>
                  <a:cubicBezTo>
                    <a:pt x="164662" y="369164"/>
                    <a:pt x="179817" y="369960"/>
                    <a:pt x="194850" y="371880"/>
                  </a:cubicBezTo>
                  <a:cubicBezTo>
                    <a:pt x="199613" y="371880"/>
                    <a:pt x="199613" y="345686"/>
                    <a:pt x="201994" y="340924"/>
                  </a:cubicBezTo>
                  <a:cubicBezTo>
                    <a:pt x="204375" y="331399"/>
                    <a:pt x="209138" y="317206"/>
                    <a:pt x="216281" y="312349"/>
                  </a:cubicBezTo>
                  <a:cubicBezTo>
                    <a:pt x="220868" y="308320"/>
                    <a:pt x="227025" y="306570"/>
                    <a:pt x="233045" y="307586"/>
                  </a:cubicBezTo>
                  <a:lnTo>
                    <a:pt x="233045" y="307586"/>
                  </a:lnTo>
                  <a:cubicBezTo>
                    <a:pt x="247333" y="307586"/>
                    <a:pt x="261620" y="312349"/>
                    <a:pt x="273622" y="307586"/>
                  </a:cubicBezTo>
                  <a:cubicBezTo>
                    <a:pt x="287909" y="302824"/>
                    <a:pt x="285528" y="290917"/>
                    <a:pt x="285528" y="279011"/>
                  </a:cubicBezTo>
                  <a:cubicBezTo>
                    <a:pt x="283106" y="274557"/>
                    <a:pt x="283106" y="269178"/>
                    <a:pt x="285528" y="264724"/>
                  </a:cubicBezTo>
                  <a:cubicBezTo>
                    <a:pt x="285528" y="264724"/>
                    <a:pt x="290291" y="262342"/>
                    <a:pt x="290291" y="259961"/>
                  </a:cubicBezTo>
                  <a:cubicBezTo>
                    <a:pt x="290121" y="258131"/>
                    <a:pt x="289272" y="256432"/>
                    <a:pt x="287909" y="255199"/>
                  </a:cubicBezTo>
                  <a:cubicBezTo>
                    <a:pt x="283147" y="248055"/>
                    <a:pt x="292672" y="252817"/>
                    <a:pt x="292672" y="245674"/>
                  </a:cubicBezTo>
                  <a:cubicBezTo>
                    <a:pt x="295053" y="236149"/>
                    <a:pt x="278384" y="226624"/>
                    <a:pt x="290291" y="217099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31" name="Grafik 3">
            <a:extLst>
              <a:ext uri="{FF2B5EF4-FFF2-40B4-BE49-F238E27FC236}">
                <a16:creationId xmlns:a16="http://schemas.microsoft.com/office/drawing/2014/main" id="{17E32D6A-9ABA-4818-B6DB-A5CF145EE44C}"/>
              </a:ext>
            </a:extLst>
          </p:cNvPr>
          <p:cNvGrpSpPr/>
          <p:nvPr/>
        </p:nvGrpSpPr>
        <p:grpSpPr>
          <a:xfrm>
            <a:off x="4035419" y="4450881"/>
            <a:ext cx="519105" cy="418031"/>
            <a:chOff x="4352578" y="3252787"/>
            <a:chExt cx="442368" cy="356235"/>
          </a:xfrm>
          <a:solidFill>
            <a:srgbClr val="808080"/>
          </a:solidFill>
        </p:grpSpPr>
        <p:sp>
          <p:nvSpPr>
            <p:cNvPr id="332" name="Freihandform: Form 27">
              <a:extLst>
                <a:ext uri="{FF2B5EF4-FFF2-40B4-BE49-F238E27FC236}">
                  <a16:creationId xmlns:a16="http://schemas.microsoft.com/office/drawing/2014/main" id="{6DDE978A-E59D-4C34-AB8A-83C11D63E43B}"/>
                </a:ext>
              </a:extLst>
            </p:cNvPr>
            <p:cNvSpPr/>
            <p:nvPr/>
          </p:nvSpPr>
          <p:spPr>
            <a:xfrm>
              <a:off x="4685537" y="3446049"/>
              <a:ext cx="100203" cy="55816"/>
            </a:xfrm>
            <a:custGeom>
              <a:avLst/>
              <a:gdLst>
                <a:gd name="connsiteX0" fmla="*/ 0 w 100203"/>
                <a:gd name="connsiteY0" fmla="*/ 55816 h 55816"/>
                <a:gd name="connsiteX1" fmla="*/ 93726 w 100203"/>
                <a:gd name="connsiteY1" fmla="*/ 55816 h 55816"/>
                <a:gd name="connsiteX2" fmla="*/ 100203 w 100203"/>
                <a:gd name="connsiteY2" fmla="*/ 46291 h 55816"/>
                <a:gd name="connsiteX3" fmla="*/ 100203 w 100203"/>
                <a:gd name="connsiteY3" fmla="*/ 8191 h 55816"/>
                <a:gd name="connsiteX4" fmla="*/ 93726 w 100203"/>
                <a:gd name="connsiteY4" fmla="*/ 0 h 55816"/>
                <a:gd name="connsiteX5" fmla="*/ 0 w 100203"/>
                <a:gd name="connsiteY5" fmla="*/ 0 h 55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203" h="55816">
                  <a:moveTo>
                    <a:pt x="0" y="55816"/>
                  </a:moveTo>
                  <a:lnTo>
                    <a:pt x="93726" y="55816"/>
                  </a:lnTo>
                  <a:cubicBezTo>
                    <a:pt x="97631" y="55816"/>
                    <a:pt x="100203" y="52483"/>
                    <a:pt x="100203" y="46291"/>
                  </a:cubicBezTo>
                  <a:lnTo>
                    <a:pt x="100203" y="8191"/>
                  </a:lnTo>
                  <a:cubicBezTo>
                    <a:pt x="100203" y="3334"/>
                    <a:pt x="97631" y="0"/>
                    <a:pt x="93726" y="0"/>
                  </a:cubicBezTo>
                  <a:lnTo>
                    <a:pt x="0" y="0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3" name="Freihandform: Form 28">
              <a:extLst>
                <a:ext uri="{FF2B5EF4-FFF2-40B4-BE49-F238E27FC236}">
                  <a16:creationId xmlns:a16="http://schemas.microsoft.com/office/drawing/2014/main" id="{A8488E91-944D-46EC-858B-AAA50905420F}"/>
                </a:ext>
              </a:extLst>
            </p:cNvPr>
            <p:cNvSpPr/>
            <p:nvPr/>
          </p:nvSpPr>
          <p:spPr>
            <a:xfrm>
              <a:off x="4685537" y="3512057"/>
              <a:ext cx="109408" cy="38100"/>
            </a:xfrm>
            <a:custGeom>
              <a:avLst/>
              <a:gdLst>
                <a:gd name="connsiteX0" fmla="*/ 0 w 109408"/>
                <a:gd name="connsiteY0" fmla="*/ 38100 h 38100"/>
                <a:gd name="connsiteX1" fmla="*/ 103727 w 109408"/>
                <a:gd name="connsiteY1" fmla="*/ 38100 h 38100"/>
                <a:gd name="connsiteX2" fmla="*/ 109061 w 109408"/>
                <a:gd name="connsiteY2" fmla="*/ 27242 h 38100"/>
                <a:gd name="connsiteX3" fmla="*/ 102394 w 109408"/>
                <a:gd name="connsiteY3" fmla="*/ 3620 h 38100"/>
                <a:gd name="connsiteX4" fmla="*/ 99727 w 109408"/>
                <a:gd name="connsiteY4" fmla="*/ 0 h 38100"/>
                <a:gd name="connsiteX5" fmla="*/ 0 w 109408"/>
                <a:gd name="connsiteY5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9408" h="38100">
                  <a:moveTo>
                    <a:pt x="0" y="38100"/>
                  </a:moveTo>
                  <a:lnTo>
                    <a:pt x="103727" y="38100"/>
                  </a:lnTo>
                  <a:cubicBezTo>
                    <a:pt x="107728" y="38100"/>
                    <a:pt x="110395" y="30861"/>
                    <a:pt x="109061" y="27242"/>
                  </a:cubicBezTo>
                  <a:lnTo>
                    <a:pt x="102394" y="3620"/>
                  </a:lnTo>
                  <a:cubicBezTo>
                    <a:pt x="102394" y="1810"/>
                    <a:pt x="101060" y="0"/>
                    <a:pt x="99727" y="0"/>
                  </a:cubicBezTo>
                  <a:lnTo>
                    <a:pt x="0" y="0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4" name="Freihandform: Form 29">
              <a:extLst>
                <a:ext uri="{FF2B5EF4-FFF2-40B4-BE49-F238E27FC236}">
                  <a16:creationId xmlns:a16="http://schemas.microsoft.com/office/drawing/2014/main" id="{4A5A55C6-FB60-4F2B-843A-BDD0FEBB9E51}"/>
                </a:ext>
              </a:extLst>
            </p:cNvPr>
            <p:cNvSpPr/>
            <p:nvPr/>
          </p:nvSpPr>
          <p:spPr>
            <a:xfrm>
              <a:off x="4685537" y="3380993"/>
              <a:ext cx="100203" cy="54673"/>
            </a:xfrm>
            <a:custGeom>
              <a:avLst/>
              <a:gdLst>
                <a:gd name="connsiteX0" fmla="*/ 0 w 100203"/>
                <a:gd name="connsiteY0" fmla="*/ 54674 h 54673"/>
                <a:gd name="connsiteX1" fmla="*/ 93726 w 100203"/>
                <a:gd name="connsiteY1" fmla="*/ 54674 h 54673"/>
                <a:gd name="connsiteX2" fmla="*/ 100203 w 100203"/>
                <a:gd name="connsiteY2" fmla="*/ 45149 h 54673"/>
                <a:gd name="connsiteX3" fmla="*/ 100203 w 100203"/>
                <a:gd name="connsiteY3" fmla="*/ 8001 h 54673"/>
                <a:gd name="connsiteX4" fmla="*/ 93726 w 100203"/>
                <a:gd name="connsiteY4" fmla="*/ 0 h 54673"/>
                <a:gd name="connsiteX5" fmla="*/ 0 w 100203"/>
                <a:gd name="connsiteY5" fmla="*/ 0 h 54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203" h="54673">
                  <a:moveTo>
                    <a:pt x="0" y="54674"/>
                  </a:moveTo>
                  <a:lnTo>
                    <a:pt x="93726" y="54674"/>
                  </a:lnTo>
                  <a:cubicBezTo>
                    <a:pt x="97631" y="54674"/>
                    <a:pt x="100203" y="51435"/>
                    <a:pt x="100203" y="45149"/>
                  </a:cubicBezTo>
                  <a:lnTo>
                    <a:pt x="100203" y="8001"/>
                  </a:lnTo>
                  <a:cubicBezTo>
                    <a:pt x="100203" y="3239"/>
                    <a:pt x="97631" y="0"/>
                    <a:pt x="93726" y="0"/>
                  </a:cubicBezTo>
                  <a:lnTo>
                    <a:pt x="0" y="0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5" name="Freihandform: Form 30">
              <a:extLst>
                <a:ext uri="{FF2B5EF4-FFF2-40B4-BE49-F238E27FC236}">
                  <a16:creationId xmlns:a16="http://schemas.microsoft.com/office/drawing/2014/main" id="{10C0DF4C-E30C-4271-8823-E7510C260515}"/>
                </a:ext>
              </a:extLst>
            </p:cNvPr>
            <p:cNvSpPr/>
            <p:nvPr/>
          </p:nvSpPr>
          <p:spPr>
            <a:xfrm>
              <a:off x="4685537" y="3314794"/>
              <a:ext cx="100203" cy="54768"/>
            </a:xfrm>
            <a:custGeom>
              <a:avLst/>
              <a:gdLst>
                <a:gd name="connsiteX0" fmla="*/ 0 w 100203"/>
                <a:gd name="connsiteY0" fmla="*/ 54769 h 54768"/>
                <a:gd name="connsiteX1" fmla="*/ 93726 w 100203"/>
                <a:gd name="connsiteY1" fmla="*/ 54769 h 54768"/>
                <a:gd name="connsiteX2" fmla="*/ 100203 w 100203"/>
                <a:gd name="connsiteY2" fmla="*/ 45244 h 54768"/>
                <a:gd name="connsiteX3" fmla="*/ 100203 w 100203"/>
                <a:gd name="connsiteY3" fmla="*/ 8096 h 54768"/>
                <a:gd name="connsiteX4" fmla="*/ 93726 w 100203"/>
                <a:gd name="connsiteY4" fmla="*/ 0 h 54768"/>
                <a:gd name="connsiteX5" fmla="*/ 0 w 100203"/>
                <a:gd name="connsiteY5" fmla="*/ 0 h 54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203" h="54768">
                  <a:moveTo>
                    <a:pt x="0" y="54769"/>
                  </a:moveTo>
                  <a:lnTo>
                    <a:pt x="93726" y="54769"/>
                  </a:lnTo>
                  <a:cubicBezTo>
                    <a:pt x="97631" y="54769"/>
                    <a:pt x="100203" y="51530"/>
                    <a:pt x="100203" y="45244"/>
                  </a:cubicBezTo>
                  <a:lnTo>
                    <a:pt x="100203" y="8096"/>
                  </a:lnTo>
                  <a:cubicBezTo>
                    <a:pt x="100203" y="3238"/>
                    <a:pt x="97631" y="0"/>
                    <a:pt x="93726" y="0"/>
                  </a:cubicBezTo>
                  <a:lnTo>
                    <a:pt x="0" y="0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6" name="Freihandform: Form 127">
              <a:extLst>
                <a:ext uri="{FF2B5EF4-FFF2-40B4-BE49-F238E27FC236}">
                  <a16:creationId xmlns:a16="http://schemas.microsoft.com/office/drawing/2014/main" id="{A6AF1A6C-5A7D-47DC-BAD6-CD75C17EE69A}"/>
                </a:ext>
              </a:extLst>
            </p:cNvPr>
            <p:cNvSpPr/>
            <p:nvPr/>
          </p:nvSpPr>
          <p:spPr>
            <a:xfrm>
              <a:off x="4366248" y="3449954"/>
              <a:ext cx="100976" cy="55911"/>
            </a:xfrm>
            <a:custGeom>
              <a:avLst/>
              <a:gdLst>
                <a:gd name="connsiteX0" fmla="*/ 100977 w 100976"/>
                <a:gd name="connsiteY0" fmla="*/ 0 h 55911"/>
                <a:gd name="connsiteX1" fmla="*/ 6489 w 100976"/>
                <a:gd name="connsiteY1" fmla="*/ 0 h 55911"/>
                <a:gd name="connsiteX2" fmla="*/ 12 w 100976"/>
                <a:gd name="connsiteY2" fmla="*/ 8287 h 55911"/>
                <a:gd name="connsiteX3" fmla="*/ 12 w 100976"/>
                <a:gd name="connsiteY3" fmla="*/ 46387 h 55911"/>
                <a:gd name="connsiteX4" fmla="*/ 6489 w 100976"/>
                <a:gd name="connsiteY4" fmla="*/ 55912 h 55911"/>
                <a:gd name="connsiteX5" fmla="*/ 100977 w 100976"/>
                <a:gd name="connsiteY5" fmla="*/ 55912 h 5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976" h="55911">
                  <a:moveTo>
                    <a:pt x="100977" y="0"/>
                  </a:moveTo>
                  <a:lnTo>
                    <a:pt x="6489" y="0"/>
                  </a:lnTo>
                  <a:cubicBezTo>
                    <a:pt x="2562" y="756"/>
                    <a:pt x="-203" y="4294"/>
                    <a:pt x="12" y="8287"/>
                  </a:cubicBezTo>
                  <a:lnTo>
                    <a:pt x="12" y="46387"/>
                  </a:lnTo>
                  <a:cubicBezTo>
                    <a:pt x="12" y="52959"/>
                    <a:pt x="3822" y="55912"/>
                    <a:pt x="6489" y="55912"/>
                  </a:cubicBezTo>
                  <a:lnTo>
                    <a:pt x="100977" y="55912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7" name="Freihandform: Form 128">
              <a:extLst>
                <a:ext uri="{FF2B5EF4-FFF2-40B4-BE49-F238E27FC236}">
                  <a16:creationId xmlns:a16="http://schemas.microsoft.com/office/drawing/2014/main" id="{77DC727E-EE30-451D-B694-1D8E6E28434F}"/>
                </a:ext>
              </a:extLst>
            </p:cNvPr>
            <p:cNvSpPr/>
            <p:nvPr/>
          </p:nvSpPr>
          <p:spPr>
            <a:xfrm>
              <a:off x="4352578" y="3512057"/>
              <a:ext cx="114646" cy="38100"/>
            </a:xfrm>
            <a:custGeom>
              <a:avLst/>
              <a:gdLst>
                <a:gd name="connsiteX0" fmla="*/ 114647 w 114646"/>
                <a:gd name="connsiteY0" fmla="*/ 0 h 38100"/>
                <a:gd name="connsiteX1" fmla="*/ 12729 w 114646"/>
                <a:gd name="connsiteY1" fmla="*/ 0 h 38100"/>
                <a:gd name="connsiteX2" fmla="*/ 8729 w 114646"/>
                <a:gd name="connsiteY2" fmla="*/ 5429 h 38100"/>
                <a:gd name="connsiteX3" fmla="*/ 347 w 114646"/>
                <a:gd name="connsiteY3" fmla="*/ 25432 h 38100"/>
                <a:gd name="connsiteX4" fmla="*/ 5681 w 114646"/>
                <a:gd name="connsiteY4" fmla="*/ 38100 h 38100"/>
                <a:gd name="connsiteX5" fmla="*/ 114647 w 114646"/>
                <a:gd name="connsiteY5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4646" h="38100">
                  <a:moveTo>
                    <a:pt x="114647" y="0"/>
                  </a:moveTo>
                  <a:lnTo>
                    <a:pt x="12729" y="0"/>
                  </a:lnTo>
                  <a:cubicBezTo>
                    <a:pt x="10230" y="561"/>
                    <a:pt x="8524" y="2876"/>
                    <a:pt x="8729" y="5429"/>
                  </a:cubicBezTo>
                  <a:lnTo>
                    <a:pt x="347" y="25432"/>
                  </a:lnTo>
                  <a:cubicBezTo>
                    <a:pt x="-987" y="30861"/>
                    <a:pt x="1680" y="38100"/>
                    <a:pt x="5681" y="38100"/>
                  </a:cubicBezTo>
                  <a:lnTo>
                    <a:pt x="114647" y="38100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8" name="Freihandform: Form 129">
              <a:extLst>
                <a:ext uri="{FF2B5EF4-FFF2-40B4-BE49-F238E27FC236}">
                  <a16:creationId xmlns:a16="http://schemas.microsoft.com/office/drawing/2014/main" id="{AE3EA008-CC33-4BEA-90BB-4B8C55507237}"/>
                </a:ext>
              </a:extLst>
            </p:cNvPr>
            <p:cNvSpPr/>
            <p:nvPr/>
          </p:nvSpPr>
          <p:spPr>
            <a:xfrm>
              <a:off x="4366249" y="3385089"/>
              <a:ext cx="100975" cy="54578"/>
            </a:xfrm>
            <a:custGeom>
              <a:avLst/>
              <a:gdLst>
                <a:gd name="connsiteX0" fmla="*/ 100975 w 100975"/>
                <a:gd name="connsiteY0" fmla="*/ 0 h 54578"/>
                <a:gd name="connsiteX1" fmla="*/ 6487 w 100975"/>
                <a:gd name="connsiteY1" fmla="*/ 0 h 54578"/>
                <a:gd name="connsiteX2" fmla="*/ 10 w 100975"/>
                <a:gd name="connsiteY2" fmla="*/ 8096 h 54578"/>
                <a:gd name="connsiteX3" fmla="*/ 10 w 100975"/>
                <a:gd name="connsiteY3" fmla="*/ 45053 h 54578"/>
                <a:gd name="connsiteX4" fmla="*/ 6487 w 100975"/>
                <a:gd name="connsiteY4" fmla="*/ 54578 h 54578"/>
                <a:gd name="connsiteX5" fmla="*/ 100975 w 100975"/>
                <a:gd name="connsiteY5" fmla="*/ 54578 h 54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975" h="54578">
                  <a:moveTo>
                    <a:pt x="100975" y="0"/>
                  </a:moveTo>
                  <a:lnTo>
                    <a:pt x="6487" y="0"/>
                  </a:lnTo>
                  <a:cubicBezTo>
                    <a:pt x="2590" y="670"/>
                    <a:pt x="-192" y="4147"/>
                    <a:pt x="10" y="8096"/>
                  </a:cubicBezTo>
                  <a:lnTo>
                    <a:pt x="10" y="45053"/>
                  </a:lnTo>
                  <a:cubicBezTo>
                    <a:pt x="10" y="51530"/>
                    <a:pt x="3820" y="54578"/>
                    <a:pt x="6487" y="54578"/>
                  </a:cubicBezTo>
                  <a:lnTo>
                    <a:pt x="100975" y="54578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9" name="Freihandform: Form 130">
              <a:extLst>
                <a:ext uri="{FF2B5EF4-FFF2-40B4-BE49-F238E27FC236}">
                  <a16:creationId xmlns:a16="http://schemas.microsoft.com/office/drawing/2014/main" id="{880067C1-C4E9-4DEF-A6FB-B935D0A4B6A6}"/>
                </a:ext>
              </a:extLst>
            </p:cNvPr>
            <p:cNvSpPr/>
            <p:nvPr/>
          </p:nvSpPr>
          <p:spPr>
            <a:xfrm>
              <a:off x="4366250" y="3319462"/>
              <a:ext cx="100974" cy="54578"/>
            </a:xfrm>
            <a:custGeom>
              <a:avLst/>
              <a:gdLst>
                <a:gd name="connsiteX0" fmla="*/ 100975 w 100974"/>
                <a:gd name="connsiteY0" fmla="*/ 0 h 54578"/>
                <a:gd name="connsiteX1" fmla="*/ 6487 w 100974"/>
                <a:gd name="connsiteY1" fmla="*/ 0 h 54578"/>
                <a:gd name="connsiteX2" fmla="*/ 10 w 100974"/>
                <a:gd name="connsiteY2" fmla="*/ 8001 h 54578"/>
                <a:gd name="connsiteX3" fmla="*/ 10 w 100974"/>
                <a:gd name="connsiteY3" fmla="*/ 45053 h 54578"/>
                <a:gd name="connsiteX4" fmla="*/ 6487 w 100974"/>
                <a:gd name="connsiteY4" fmla="*/ 54578 h 54578"/>
                <a:gd name="connsiteX5" fmla="*/ 100975 w 100974"/>
                <a:gd name="connsiteY5" fmla="*/ 54578 h 54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974" h="54578">
                  <a:moveTo>
                    <a:pt x="100975" y="0"/>
                  </a:moveTo>
                  <a:lnTo>
                    <a:pt x="6487" y="0"/>
                  </a:lnTo>
                  <a:cubicBezTo>
                    <a:pt x="2604" y="626"/>
                    <a:pt x="-186" y="4073"/>
                    <a:pt x="10" y="8001"/>
                  </a:cubicBezTo>
                  <a:lnTo>
                    <a:pt x="10" y="45053"/>
                  </a:lnTo>
                  <a:cubicBezTo>
                    <a:pt x="10" y="51435"/>
                    <a:pt x="3820" y="54578"/>
                    <a:pt x="6487" y="54578"/>
                  </a:cubicBezTo>
                  <a:lnTo>
                    <a:pt x="100975" y="54578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0" name="Freihandform: Form 131">
              <a:extLst>
                <a:ext uri="{FF2B5EF4-FFF2-40B4-BE49-F238E27FC236}">
                  <a16:creationId xmlns:a16="http://schemas.microsoft.com/office/drawing/2014/main" id="{A56DACAB-941F-4882-9C00-F178A695B678}"/>
                </a:ext>
              </a:extLst>
            </p:cNvPr>
            <p:cNvSpPr/>
            <p:nvPr/>
          </p:nvSpPr>
          <p:spPr>
            <a:xfrm>
              <a:off x="4685538" y="3314794"/>
              <a:ext cx="9525" cy="54768"/>
            </a:xfrm>
            <a:custGeom>
              <a:avLst/>
              <a:gdLst>
                <a:gd name="connsiteX0" fmla="*/ 0 w 9525"/>
                <a:gd name="connsiteY0" fmla="*/ 54769 h 54768"/>
                <a:gd name="connsiteX1" fmla="*/ 0 w 9525"/>
                <a:gd name="connsiteY1" fmla="*/ 0 h 54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54768">
                  <a:moveTo>
                    <a:pt x="0" y="54769"/>
                  </a:moveTo>
                  <a:lnTo>
                    <a:pt x="0" y="0"/>
                  </a:lnTo>
                </a:path>
              </a:pathLst>
            </a:custGeom>
            <a:grpFill/>
            <a:ln w="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1" name="Freihandform: Form 132">
              <a:extLst>
                <a:ext uri="{FF2B5EF4-FFF2-40B4-BE49-F238E27FC236}">
                  <a16:creationId xmlns:a16="http://schemas.microsoft.com/office/drawing/2014/main" id="{FEFA1500-C9A8-492D-8DD7-940A669C0554}"/>
                </a:ext>
              </a:extLst>
            </p:cNvPr>
            <p:cNvSpPr/>
            <p:nvPr/>
          </p:nvSpPr>
          <p:spPr>
            <a:xfrm>
              <a:off x="4685538" y="3501865"/>
              <a:ext cx="9525" cy="10191"/>
            </a:xfrm>
            <a:custGeom>
              <a:avLst/>
              <a:gdLst>
                <a:gd name="connsiteX0" fmla="*/ 0 w 9525"/>
                <a:gd name="connsiteY0" fmla="*/ 0 h 10191"/>
                <a:gd name="connsiteX1" fmla="*/ 0 w 9525"/>
                <a:gd name="connsiteY1" fmla="*/ 10192 h 10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0191">
                  <a:moveTo>
                    <a:pt x="0" y="0"/>
                  </a:moveTo>
                  <a:lnTo>
                    <a:pt x="0" y="10192"/>
                  </a:lnTo>
                </a:path>
              </a:pathLst>
            </a:custGeom>
            <a:grpFill/>
            <a:ln w="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2" name="Freihandform: Form 133">
              <a:extLst>
                <a:ext uri="{FF2B5EF4-FFF2-40B4-BE49-F238E27FC236}">
                  <a16:creationId xmlns:a16="http://schemas.microsoft.com/office/drawing/2014/main" id="{E147FB0D-983E-46C2-B222-9EF26678D8F7}"/>
                </a:ext>
              </a:extLst>
            </p:cNvPr>
            <p:cNvSpPr/>
            <p:nvPr/>
          </p:nvSpPr>
          <p:spPr>
            <a:xfrm>
              <a:off x="4685538" y="3380993"/>
              <a:ext cx="9525" cy="54673"/>
            </a:xfrm>
            <a:custGeom>
              <a:avLst/>
              <a:gdLst>
                <a:gd name="connsiteX0" fmla="*/ 0 w 9525"/>
                <a:gd name="connsiteY0" fmla="*/ 54674 h 54673"/>
                <a:gd name="connsiteX1" fmla="*/ 0 w 9525"/>
                <a:gd name="connsiteY1" fmla="*/ 0 h 54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54673">
                  <a:moveTo>
                    <a:pt x="0" y="54674"/>
                  </a:moveTo>
                  <a:lnTo>
                    <a:pt x="0" y="0"/>
                  </a:lnTo>
                </a:path>
              </a:pathLst>
            </a:custGeom>
            <a:grpFill/>
            <a:ln w="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3" name="Freihandform: Form 134">
              <a:extLst>
                <a:ext uri="{FF2B5EF4-FFF2-40B4-BE49-F238E27FC236}">
                  <a16:creationId xmlns:a16="http://schemas.microsoft.com/office/drawing/2014/main" id="{F2DE4EA7-56B1-4269-8C4B-3893A1A81EDD}"/>
                </a:ext>
              </a:extLst>
            </p:cNvPr>
            <p:cNvSpPr/>
            <p:nvPr/>
          </p:nvSpPr>
          <p:spPr>
            <a:xfrm>
              <a:off x="4466748" y="3512057"/>
              <a:ext cx="9525" cy="38100"/>
            </a:xfrm>
            <a:custGeom>
              <a:avLst/>
              <a:gdLst>
                <a:gd name="connsiteX0" fmla="*/ 0 w 9525"/>
                <a:gd name="connsiteY0" fmla="*/ 0 h 38100"/>
                <a:gd name="connsiteX1" fmla="*/ 0 w 9525"/>
                <a:gd name="connsiteY1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38100">
                  <a:moveTo>
                    <a:pt x="0" y="0"/>
                  </a:moveTo>
                  <a:lnTo>
                    <a:pt x="0" y="38100"/>
                  </a:lnTo>
                </a:path>
              </a:pathLst>
            </a:custGeom>
            <a:grpFill/>
            <a:ln w="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4" name="Freihandform: Form 135">
              <a:extLst>
                <a:ext uri="{FF2B5EF4-FFF2-40B4-BE49-F238E27FC236}">
                  <a16:creationId xmlns:a16="http://schemas.microsoft.com/office/drawing/2014/main" id="{71B39376-47F1-4BAE-815C-2A01CF728239}"/>
                </a:ext>
              </a:extLst>
            </p:cNvPr>
            <p:cNvSpPr/>
            <p:nvPr/>
          </p:nvSpPr>
          <p:spPr>
            <a:xfrm>
              <a:off x="4685538" y="3512057"/>
              <a:ext cx="9525" cy="38100"/>
            </a:xfrm>
            <a:custGeom>
              <a:avLst/>
              <a:gdLst>
                <a:gd name="connsiteX0" fmla="*/ 0 w 9525"/>
                <a:gd name="connsiteY0" fmla="*/ 38100 h 38100"/>
                <a:gd name="connsiteX1" fmla="*/ 0 w 9525"/>
                <a:gd name="connsiteY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38100">
                  <a:moveTo>
                    <a:pt x="0" y="38100"/>
                  </a:moveTo>
                  <a:lnTo>
                    <a:pt x="0" y="0"/>
                  </a:lnTo>
                </a:path>
              </a:pathLst>
            </a:custGeom>
            <a:grpFill/>
            <a:ln w="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5" name="Freihandform: Form 136">
              <a:extLst>
                <a:ext uri="{FF2B5EF4-FFF2-40B4-BE49-F238E27FC236}">
                  <a16:creationId xmlns:a16="http://schemas.microsoft.com/office/drawing/2014/main" id="{0C60C80D-D944-439F-83D7-17C2F9D6E5B6}"/>
                </a:ext>
              </a:extLst>
            </p:cNvPr>
            <p:cNvSpPr/>
            <p:nvPr/>
          </p:nvSpPr>
          <p:spPr>
            <a:xfrm>
              <a:off x="4685538" y="3445858"/>
              <a:ext cx="9525" cy="56006"/>
            </a:xfrm>
            <a:custGeom>
              <a:avLst/>
              <a:gdLst>
                <a:gd name="connsiteX0" fmla="*/ 0 w 9525"/>
                <a:gd name="connsiteY0" fmla="*/ 56007 h 56006"/>
                <a:gd name="connsiteX1" fmla="*/ 0 w 9525"/>
                <a:gd name="connsiteY1" fmla="*/ 0 h 56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56006">
                  <a:moveTo>
                    <a:pt x="0" y="56007"/>
                  </a:moveTo>
                  <a:lnTo>
                    <a:pt x="0" y="0"/>
                  </a:lnTo>
                </a:path>
              </a:pathLst>
            </a:custGeom>
            <a:grpFill/>
            <a:ln w="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6" name="Freihandform: Form 137">
              <a:extLst>
                <a:ext uri="{FF2B5EF4-FFF2-40B4-BE49-F238E27FC236}">
                  <a16:creationId xmlns:a16="http://schemas.microsoft.com/office/drawing/2014/main" id="{E2C38889-62C9-4D1D-8129-F85E57817A1E}"/>
                </a:ext>
              </a:extLst>
            </p:cNvPr>
            <p:cNvSpPr/>
            <p:nvPr/>
          </p:nvSpPr>
          <p:spPr>
            <a:xfrm>
              <a:off x="4466748" y="3449954"/>
              <a:ext cx="9525" cy="56006"/>
            </a:xfrm>
            <a:custGeom>
              <a:avLst/>
              <a:gdLst>
                <a:gd name="connsiteX0" fmla="*/ 0 w 9525"/>
                <a:gd name="connsiteY0" fmla="*/ 0 h 56006"/>
                <a:gd name="connsiteX1" fmla="*/ 0 w 9525"/>
                <a:gd name="connsiteY1" fmla="*/ 56007 h 56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56006">
                  <a:moveTo>
                    <a:pt x="0" y="0"/>
                  </a:moveTo>
                  <a:lnTo>
                    <a:pt x="0" y="56007"/>
                  </a:lnTo>
                </a:path>
              </a:pathLst>
            </a:custGeom>
            <a:grpFill/>
            <a:ln w="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7" name="Freihandform: Form 138">
              <a:extLst>
                <a:ext uri="{FF2B5EF4-FFF2-40B4-BE49-F238E27FC236}">
                  <a16:creationId xmlns:a16="http://schemas.microsoft.com/office/drawing/2014/main" id="{270D7082-CF1D-41F7-B287-00E563B757AB}"/>
                </a:ext>
              </a:extLst>
            </p:cNvPr>
            <p:cNvSpPr/>
            <p:nvPr/>
          </p:nvSpPr>
          <p:spPr>
            <a:xfrm>
              <a:off x="4466748" y="3439762"/>
              <a:ext cx="9525" cy="10191"/>
            </a:xfrm>
            <a:custGeom>
              <a:avLst/>
              <a:gdLst>
                <a:gd name="connsiteX0" fmla="*/ 0 w 9525"/>
                <a:gd name="connsiteY0" fmla="*/ 10192 h 10191"/>
                <a:gd name="connsiteX1" fmla="*/ 0 w 9525"/>
                <a:gd name="connsiteY1" fmla="*/ 0 h 10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0191">
                  <a:moveTo>
                    <a:pt x="0" y="10192"/>
                  </a:moveTo>
                  <a:lnTo>
                    <a:pt x="0" y="0"/>
                  </a:lnTo>
                </a:path>
              </a:pathLst>
            </a:custGeom>
            <a:grpFill/>
            <a:ln w="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8" name="Freihandform: Form 139">
              <a:extLst>
                <a:ext uri="{FF2B5EF4-FFF2-40B4-BE49-F238E27FC236}">
                  <a16:creationId xmlns:a16="http://schemas.microsoft.com/office/drawing/2014/main" id="{1BB65590-6A3E-4C07-B62B-8D9286609452}"/>
                </a:ext>
              </a:extLst>
            </p:cNvPr>
            <p:cNvSpPr/>
            <p:nvPr/>
          </p:nvSpPr>
          <p:spPr>
            <a:xfrm>
              <a:off x="4466748" y="3373659"/>
              <a:ext cx="9525" cy="11430"/>
            </a:xfrm>
            <a:custGeom>
              <a:avLst/>
              <a:gdLst>
                <a:gd name="connsiteX0" fmla="*/ 0 w 9525"/>
                <a:gd name="connsiteY0" fmla="*/ 11430 h 11430"/>
                <a:gd name="connsiteX1" fmla="*/ 0 w 9525"/>
                <a:gd name="connsiteY1" fmla="*/ 0 h 11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1430">
                  <a:moveTo>
                    <a:pt x="0" y="11430"/>
                  </a:moveTo>
                  <a:lnTo>
                    <a:pt x="0" y="0"/>
                  </a:lnTo>
                </a:path>
              </a:pathLst>
            </a:custGeom>
            <a:grpFill/>
            <a:ln w="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9" name="Freihandform: Form 140">
              <a:extLst>
                <a:ext uri="{FF2B5EF4-FFF2-40B4-BE49-F238E27FC236}">
                  <a16:creationId xmlns:a16="http://schemas.microsoft.com/office/drawing/2014/main" id="{0AAA4C39-2723-4788-9B96-764AB1D5385F}"/>
                </a:ext>
              </a:extLst>
            </p:cNvPr>
            <p:cNvSpPr/>
            <p:nvPr/>
          </p:nvSpPr>
          <p:spPr>
            <a:xfrm>
              <a:off x="4685538" y="3435667"/>
              <a:ext cx="9525" cy="10191"/>
            </a:xfrm>
            <a:custGeom>
              <a:avLst/>
              <a:gdLst>
                <a:gd name="connsiteX0" fmla="*/ 0 w 9525"/>
                <a:gd name="connsiteY0" fmla="*/ 0 h 10191"/>
                <a:gd name="connsiteX1" fmla="*/ 0 w 9525"/>
                <a:gd name="connsiteY1" fmla="*/ 10192 h 10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0191">
                  <a:moveTo>
                    <a:pt x="0" y="0"/>
                  </a:moveTo>
                  <a:lnTo>
                    <a:pt x="0" y="10192"/>
                  </a:lnTo>
                </a:path>
              </a:pathLst>
            </a:custGeom>
            <a:grpFill/>
            <a:ln w="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0" name="Freihandform: Form 141">
              <a:extLst>
                <a:ext uri="{FF2B5EF4-FFF2-40B4-BE49-F238E27FC236}">
                  <a16:creationId xmlns:a16="http://schemas.microsoft.com/office/drawing/2014/main" id="{34B32126-FBBD-4D39-94EA-1FC58B567E03}"/>
                </a:ext>
              </a:extLst>
            </p:cNvPr>
            <p:cNvSpPr/>
            <p:nvPr/>
          </p:nvSpPr>
          <p:spPr>
            <a:xfrm>
              <a:off x="4466748" y="3505961"/>
              <a:ext cx="9525" cy="6096"/>
            </a:xfrm>
            <a:custGeom>
              <a:avLst/>
              <a:gdLst>
                <a:gd name="connsiteX0" fmla="*/ 0 w 9525"/>
                <a:gd name="connsiteY0" fmla="*/ 6096 h 6096"/>
                <a:gd name="connsiteX1" fmla="*/ 0 w 9525"/>
                <a:gd name="connsiteY1" fmla="*/ 0 h 6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096">
                  <a:moveTo>
                    <a:pt x="0" y="6096"/>
                  </a:moveTo>
                  <a:lnTo>
                    <a:pt x="0" y="0"/>
                  </a:lnTo>
                </a:path>
              </a:pathLst>
            </a:custGeom>
            <a:grpFill/>
            <a:ln w="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1" name="Freihandform: Form 142">
              <a:extLst>
                <a:ext uri="{FF2B5EF4-FFF2-40B4-BE49-F238E27FC236}">
                  <a16:creationId xmlns:a16="http://schemas.microsoft.com/office/drawing/2014/main" id="{DA062E3C-3857-491C-9FBA-4D6708BB765F}"/>
                </a:ext>
              </a:extLst>
            </p:cNvPr>
            <p:cNvSpPr/>
            <p:nvPr/>
          </p:nvSpPr>
          <p:spPr>
            <a:xfrm>
              <a:off x="4466748" y="3318985"/>
              <a:ext cx="9525" cy="54673"/>
            </a:xfrm>
            <a:custGeom>
              <a:avLst/>
              <a:gdLst>
                <a:gd name="connsiteX0" fmla="*/ 0 w 9525"/>
                <a:gd name="connsiteY0" fmla="*/ 0 h 54673"/>
                <a:gd name="connsiteX1" fmla="*/ 0 w 9525"/>
                <a:gd name="connsiteY1" fmla="*/ 54673 h 54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54673">
                  <a:moveTo>
                    <a:pt x="0" y="0"/>
                  </a:moveTo>
                  <a:lnTo>
                    <a:pt x="0" y="54673"/>
                  </a:lnTo>
                </a:path>
              </a:pathLst>
            </a:custGeom>
            <a:grpFill/>
            <a:ln w="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2" name="Freihandform: Form 143">
              <a:extLst>
                <a:ext uri="{FF2B5EF4-FFF2-40B4-BE49-F238E27FC236}">
                  <a16:creationId xmlns:a16="http://schemas.microsoft.com/office/drawing/2014/main" id="{F4E251A2-F403-46B6-890E-4E2FCF87C366}"/>
                </a:ext>
              </a:extLst>
            </p:cNvPr>
            <p:cNvSpPr/>
            <p:nvPr/>
          </p:nvSpPr>
          <p:spPr>
            <a:xfrm>
              <a:off x="4685538" y="3369563"/>
              <a:ext cx="9525" cy="11430"/>
            </a:xfrm>
            <a:custGeom>
              <a:avLst/>
              <a:gdLst>
                <a:gd name="connsiteX0" fmla="*/ 0 w 9525"/>
                <a:gd name="connsiteY0" fmla="*/ 0 h 11430"/>
                <a:gd name="connsiteX1" fmla="*/ 0 w 9525"/>
                <a:gd name="connsiteY1" fmla="*/ 11430 h 11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1430">
                  <a:moveTo>
                    <a:pt x="0" y="0"/>
                  </a:moveTo>
                  <a:lnTo>
                    <a:pt x="0" y="11430"/>
                  </a:lnTo>
                </a:path>
              </a:pathLst>
            </a:custGeom>
            <a:grpFill/>
            <a:ln w="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3" name="Freihandform: Form 144">
              <a:extLst>
                <a:ext uri="{FF2B5EF4-FFF2-40B4-BE49-F238E27FC236}">
                  <a16:creationId xmlns:a16="http://schemas.microsoft.com/office/drawing/2014/main" id="{81C5F5D1-2B21-460D-89A9-60B6BEE55BA1}"/>
                </a:ext>
              </a:extLst>
            </p:cNvPr>
            <p:cNvSpPr/>
            <p:nvPr/>
          </p:nvSpPr>
          <p:spPr>
            <a:xfrm>
              <a:off x="4466748" y="3385089"/>
              <a:ext cx="9525" cy="54673"/>
            </a:xfrm>
            <a:custGeom>
              <a:avLst/>
              <a:gdLst>
                <a:gd name="connsiteX0" fmla="*/ 0 w 9525"/>
                <a:gd name="connsiteY0" fmla="*/ 0 h 54673"/>
                <a:gd name="connsiteX1" fmla="*/ 0 w 9525"/>
                <a:gd name="connsiteY1" fmla="*/ 54673 h 54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54673">
                  <a:moveTo>
                    <a:pt x="0" y="0"/>
                  </a:moveTo>
                  <a:lnTo>
                    <a:pt x="0" y="54673"/>
                  </a:lnTo>
                </a:path>
              </a:pathLst>
            </a:custGeom>
            <a:grpFill/>
            <a:ln w="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4" name="Freihandform: Form 145">
              <a:extLst>
                <a:ext uri="{FF2B5EF4-FFF2-40B4-BE49-F238E27FC236}">
                  <a16:creationId xmlns:a16="http://schemas.microsoft.com/office/drawing/2014/main" id="{4439B471-3E1F-4FAE-A3DB-4C53DD1C4E65}"/>
                </a:ext>
              </a:extLst>
            </p:cNvPr>
            <p:cNvSpPr/>
            <p:nvPr/>
          </p:nvSpPr>
          <p:spPr>
            <a:xfrm>
              <a:off x="4469184" y="3564445"/>
              <a:ext cx="213925" cy="44577"/>
            </a:xfrm>
            <a:custGeom>
              <a:avLst/>
              <a:gdLst>
                <a:gd name="connsiteX0" fmla="*/ 6803 w 213925"/>
                <a:gd name="connsiteY0" fmla="*/ 44577 h 44577"/>
                <a:gd name="connsiteX1" fmla="*/ 422 w 213925"/>
                <a:gd name="connsiteY1" fmla="*/ 29718 h 44577"/>
                <a:gd name="connsiteX2" fmla="*/ 9947 w 213925"/>
                <a:gd name="connsiteY2" fmla="*/ 6382 h 44577"/>
                <a:gd name="connsiteX3" fmla="*/ 14709 w 213925"/>
                <a:gd name="connsiteY3" fmla="*/ 0 h 44577"/>
                <a:gd name="connsiteX4" fmla="*/ 202352 w 213925"/>
                <a:gd name="connsiteY4" fmla="*/ 0 h 44577"/>
                <a:gd name="connsiteX5" fmla="*/ 205590 w 213925"/>
                <a:gd name="connsiteY5" fmla="*/ 4286 h 44577"/>
                <a:gd name="connsiteX6" fmla="*/ 213496 w 213925"/>
                <a:gd name="connsiteY6" fmla="*/ 31814 h 44577"/>
                <a:gd name="connsiteX7" fmla="*/ 207114 w 213925"/>
                <a:gd name="connsiteY7" fmla="*/ 44577 h 44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3925" h="44577">
                  <a:moveTo>
                    <a:pt x="6803" y="44577"/>
                  </a:moveTo>
                  <a:cubicBezTo>
                    <a:pt x="2041" y="44577"/>
                    <a:pt x="-1198" y="36100"/>
                    <a:pt x="422" y="29718"/>
                  </a:cubicBezTo>
                  <a:lnTo>
                    <a:pt x="9947" y="6382"/>
                  </a:lnTo>
                  <a:cubicBezTo>
                    <a:pt x="9734" y="3368"/>
                    <a:pt x="11760" y="653"/>
                    <a:pt x="14709" y="0"/>
                  </a:cubicBezTo>
                  <a:lnTo>
                    <a:pt x="202352" y="0"/>
                  </a:lnTo>
                  <a:cubicBezTo>
                    <a:pt x="203971" y="0"/>
                    <a:pt x="205590" y="2191"/>
                    <a:pt x="205590" y="4286"/>
                  </a:cubicBezTo>
                  <a:lnTo>
                    <a:pt x="213496" y="31814"/>
                  </a:lnTo>
                  <a:cubicBezTo>
                    <a:pt x="215115" y="36100"/>
                    <a:pt x="211972" y="44577"/>
                    <a:pt x="207114" y="44577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5" name="Freihandform: Form 146">
              <a:extLst>
                <a:ext uri="{FF2B5EF4-FFF2-40B4-BE49-F238E27FC236}">
                  <a16:creationId xmlns:a16="http://schemas.microsoft.com/office/drawing/2014/main" id="{80FE13F0-1572-4D7F-BD96-FE357C49A4EE}"/>
                </a:ext>
              </a:extLst>
            </p:cNvPr>
            <p:cNvSpPr/>
            <p:nvPr/>
          </p:nvSpPr>
          <p:spPr>
            <a:xfrm>
              <a:off x="4480748" y="3486911"/>
              <a:ext cx="190787" cy="64865"/>
            </a:xfrm>
            <a:custGeom>
              <a:avLst/>
              <a:gdLst>
                <a:gd name="connsiteX0" fmla="*/ 183168 w 190787"/>
                <a:gd name="connsiteY0" fmla="*/ 0 h 64865"/>
                <a:gd name="connsiteX1" fmla="*/ 7622 w 190787"/>
                <a:gd name="connsiteY1" fmla="*/ 0 h 64865"/>
                <a:gd name="connsiteX2" fmla="*/ 2 w 190787"/>
                <a:gd name="connsiteY2" fmla="*/ 9525 h 64865"/>
                <a:gd name="connsiteX3" fmla="*/ 2 w 190787"/>
                <a:gd name="connsiteY3" fmla="*/ 53435 h 64865"/>
                <a:gd name="connsiteX4" fmla="*/ 7622 w 190787"/>
                <a:gd name="connsiteY4" fmla="*/ 64865 h 64865"/>
                <a:gd name="connsiteX5" fmla="*/ 183168 w 190787"/>
                <a:gd name="connsiteY5" fmla="*/ 64865 h 64865"/>
                <a:gd name="connsiteX6" fmla="*/ 190788 w 190787"/>
                <a:gd name="connsiteY6" fmla="*/ 53435 h 64865"/>
                <a:gd name="connsiteX7" fmla="*/ 190788 w 190787"/>
                <a:gd name="connsiteY7" fmla="*/ 9525 h 64865"/>
                <a:gd name="connsiteX8" fmla="*/ 183168 w 190787"/>
                <a:gd name="connsiteY8" fmla="*/ 0 h 64865"/>
                <a:gd name="connsiteX9" fmla="*/ 165356 w 190787"/>
                <a:gd name="connsiteY9" fmla="*/ 40672 h 64865"/>
                <a:gd name="connsiteX10" fmla="*/ 120874 w 190787"/>
                <a:gd name="connsiteY10" fmla="*/ 40672 h 64865"/>
                <a:gd name="connsiteX11" fmla="*/ 120874 w 190787"/>
                <a:gd name="connsiteY11" fmla="*/ 24098 h 64865"/>
                <a:gd name="connsiteX12" fmla="*/ 165356 w 190787"/>
                <a:gd name="connsiteY12" fmla="*/ 24098 h 64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0787" h="64865">
                  <a:moveTo>
                    <a:pt x="183168" y="0"/>
                  </a:moveTo>
                  <a:lnTo>
                    <a:pt x="7622" y="0"/>
                  </a:lnTo>
                  <a:cubicBezTo>
                    <a:pt x="3115" y="919"/>
                    <a:pt x="-91" y="4927"/>
                    <a:pt x="2" y="9525"/>
                  </a:cubicBezTo>
                  <a:lnTo>
                    <a:pt x="2" y="53435"/>
                  </a:lnTo>
                  <a:cubicBezTo>
                    <a:pt x="2" y="61055"/>
                    <a:pt x="4574" y="64865"/>
                    <a:pt x="7622" y="64865"/>
                  </a:cubicBezTo>
                  <a:lnTo>
                    <a:pt x="183168" y="64865"/>
                  </a:lnTo>
                  <a:cubicBezTo>
                    <a:pt x="187740" y="64865"/>
                    <a:pt x="190788" y="61055"/>
                    <a:pt x="190788" y="53435"/>
                  </a:cubicBezTo>
                  <a:lnTo>
                    <a:pt x="190788" y="9525"/>
                  </a:lnTo>
                  <a:cubicBezTo>
                    <a:pt x="190788" y="4001"/>
                    <a:pt x="187740" y="0"/>
                    <a:pt x="183168" y="0"/>
                  </a:cubicBezTo>
                  <a:close/>
                  <a:moveTo>
                    <a:pt x="165356" y="40672"/>
                  </a:moveTo>
                  <a:lnTo>
                    <a:pt x="120874" y="40672"/>
                  </a:lnTo>
                  <a:lnTo>
                    <a:pt x="120874" y="24098"/>
                  </a:lnTo>
                  <a:lnTo>
                    <a:pt x="165356" y="240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6" name="Freihandform: Form 147">
              <a:extLst>
                <a:ext uri="{FF2B5EF4-FFF2-40B4-BE49-F238E27FC236}">
                  <a16:creationId xmlns:a16="http://schemas.microsoft.com/office/drawing/2014/main" id="{3BA79446-3C91-4E2B-9A85-020BA20B6B95}"/>
                </a:ext>
              </a:extLst>
            </p:cNvPr>
            <p:cNvSpPr/>
            <p:nvPr/>
          </p:nvSpPr>
          <p:spPr>
            <a:xfrm>
              <a:off x="4480748" y="3409282"/>
              <a:ext cx="190787" cy="64484"/>
            </a:xfrm>
            <a:custGeom>
              <a:avLst/>
              <a:gdLst>
                <a:gd name="connsiteX0" fmla="*/ 183168 w 190787"/>
                <a:gd name="connsiteY0" fmla="*/ 0 h 64484"/>
                <a:gd name="connsiteX1" fmla="*/ 7622 w 190787"/>
                <a:gd name="connsiteY1" fmla="*/ 0 h 64484"/>
                <a:gd name="connsiteX2" fmla="*/ 2 w 190787"/>
                <a:gd name="connsiteY2" fmla="*/ 9525 h 64484"/>
                <a:gd name="connsiteX3" fmla="*/ 2 w 190787"/>
                <a:gd name="connsiteY3" fmla="*/ 53054 h 64484"/>
                <a:gd name="connsiteX4" fmla="*/ 7622 w 190787"/>
                <a:gd name="connsiteY4" fmla="*/ 64484 h 64484"/>
                <a:gd name="connsiteX5" fmla="*/ 183168 w 190787"/>
                <a:gd name="connsiteY5" fmla="*/ 64484 h 64484"/>
                <a:gd name="connsiteX6" fmla="*/ 190788 w 190787"/>
                <a:gd name="connsiteY6" fmla="*/ 53054 h 64484"/>
                <a:gd name="connsiteX7" fmla="*/ 190788 w 190787"/>
                <a:gd name="connsiteY7" fmla="*/ 9525 h 64484"/>
                <a:gd name="connsiteX8" fmla="*/ 183168 w 190787"/>
                <a:gd name="connsiteY8" fmla="*/ 0 h 64484"/>
                <a:gd name="connsiteX9" fmla="*/ 165356 w 190787"/>
                <a:gd name="connsiteY9" fmla="*/ 40672 h 64484"/>
                <a:gd name="connsiteX10" fmla="*/ 120874 w 190787"/>
                <a:gd name="connsiteY10" fmla="*/ 40672 h 64484"/>
                <a:gd name="connsiteX11" fmla="*/ 120874 w 190787"/>
                <a:gd name="connsiteY11" fmla="*/ 22860 h 64484"/>
                <a:gd name="connsiteX12" fmla="*/ 165356 w 190787"/>
                <a:gd name="connsiteY12" fmla="*/ 22860 h 64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0787" h="64484">
                  <a:moveTo>
                    <a:pt x="183168" y="0"/>
                  </a:moveTo>
                  <a:lnTo>
                    <a:pt x="7622" y="0"/>
                  </a:lnTo>
                  <a:cubicBezTo>
                    <a:pt x="3115" y="919"/>
                    <a:pt x="-91" y="4927"/>
                    <a:pt x="2" y="9525"/>
                  </a:cubicBezTo>
                  <a:lnTo>
                    <a:pt x="2" y="53054"/>
                  </a:lnTo>
                  <a:cubicBezTo>
                    <a:pt x="2" y="60674"/>
                    <a:pt x="4574" y="64484"/>
                    <a:pt x="7622" y="64484"/>
                  </a:cubicBezTo>
                  <a:lnTo>
                    <a:pt x="183168" y="64484"/>
                  </a:lnTo>
                  <a:cubicBezTo>
                    <a:pt x="187740" y="64484"/>
                    <a:pt x="190788" y="60674"/>
                    <a:pt x="190788" y="53054"/>
                  </a:cubicBezTo>
                  <a:lnTo>
                    <a:pt x="190788" y="9525"/>
                  </a:lnTo>
                  <a:cubicBezTo>
                    <a:pt x="190788" y="3810"/>
                    <a:pt x="187740" y="0"/>
                    <a:pt x="183168" y="0"/>
                  </a:cubicBezTo>
                  <a:close/>
                  <a:moveTo>
                    <a:pt x="165356" y="40672"/>
                  </a:moveTo>
                  <a:lnTo>
                    <a:pt x="120874" y="40672"/>
                  </a:lnTo>
                  <a:lnTo>
                    <a:pt x="120874" y="22860"/>
                  </a:lnTo>
                  <a:lnTo>
                    <a:pt x="165356" y="228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7" name="Freihandform: Form 148">
              <a:extLst>
                <a:ext uri="{FF2B5EF4-FFF2-40B4-BE49-F238E27FC236}">
                  <a16:creationId xmlns:a16="http://schemas.microsoft.com/office/drawing/2014/main" id="{1B4BCDA6-B91F-4D0C-B785-53875692CE24}"/>
                </a:ext>
              </a:extLst>
            </p:cNvPr>
            <p:cNvSpPr/>
            <p:nvPr/>
          </p:nvSpPr>
          <p:spPr>
            <a:xfrm>
              <a:off x="4480748" y="3330415"/>
              <a:ext cx="190787" cy="65913"/>
            </a:xfrm>
            <a:custGeom>
              <a:avLst/>
              <a:gdLst>
                <a:gd name="connsiteX0" fmla="*/ 183168 w 190787"/>
                <a:gd name="connsiteY0" fmla="*/ 0 h 65913"/>
                <a:gd name="connsiteX1" fmla="*/ 7622 w 190787"/>
                <a:gd name="connsiteY1" fmla="*/ 0 h 65913"/>
                <a:gd name="connsiteX2" fmla="*/ 2 w 190787"/>
                <a:gd name="connsiteY2" fmla="*/ 9525 h 65913"/>
                <a:gd name="connsiteX3" fmla="*/ 2 w 190787"/>
                <a:gd name="connsiteY3" fmla="*/ 54293 h 65913"/>
                <a:gd name="connsiteX4" fmla="*/ 7622 w 190787"/>
                <a:gd name="connsiteY4" fmla="*/ 65913 h 65913"/>
                <a:gd name="connsiteX5" fmla="*/ 183168 w 190787"/>
                <a:gd name="connsiteY5" fmla="*/ 65913 h 65913"/>
                <a:gd name="connsiteX6" fmla="*/ 190788 w 190787"/>
                <a:gd name="connsiteY6" fmla="*/ 54293 h 65913"/>
                <a:gd name="connsiteX7" fmla="*/ 190788 w 190787"/>
                <a:gd name="connsiteY7" fmla="*/ 9716 h 65913"/>
                <a:gd name="connsiteX8" fmla="*/ 183168 w 190787"/>
                <a:gd name="connsiteY8" fmla="*/ 0 h 65913"/>
                <a:gd name="connsiteX9" fmla="*/ 165356 w 190787"/>
                <a:gd name="connsiteY9" fmla="*/ 40672 h 65913"/>
                <a:gd name="connsiteX10" fmla="*/ 120874 w 190787"/>
                <a:gd name="connsiteY10" fmla="*/ 40672 h 65913"/>
                <a:gd name="connsiteX11" fmla="*/ 120874 w 190787"/>
                <a:gd name="connsiteY11" fmla="*/ 24194 h 65913"/>
                <a:gd name="connsiteX12" fmla="*/ 165356 w 190787"/>
                <a:gd name="connsiteY12" fmla="*/ 24194 h 65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0787" h="65913">
                  <a:moveTo>
                    <a:pt x="183168" y="0"/>
                  </a:moveTo>
                  <a:lnTo>
                    <a:pt x="7622" y="0"/>
                  </a:lnTo>
                  <a:cubicBezTo>
                    <a:pt x="3115" y="919"/>
                    <a:pt x="-91" y="4927"/>
                    <a:pt x="2" y="9525"/>
                  </a:cubicBezTo>
                  <a:lnTo>
                    <a:pt x="2" y="54293"/>
                  </a:lnTo>
                  <a:cubicBezTo>
                    <a:pt x="2" y="62008"/>
                    <a:pt x="4574" y="65913"/>
                    <a:pt x="7622" y="65913"/>
                  </a:cubicBezTo>
                  <a:lnTo>
                    <a:pt x="183168" y="65913"/>
                  </a:lnTo>
                  <a:cubicBezTo>
                    <a:pt x="187740" y="65913"/>
                    <a:pt x="190788" y="62008"/>
                    <a:pt x="190788" y="54293"/>
                  </a:cubicBezTo>
                  <a:lnTo>
                    <a:pt x="190788" y="9716"/>
                  </a:lnTo>
                  <a:cubicBezTo>
                    <a:pt x="190788" y="3905"/>
                    <a:pt x="187740" y="0"/>
                    <a:pt x="183168" y="0"/>
                  </a:cubicBezTo>
                  <a:close/>
                  <a:moveTo>
                    <a:pt x="165356" y="40672"/>
                  </a:moveTo>
                  <a:lnTo>
                    <a:pt x="120874" y="40672"/>
                  </a:lnTo>
                  <a:lnTo>
                    <a:pt x="120874" y="24194"/>
                  </a:lnTo>
                  <a:lnTo>
                    <a:pt x="165356" y="241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8" name="Freihandform: Form 149">
              <a:extLst>
                <a:ext uri="{FF2B5EF4-FFF2-40B4-BE49-F238E27FC236}">
                  <a16:creationId xmlns:a16="http://schemas.microsoft.com/office/drawing/2014/main" id="{E7FB4751-DF90-4844-AD85-FE1C607CD432}"/>
                </a:ext>
              </a:extLst>
            </p:cNvPr>
            <p:cNvSpPr/>
            <p:nvPr/>
          </p:nvSpPr>
          <p:spPr>
            <a:xfrm>
              <a:off x="4480748" y="3252787"/>
              <a:ext cx="190787" cy="66008"/>
            </a:xfrm>
            <a:custGeom>
              <a:avLst/>
              <a:gdLst>
                <a:gd name="connsiteX0" fmla="*/ 183168 w 190787"/>
                <a:gd name="connsiteY0" fmla="*/ 0 h 66008"/>
                <a:gd name="connsiteX1" fmla="*/ 7622 w 190787"/>
                <a:gd name="connsiteY1" fmla="*/ 0 h 66008"/>
                <a:gd name="connsiteX2" fmla="*/ 2 w 190787"/>
                <a:gd name="connsiteY2" fmla="*/ 9525 h 66008"/>
                <a:gd name="connsiteX3" fmla="*/ 2 w 190787"/>
                <a:gd name="connsiteY3" fmla="*/ 54293 h 66008"/>
                <a:gd name="connsiteX4" fmla="*/ 7622 w 190787"/>
                <a:gd name="connsiteY4" fmla="*/ 66008 h 66008"/>
                <a:gd name="connsiteX5" fmla="*/ 183168 w 190787"/>
                <a:gd name="connsiteY5" fmla="*/ 66008 h 66008"/>
                <a:gd name="connsiteX6" fmla="*/ 190788 w 190787"/>
                <a:gd name="connsiteY6" fmla="*/ 54293 h 66008"/>
                <a:gd name="connsiteX7" fmla="*/ 190788 w 190787"/>
                <a:gd name="connsiteY7" fmla="*/ 9525 h 66008"/>
                <a:gd name="connsiteX8" fmla="*/ 183168 w 190787"/>
                <a:gd name="connsiteY8" fmla="*/ 0 h 66008"/>
                <a:gd name="connsiteX9" fmla="*/ 165356 w 190787"/>
                <a:gd name="connsiteY9" fmla="*/ 40672 h 66008"/>
                <a:gd name="connsiteX10" fmla="*/ 120874 w 190787"/>
                <a:gd name="connsiteY10" fmla="*/ 40672 h 66008"/>
                <a:gd name="connsiteX11" fmla="*/ 120874 w 190787"/>
                <a:gd name="connsiteY11" fmla="*/ 24194 h 66008"/>
                <a:gd name="connsiteX12" fmla="*/ 165356 w 190787"/>
                <a:gd name="connsiteY12" fmla="*/ 24194 h 66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0787" h="66008">
                  <a:moveTo>
                    <a:pt x="183168" y="0"/>
                  </a:moveTo>
                  <a:lnTo>
                    <a:pt x="7622" y="0"/>
                  </a:lnTo>
                  <a:cubicBezTo>
                    <a:pt x="3115" y="919"/>
                    <a:pt x="-91" y="4927"/>
                    <a:pt x="2" y="9525"/>
                  </a:cubicBezTo>
                  <a:lnTo>
                    <a:pt x="2" y="54293"/>
                  </a:lnTo>
                  <a:cubicBezTo>
                    <a:pt x="2" y="62103"/>
                    <a:pt x="4574" y="66008"/>
                    <a:pt x="7622" y="66008"/>
                  </a:cubicBezTo>
                  <a:lnTo>
                    <a:pt x="183168" y="66008"/>
                  </a:lnTo>
                  <a:cubicBezTo>
                    <a:pt x="187740" y="66008"/>
                    <a:pt x="190788" y="62103"/>
                    <a:pt x="190788" y="54293"/>
                  </a:cubicBezTo>
                  <a:lnTo>
                    <a:pt x="190788" y="9525"/>
                  </a:lnTo>
                  <a:cubicBezTo>
                    <a:pt x="190788" y="3905"/>
                    <a:pt x="187740" y="0"/>
                    <a:pt x="183168" y="0"/>
                  </a:cubicBezTo>
                  <a:close/>
                  <a:moveTo>
                    <a:pt x="165356" y="40672"/>
                  </a:moveTo>
                  <a:lnTo>
                    <a:pt x="120874" y="40672"/>
                  </a:lnTo>
                  <a:lnTo>
                    <a:pt x="120874" y="24194"/>
                  </a:lnTo>
                  <a:lnTo>
                    <a:pt x="165356" y="241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359" name="Grafik 221">
            <a:extLst>
              <a:ext uri="{FF2B5EF4-FFF2-40B4-BE49-F238E27FC236}">
                <a16:creationId xmlns:a16="http://schemas.microsoft.com/office/drawing/2014/main" id="{28B54E3A-914B-49B1-A8AB-1A4FE3F46DB0}"/>
              </a:ext>
            </a:extLst>
          </p:cNvPr>
          <p:cNvSpPr/>
          <p:nvPr/>
        </p:nvSpPr>
        <p:spPr>
          <a:xfrm>
            <a:off x="5619624" y="4455278"/>
            <a:ext cx="408288" cy="409237"/>
          </a:xfrm>
          <a:custGeom>
            <a:avLst/>
            <a:gdLst>
              <a:gd name="connsiteX0" fmla="*/ 210797 w 347932"/>
              <a:gd name="connsiteY0" fmla="*/ 264609 h 348741"/>
              <a:gd name="connsiteX1" fmla="*/ 155552 w 347932"/>
              <a:gd name="connsiteY1" fmla="*/ 319854 h 348741"/>
              <a:gd name="connsiteX2" fmla="*/ 25348 w 347932"/>
              <a:gd name="connsiteY2" fmla="*/ 323619 h 348741"/>
              <a:gd name="connsiteX3" fmla="*/ 24107 w 347932"/>
              <a:gd name="connsiteY3" fmla="*/ 322425 h 348741"/>
              <a:gd name="connsiteX4" fmla="*/ 29346 w 347932"/>
              <a:gd name="connsiteY4" fmla="*/ 193647 h 348741"/>
              <a:gd name="connsiteX5" fmla="*/ 89830 w 347932"/>
              <a:gd name="connsiteY5" fmla="*/ 133354 h 348741"/>
              <a:gd name="connsiteX6" fmla="*/ 218703 w 347932"/>
              <a:gd name="connsiteY6" fmla="*/ 125448 h 348741"/>
              <a:gd name="connsiteX7" fmla="*/ 221080 w 347932"/>
              <a:gd name="connsiteY7" fmla="*/ 128020 h 348741"/>
              <a:gd name="connsiteX8" fmla="*/ 221275 w 347932"/>
              <a:gd name="connsiteY8" fmla="*/ 128020 h 348741"/>
              <a:gd name="connsiteX9" fmla="*/ 221275 w 347932"/>
              <a:gd name="connsiteY9" fmla="*/ 128020 h 348741"/>
              <a:gd name="connsiteX10" fmla="*/ 222182 w 347932"/>
              <a:gd name="connsiteY10" fmla="*/ 163975 h 348741"/>
              <a:gd name="connsiteX11" fmla="*/ 221275 w 347932"/>
              <a:gd name="connsiteY11" fmla="*/ 164882 h 348741"/>
              <a:gd name="connsiteX12" fmla="*/ 181841 w 347932"/>
              <a:gd name="connsiteY12" fmla="*/ 164882 h 348741"/>
              <a:gd name="connsiteX13" fmla="*/ 181841 w 347932"/>
              <a:gd name="connsiteY13" fmla="*/ 164882 h 348741"/>
              <a:gd name="connsiteX14" fmla="*/ 121357 w 347932"/>
              <a:gd name="connsiteY14" fmla="*/ 167454 h 348741"/>
              <a:gd name="connsiteX15" fmla="*/ 63541 w 347932"/>
              <a:gd name="connsiteY15" fmla="*/ 225175 h 348741"/>
              <a:gd name="connsiteX16" fmla="*/ 63541 w 347932"/>
              <a:gd name="connsiteY16" fmla="*/ 285659 h 348741"/>
              <a:gd name="connsiteX17" fmla="*/ 123312 w 347932"/>
              <a:gd name="connsiteY17" fmla="*/ 283562 h 348741"/>
              <a:gd name="connsiteX18" fmla="*/ 123834 w 347932"/>
              <a:gd name="connsiteY18" fmla="*/ 282992 h 348741"/>
              <a:gd name="connsiteX19" fmla="*/ 144884 w 347932"/>
              <a:gd name="connsiteY19" fmla="*/ 261942 h 348741"/>
              <a:gd name="connsiteX20" fmla="*/ 173459 w 347932"/>
              <a:gd name="connsiteY20" fmla="*/ 267180 h 348741"/>
              <a:gd name="connsiteX21" fmla="*/ 210321 w 347932"/>
              <a:gd name="connsiteY21" fmla="*/ 264609 h 348741"/>
              <a:gd name="connsiteX22" fmla="*/ 323859 w 347932"/>
              <a:gd name="connsiteY22" fmla="*/ 25341 h 348741"/>
              <a:gd name="connsiteX23" fmla="*/ 194986 w 347932"/>
              <a:gd name="connsiteY23" fmla="*/ 27912 h 348741"/>
              <a:gd name="connsiteX24" fmla="*/ 139741 w 347932"/>
              <a:gd name="connsiteY24" fmla="*/ 83157 h 348741"/>
              <a:gd name="connsiteX25" fmla="*/ 173936 w 347932"/>
              <a:gd name="connsiteY25" fmla="*/ 80586 h 348741"/>
              <a:gd name="connsiteX26" fmla="*/ 202511 w 347932"/>
              <a:gd name="connsiteY26" fmla="*/ 85824 h 348741"/>
              <a:gd name="connsiteX27" fmla="*/ 226514 w 347932"/>
              <a:gd name="connsiteY27" fmla="*/ 64774 h 348741"/>
              <a:gd name="connsiteX28" fmla="*/ 286227 w 347932"/>
              <a:gd name="connsiteY28" fmla="*/ 61402 h 348741"/>
              <a:gd name="connsiteX29" fmla="*/ 286997 w 347932"/>
              <a:gd name="connsiteY29" fmla="*/ 62107 h 348741"/>
              <a:gd name="connsiteX30" fmla="*/ 284426 w 347932"/>
              <a:gd name="connsiteY30" fmla="*/ 122591 h 348741"/>
              <a:gd name="connsiteX31" fmla="*/ 226514 w 347932"/>
              <a:gd name="connsiteY31" fmla="*/ 180408 h 348741"/>
              <a:gd name="connsiteX32" fmla="*/ 167085 w 347932"/>
              <a:gd name="connsiteY32" fmla="*/ 184041 h 348741"/>
              <a:gd name="connsiteX33" fmla="*/ 166030 w 347932"/>
              <a:gd name="connsiteY33" fmla="*/ 183075 h 348741"/>
              <a:gd name="connsiteX34" fmla="*/ 166030 w 347932"/>
              <a:gd name="connsiteY34" fmla="*/ 183075 h 348741"/>
              <a:gd name="connsiteX35" fmla="*/ 130073 w 347932"/>
              <a:gd name="connsiteY35" fmla="*/ 182265 h 348741"/>
              <a:gd name="connsiteX36" fmla="*/ 129263 w 347932"/>
              <a:gd name="connsiteY36" fmla="*/ 183075 h 348741"/>
              <a:gd name="connsiteX37" fmla="*/ 126596 w 347932"/>
              <a:gd name="connsiteY37" fmla="*/ 219936 h 348741"/>
              <a:gd name="connsiteX38" fmla="*/ 126596 w 347932"/>
              <a:gd name="connsiteY38" fmla="*/ 219936 h 348741"/>
              <a:gd name="connsiteX39" fmla="*/ 129263 w 347932"/>
              <a:gd name="connsiteY39" fmla="*/ 222508 h 348741"/>
              <a:gd name="connsiteX40" fmla="*/ 129263 w 347932"/>
              <a:gd name="connsiteY40" fmla="*/ 222508 h 348741"/>
              <a:gd name="connsiteX41" fmla="*/ 258137 w 347932"/>
              <a:gd name="connsiteY41" fmla="*/ 217269 h 348741"/>
              <a:gd name="connsiteX42" fmla="*/ 318620 w 347932"/>
              <a:gd name="connsiteY42" fmla="*/ 154119 h 348741"/>
              <a:gd name="connsiteX43" fmla="*/ 323859 w 347932"/>
              <a:gd name="connsiteY43" fmla="*/ 25341 h 3487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347932" h="348741">
                <a:moveTo>
                  <a:pt x="210797" y="264609"/>
                </a:moveTo>
                <a:lnTo>
                  <a:pt x="155552" y="319854"/>
                </a:lnTo>
                <a:cubicBezTo>
                  <a:pt x="120637" y="356848"/>
                  <a:pt x="62343" y="358534"/>
                  <a:pt x="25348" y="323619"/>
                </a:cubicBezTo>
                <a:cubicBezTo>
                  <a:pt x="24931" y="323225"/>
                  <a:pt x="24517" y="322827"/>
                  <a:pt x="24107" y="322425"/>
                </a:cubicBezTo>
                <a:cubicBezTo>
                  <a:pt x="-10088" y="288231"/>
                  <a:pt x="-7516" y="230414"/>
                  <a:pt x="29346" y="193647"/>
                </a:cubicBezTo>
                <a:lnTo>
                  <a:pt x="89830" y="133354"/>
                </a:lnTo>
                <a:cubicBezTo>
                  <a:pt x="126596" y="96492"/>
                  <a:pt x="184508" y="93921"/>
                  <a:pt x="218703" y="125448"/>
                </a:cubicBezTo>
                <a:cubicBezTo>
                  <a:pt x="218649" y="126815"/>
                  <a:pt x="219714" y="127966"/>
                  <a:pt x="221080" y="128020"/>
                </a:cubicBezTo>
                <a:cubicBezTo>
                  <a:pt x="221145" y="128023"/>
                  <a:pt x="221210" y="128023"/>
                  <a:pt x="221275" y="128020"/>
                </a:cubicBezTo>
                <a:lnTo>
                  <a:pt x="221275" y="128020"/>
                </a:lnTo>
                <a:cubicBezTo>
                  <a:pt x="231454" y="137698"/>
                  <a:pt x="231860" y="153796"/>
                  <a:pt x="222182" y="163975"/>
                </a:cubicBezTo>
                <a:cubicBezTo>
                  <a:pt x="221887" y="164285"/>
                  <a:pt x="221585" y="164587"/>
                  <a:pt x="221275" y="164882"/>
                </a:cubicBezTo>
                <a:cubicBezTo>
                  <a:pt x="210236" y="175405"/>
                  <a:pt x="192880" y="175405"/>
                  <a:pt x="181841" y="164882"/>
                </a:cubicBezTo>
                <a:lnTo>
                  <a:pt x="181841" y="164882"/>
                </a:lnTo>
                <a:cubicBezTo>
                  <a:pt x="166030" y="149070"/>
                  <a:pt x="139741" y="151737"/>
                  <a:pt x="121357" y="167454"/>
                </a:cubicBezTo>
                <a:lnTo>
                  <a:pt x="63541" y="225175"/>
                </a:lnTo>
                <a:cubicBezTo>
                  <a:pt x="47725" y="242235"/>
                  <a:pt x="47725" y="268599"/>
                  <a:pt x="63541" y="285659"/>
                </a:cubicBezTo>
                <a:cubicBezTo>
                  <a:pt x="80625" y="301585"/>
                  <a:pt x="107386" y="300646"/>
                  <a:pt x="123312" y="283562"/>
                </a:cubicBezTo>
                <a:cubicBezTo>
                  <a:pt x="123488" y="283373"/>
                  <a:pt x="123662" y="283183"/>
                  <a:pt x="123834" y="282992"/>
                </a:cubicBezTo>
                <a:lnTo>
                  <a:pt x="144884" y="261942"/>
                </a:lnTo>
                <a:cubicBezTo>
                  <a:pt x="153935" y="265678"/>
                  <a:pt x="163672" y="267463"/>
                  <a:pt x="173459" y="267180"/>
                </a:cubicBezTo>
                <a:cubicBezTo>
                  <a:pt x="185800" y="268602"/>
                  <a:pt x="198297" y="267731"/>
                  <a:pt x="210321" y="264609"/>
                </a:cubicBezTo>
                <a:moveTo>
                  <a:pt x="323859" y="25341"/>
                </a:moveTo>
                <a:cubicBezTo>
                  <a:pt x="287518" y="-9426"/>
                  <a:pt x="229911" y="-8276"/>
                  <a:pt x="194986" y="27912"/>
                </a:cubicBezTo>
                <a:lnTo>
                  <a:pt x="139741" y="83157"/>
                </a:lnTo>
                <a:cubicBezTo>
                  <a:pt x="150835" y="79925"/>
                  <a:pt x="162483" y="79049"/>
                  <a:pt x="173936" y="80586"/>
                </a:cubicBezTo>
                <a:cubicBezTo>
                  <a:pt x="183594" y="81506"/>
                  <a:pt x="193154" y="83259"/>
                  <a:pt x="202511" y="85824"/>
                </a:cubicBezTo>
                <a:lnTo>
                  <a:pt x="226514" y="64774"/>
                </a:lnTo>
                <a:cubicBezTo>
                  <a:pt x="242072" y="47354"/>
                  <a:pt x="268806" y="45844"/>
                  <a:pt x="286227" y="61402"/>
                </a:cubicBezTo>
                <a:cubicBezTo>
                  <a:pt x="286487" y="61634"/>
                  <a:pt x="286743" y="61869"/>
                  <a:pt x="286997" y="62107"/>
                </a:cubicBezTo>
                <a:cubicBezTo>
                  <a:pt x="302809" y="77919"/>
                  <a:pt x="300142" y="106875"/>
                  <a:pt x="284426" y="122591"/>
                </a:cubicBezTo>
                <a:lnTo>
                  <a:pt x="226514" y="180408"/>
                </a:lnTo>
                <a:cubicBezTo>
                  <a:pt x="211106" y="197822"/>
                  <a:pt x="184499" y="199448"/>
                  <a:pt x="167085" y="184041"/>
                </a:cubicBezTo>
                <a:cubicBezTo>
                  <a:pt x="166728" y="183725"/>
                  <a:pt x="166376" y="183403"/>
                  <a:pt x="166030" y="183075"/>
                </a:cubicBezTo>
                <a:lnTo>
                  <a:pt x="166030" y="183075"/>
                </a:lnTo>
                <a:cubicBezTo>
                  <a:pt x="156324" y="172922"/>
                  <a:pt x="140226" y="172559"/>
                  <a:pt x="130073" y="182265"/>
                </a:cubicBezTo>
                <a:cubicBezTo>
                  <a:pt x="129797" y="182529"/>
                  <a:pt x="129527" y="182799"/>
                  <a:pt x="129263" y="183075"/>
                </a:cubicBezTo>
                <a:cubicBezTo>
                  <a:pt x="119478" y="193056"/>
                  <a:pt x="118350" y="208651"/>
                  <a:pt x="126596" y="219936"/>
                </a:cubicBezTo>
                <a:lnTo>
                  <a:pt x="126596" y="219936"/>
                </a:lnTo>
                <a:cubicBezTo>
                  <a:pt x="129263" y="219936"/>
                  <a:pt x="129263" y="219936"/>
                  <a:pt x="129263" y="222508"/>
                </a:cubicBezTo>
                <a:lnTo>
                  <a:pt x="129263" y="222508"/>
                </a:lnTo>
                <a:cubicBezTo>
                  <a:pt x="166852" y="255103"/>
                  <a:pt x="223317" y="252808"/>
                  <a:pt x="258137" y="217269"/>
                </a:cubicBezTo>
                <a:lnTo>
                  <a:pt x="318620" y="154119"/>
                </a:lnTo>
                <a:cubicBezTo>
                  <a:pt x="355387" y="117352"/>
                  <a:pt x="358054" y="59535"/>
                  <a:pt x="323859" y="25341"/>
                </a:cubicBezTo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360" name="Grafik 156">
            <a:extLst>
              <a:ext uri="{FF2B5EF4-FFF2-40B4-BE49-F238E27FC236}">
                <a16:creationId xmlns:a16="http://schemas.microsoft.com/office/drawing/2014/main" id="{5D9EB715-2676-4504-9585-27AFAA5EFE9F}"/>
              </a:ext>
            </a:extLst>
          </p:cNvPr>
          <p:cNvGrpSpPr/>
          <p:nvPr/>
        </p:nvGrpSpPr>
        <p:grpSpPr>
          <a:xfrm>
            <a:off x="7980439" y="4421023"/>
            <a:ext cx="410422" cy="477745"/>
            <a:chOff x="4695392" y="3524188"/>
            <a:chExt cx="349751" cy="407122"/>
          </a:xfrm>
          <a:solidFill>
            <a:srgbClr val="808080"/>
          </a:solidFill>
        </p:grpSpPr>
        <p:sp>
          <p:nvSpPr>
            <p:cNvPr id="361" name="Freihandform: Form 174">
              <a:extLst>
                <a:ext uri="{FF2B5EF4-FFF2-40B4-BE49-F238E27FC236}">
                  <a16:creationId xmlns:a16="http://schemas.microsoft.com/office/drawing/2014/main" id="{97600FAE-0A4B-48C9-841F-CB6D7306C559}"/>
                </a:ext>
              </a:extLst>
            </p:cNvPr>
            <p:cNvSpPr/>
            <p:nvPr/>
          </p:nvSpPr>
          <p:spPr>
            <a:xfrm>
              <a:off x="4932006" y="3624986"/>
              <a:ext cx="34099" cy="34099"/>
            </a:xfrm>
            <a:custGeom>
              <a:avLst/>
              <a:gdLst>
                <a:gd name="connsiteX0" fmla="*/ 17050 w 34099"/>
                <a:gd name="connsiteY0" fmla="*/ 0 h 34099"/>
                <a:gd name="connsiteX1" fmla="*/ 0 w 34099"/>
                <a:gd name="connsiteY1" fmla="*/ 17050 h 34099"/>
                <a:gd name="connsiteX2" fmla="*/ 17050 w 34099"/>
                <a:gd name="connsiteY2" fmla="*/ 34100 h 34099"/>
                <a:gd name="connsiteX3" fmla="*/ 34100 w 34099"/>
                <a:gd name="connsiteY3" fmla="*/ 17050 h 34099"/>
                <a:gd name="connsiteX4" fmla="*/ 17050 w 34099"/>
                <a:gd name="connsiteY4" fmla="*/ 0 h 34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099" h="34099">
                  <a:moveTo>
                    <a:pt x="17050" y="0"/>
                  </a:moveTo>
                  <a:cubicBezTo>
                    <a:pt x="7633" y="0"/>
                    <a:pt x="0" y="7633"/>
                    <a:pt x="0" y="17050"/>
                  </a:cubicBezTo>
                  <a:cubicBezTo>
                    <a:pt x="0" y="26466"/>
                    <a:pt x="7633" y="34100"/>
                    <a:pt x="17050" y="34100"/>
                  </a:cubicBezTo>
                  <a:cubicBezTo>
                    <a:pt x="26466" y="34100"/>
                    <a:pt x="34100" y="26466"/>
                    <a:pt x="34100" y="17050"/>
                  </a:cubicBezTo>
                  <a:cubicBezTo>
                    <a:pt x="34100" y="7633"/>
                    <a:pt x="26466" y="0"/>
                    <a:pt x="1705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2" name="Freihandform: Form 175">
              <a:extLst>
                <a:ext uri="{FF2B5EF4-FFF2-40B4-BE49-F238E27FC236}">
                  <a16:creationId xmlns:a16="http://schemas.microsoft.com/office/drawing/2014/main" id="{83101714-609F-4CC7-8C9E-17ACD9794581}"/>
                </a:ext>
              </a:extLst>
            </p:cNvPr>
            <p:cNvSpPr/>
            <p:nvPr/>
          </p:nvSpPr>
          <p:spPr>
            <a:xfrm>
              <a:off x="4740460" y="3659752"/>
              <a:ext cx="34099" cy="34099"/>
            </a:xfrm>
            <a:custGeom>
              <a:avLst/>
              <a:gdLst>
                <a:gd name="connsiteX0" fmla="*/ 17049 w 34099"/>
                <a:gd name="connsiteY0" fmla="*/ 0 h 34099"/>
                <a:gd name="connsiteX1" fmla="*/ 0 w 34099"/>
                <a:gd name="connsiteY1" fmla="*/ 17051 h 34099"/>
                <a:gd name="connsiteX2" fmla="*/ 17051 w 34099"/>
                <a:gd name="connsiteY2" fmla="*/ 34100 h 34099"/>
                <a:gd name="connsiteX3" fmla="*/ 34099 w 34099"/>
                <a:gd name="connsiteY3" fmla="*/ 17049 h 34099"/>
                <a:gd name="connsiteX4" fmla="*/ 34098 w 34099"/>
                <a:gd name="connsiteY4" fmla="*/ 16860 h 34099"/>
                <a:gd name="connsiteX5" fmla="*/ 17049 w 34099"/>
                <a:gd name="connsiteY5" fmla="*/ 0 h 34099"/>
                <a:gd name="connsiteX6" fmla="*/ 17049 w 34099"/>
                <a:gd name="connsiteY6" fmla="*/ 0 h 34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099" h="34099">
                  <a:moveTo>
                    <a:pt x="17049" y="0"/>
                  </a:moveTo>
                  <a:cubicBezTo>
                    <a:pt x="7632" y="1"/>
                    <a:pt x="-1" y="7635"/>
                    <a:pt x="0" y="17051"/>
                  </a:cubicBezTo>
                  <a:cubicBezTo>
                    <a:pt x="1" y="26467"/>
                    <a:pt x="7634" y="34100"/>
                    <a:pt x="17051" y="34100"/>
                  </a:cubicBezTo>
                  <a:cubicBezTo>
                    <a:pt x="26467" y="34099"/>
                    <a:pt x="34100" y="26465"/>
                    <a:pt x="34099" y="17049"/>
                  </a:cubicBezTo>
                  <a:cubicBezTo>
                    <a:pt x="34099" y="16986"/>
                    <a:pt x="34099" y="16923"/>
                    <a:pt x="34098" y="16860"/>
                  </a:cubicBezTo>
                  <a:cubicBezTo>
                    <a:pt x="34046" y="7496"/>
                    <a:pt x="26413" y="-52"/>
                    <a:pt x="17049" y="0"/>
                  </a:cubicBezTo>
                  <a:cubicBezTo>
                    <a:pt x="17049" y="0"/>
                    <a:pt x="17049" y="0"/>
                    <a:pt x="17049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3" name="Freihandform: Form 176">
              <a:extLst>
                <a:ext uri="{FF2B5EF4-FFF2-40B4-BE49-F238E27FC236}">
                  <a16:creationId xmlns:a16="http://schemas.microsoft.com/office/drawing/2014/main" id="{0EF5FE5C-87DF-4E67-B2AB-D7E5A7034317}"/>
                </a:ext>
              </a:extLst>
            </p:cNvPr>
            <p:cNvSpPr/>
            <p:nvPr/>
          </p:nvSpPr>
          <p:spPr>
            <a:xfrm>
              <a:off x="4695392" y="3524188"/>
              <a:ext cx="349751" cy="407122"/>
            </a:xfrm>
            <a:custGeom>
              <a:avLst/>
              <a:gdLst>
                <a:gd name="connsiteX0" fmla="*/ 338341 w 349751"/>
                <a:gd name="connsiteY0" fmla="*/ 194715 h 407122"/>
                <a:gd name="connsiteX1" fmla="*/ 338341 w 349751"/>
                <a:gd name="connsiteY1" fmla="*/ 194715 h 407122"/>
                <a:gd name="connsiteX2" fmla="*/ 318053 w 349751"/>
                <a:gd name="connsiteY2" fmla="*/ 142994 h 407122"/>
                <a:gd name="connsiteX3" fmla="*/ 306813 w 349751"/>
                <a:gd name="connsiteY3" fmla="*/ 84606 h 407122"/>
                <a:gd name="connsiteX4" fmla="*/ 304527 w 349751"/>
                <a:gd name="connsiteY4" fmla="*/ 76795 h 407122"/>
                <a:gd name="connsiteX5" fmla="*/ 304527 w 349751"/>
                <a:gd name="connsiteY5" fmla="*/ 76224 h 407122"/>
                <a:gd name="connsiteX6" fmla="*/ 304527 w 349751"/>
                <a:gd name="connsiteY6" fmla="*/ 76224 h 407122"/>
                <a:gd name="connsiteX7" fmla="*/ 303099 w 349751"/>
                <a:gd name="connsiteY7" fmla="*/ 73176 h 407122"/>
                <a:gd name="connsiteX8" fmla="*/ 219469 w 349751"/>
                <a:gd name="connsiteY8" fmla="*/ 8501 h 407122"/>
                <a:gd name="connsiteX9" fmla="*/ 91453 w 349751"/>
                <a:gd name="connsiteY9" fmla="*/ 11073 h 407122"/>
                <a:gd name="connsiteX10" fmla="*/ 9919 w 349751"/>
                <a:gd name="connsiteY10" fmla="*/ 89273 h 407122"/>
                <a:gd name="connsiteX11" fmla="*/ 9919 w 349751"/>
                <a:gd name="connsiteY11" fmla="*/ 214336 h 407122"/>
                <a:gd name="connsiteX12" fmla="*/ 62211 w 349751"/>
                <a:gd name="connsiteY12" fmla="*/ 310729 h 407122"/>
                <a:gd name="connsiteX13" fmla="*/ 49162 w 349751"/>
                <a:gd name="connsiteY13" fmla="*/ 404551 h 407122"/>
                <a:gd name="connsiteX14" fmla="*/ 164510 w 349751"/>
                <a:gd name="connsiteY14" fmla="*/ 404551 h 407122"/>
                <a:gd name="connsiteX15" fmla="*/ 214135 w 349751"/>
                <a:gd name="connsiteY15" fmla="*/ 407122 h 407122"/>
                <a:gd name="connsiteX16" fmla="*/ 222041 w 349751"/>
                <a:gd name="connsiteY16" fmla="*/ 373309 h 407122"/>
                <a:gd name="connsiteX17" fmla="*/ 237662 w 349751"/>
                <a:gd name="connsiteY17" fmla="*/ 341971 h 407122"/>
                <a:gd name="connsiteX18" fmla="*/ 255950 w 349751"/>
                <a:gd name="connsiteY18" fmla="*/ 336828 h 407122"/>
                <a:gd name="connsiteX19" fmla="*/ 300432 w 349751"/>
                <a:gd name="connsiteY19" fmla="*/ 336828 h 407122"/>
                <a:gd name="connsiteX20" fmla="*/ 313481 w 349751"/>
                <a:gd name="connsiteY20" fmla="*/ 305491 h 407122"/>
                <a:gd name="connsiteX21" fmla="*/ 313481 w 349751"/>
                <a:gd name="connsiteY21" fmla="*/ 289870 h 407122"/>
                <a:gd name="connsiteX22" fmla="*/ 318719 w 349751"/>
                <a:gd name="connsiteY22" fmla="*/ 284631 h 407122"/>
                <a:gd name="connsiteX23" fmla="*/ 316053 w 349751"/>
                <a:gd name="connsiteY23" fmla="*/ 279487 h 407122"/>
                <a:gd name="connsiteX24" fmla="*/ 321291 w 349751"/>
                <a:gd name="connsiteY24" fmla="*/ 269010 h 407122"/>
                <a:gd name="connsiteX25" fmla="*/ 318719 w 349751"/>
                <a:gd name="connsiteY25" fmla="*/ 237768 h 407122"/>
                <a:gd name="connsiteX26" fmla="*/ 329483 w 349751"/>
                <a:gd name="connsiteY26" fmla="*/ 231386 h 407122"/>
                <a:gd name="connsiteX27" fmla="*/ 349295 w 349751"/>
                <a:gd name="connsiteY27" fmla="*/ 221861 h 407122"/>
                <a:gd name="connsiteX28" fmla="*/ 338341 w 349751"/>
                <a:gd name="connsiteY28" fmla="*/ 194715 h 407122"/>
                <a:gd name="connsiteX29" fmla="*/ 136983 w 349751"/>
                <a:gd name="connsiteY29" fmla="*/ 207574 h 407122"/>
                <a:gd name="connsiteX30" fmla="*/ 124219 w 349751"/>
                <a:gd name="connsiteY30" fmla="*/ 207574 h 407122"/>
                <a:gd name="connsiteX31" fmla="*/ 124219 w 349751"/>
                <a:gd name="connsiteY31" fmla="*/ 158234 h 407122"/>
                <a:gd name="connsiteX32" fmla="*/ 86119 w 349751"/>
                <a:gd name="connsiteY32" fmla="*/ 159091 h 407122"/>
                <a:gd name="connsiteX33" fmla="*/ 55824 w 349751"/>
                <a:gd name="connsiteY33" fmla="*/ 177195 h 407122"/>
                <a:gd name="connsiteX34" fmla="*/ 37720 w 349751"/>
                <a:gd name="connsiteY34" fmla="*/ 146899 h 407122"/>
                <a:gd name="connsiteX35" fmla="*/ 68016 w 349751"/>
                <a:gd name="connsiteY35" fmla="*/ 128796 h 407122"/>
                <a:gd name="connsiteX36" fmla="*/ 86119 w 349751"/>
                <a:gd name="connsiteY36" fmla="*/ 146899 h 407122"/>
                <a:gd name="connsiteX37" fmla="*/ 127743 w 349751"/>
                <a:gd name="connsiteY37" fmla="*/ 146899 h 407122"/>
                <a:gd name="connsiteX38" fmla="*/ 136983 w 349751"/>
                <a:gd name="connsiteY38" fmla="*/ 161949 h 407122"/>
                <a:gd name="connsiteX39" fmla="*/ 162319 w 349751"/>
                <a:gd name="connsiteY39" fmla="*/ 123849 h 407122"/>
                <a:gd name="connsiteX40" fmla="*/ 162319 w 349751"/>
                <a:gd name="connsiteY40" fmla="*/ 207955 h 407122"/>
                <a:gd name="connsiteX41" fmla="*/ 149937 w 349751"/>
                <a:gd name="connsiteY41" fmla="*/ 207955 h 407122"/>
                <a:gd name="connsiteX42" fmla="*/ 149937 w 349751"/>
                <a:gd name="connsiteY42" fmla="*/ 74605 h 407122"/>
                <a:gd name="connsiteX43" fmla="*/ 110408 w 349751"/>
                <a:gd name="connsiteY43" fmla="*/ 75557 h 407122"/>
                <a:gd name="connsiteX44" fmla="*/ 79978 w 349751"/>
                <a:gd name="connsiteY44" fmla="*/ 93699 h 407122"/>
                <a:gd name="connsiteX45" fmla="*/ 61836 w 349751"/>
                <a:gd name="connsiteY45" fmla="*/ 63270 h 407122"/>
                <a:gd name="connsiteX46" fmla="*/ 92266 w 349751"/>
                <a:gd name="connsiteY46" fmla="*/ 45128 h 407122"/>
                <a:gd name="connsiteX47" fmla="*/ 110408 w 349751"/>
                <a:gd name="connsiteY47" fmla="*/ 63270 h 407122"/>
                <a:gd name="connsiteX48" fmla="*/ 153080 w 349751"/>
                <a:gd name="connsiteY48" fmla="*/ 63270 h 407122"/>
                <a:gd name="connsiteX49" fmla="*/ 162319 w 349751"/>
                <a:gd name="connsiteY49" fmla="*/ 77462 h 407122"/>
                <a:gd name="connsiteX50" fmla="*/ 253759 w 349751"/>
                <a:gd name="connsiteY50" fmla="*/ 142899 h 407122"/>
                <a:gd name="connsiteX51" fmla="*/ 228994 w 349751"/>
                <a:gd name="connsiteY51" fmla="*/ 123849 h 407122"/>
                <a:gd name="connsiteX52" fmla="*/ 186322 w 349751"/>
                <a:gd name="connsiteY52" fmla="*/ 123849 h 407122"/>
                <a:gd name="connsiteX53" fmla="*/ 177369 w 349751"/>
                <a:gd name="connsiteY53" fmla="*/ 109276 h 407122"/>
                <a:gd name="connsiteX54" fmla="*/ 177369 w 349751"/>
                <a:gd name="connsiteY54" fmla="*/ 62889 h 407122"/>
                <a:gd name="connsiteX55" fmla="*/ 189751 w 349751"/>
                <a:gd name="connsiteY55" fmla="*/ 62889 h 407122"/>
                <a:gd name="connsiteX56" fmla="*/ 189751 w 349751"/>
                <a:gd name="connsiteY56" fmla="*/ 112228 h 407122"/>
                <a:gd name="connsiteX57" fmla="*/ 229566 w 349751"/>
                <a:gd name="connsiteY57" fmla="*/ 111181 h 407122"/>
                <a:gd name="connsiteX58" fmla="*/ 260380 w 349751"/>
                <a:gd name="connsiteY58" fmla="*/ 93701 h 407122"/>
                <a:gd name="connsiteX59" fmla="*/ 277860 w 349751"/>
                <a:gd name="connsiteY59" fmla="*/ 124516 h 407122"/>
                <a:gd name="connsiteX60" fmla="*/ 253664 w 349751"/>
                <a:gd name="connsiteY60" fmla="*/ 142899 h 40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349751" h="407122">
                  <a:moveTo>
                    <a:pt x="338341" y="194715"/>
                  </a:moveTo>
                  <a:lnTo>
                    <a:pt x="338341" y="194715"/>
                  </a:lnTo>
                  <a:cubicBezTo>
                    <a:pt x="329769" y="177094"/>
                    <a:pt x="316815" y="153472"/>
                    <a:pt x="318053" y="142994"/>
                  </a:cubicBezTo>
                  <a:cubicBezTo>
                    <a:pt x="319577" y="130516"/>
                    <a:pt x="311100" y="99274"/>
                    <a:pt x="306813" y="84606"/>
                  </a:cubicBezTo>
                  <a:cubicBezTo>
                    <a:pt x="306230" y="81953"/>
                    <a:pt x="305467" y="79344"/>
                    <a:pt x="304527" y="76795"/>
                  </a:cubicBezTo>
                  <a:lnTo>
                    <a:pt x="304527" y="76224"/>
                  </a:lnTo>
                  <a:lnTo>
                    <a:pt x="304527" y="76224"/>
                  </a:lnTo>
                  <a:cubicBezTo>
                    <a:pt x="304146" y="75166"/>
                    <a:pt x="303668" y="74145"/>
                    <a:pt x="303099" y="73176"/>
                  </a:cubicBezTo>
                  <a:cubicBezTo>
                    <a:pt x="286953" y="39658"/>
                    <a:pt x="255970" y="15697"/>
                    <a:pt x="219469" y="8501"/>
                  </a:cubicBezTo>
                  <a:cubicBezTo>
                    <a:pt x="180321" y="-1976"/>
                    <a:pt x="130601" y="-4548"/>
                    <a:pt x="91453" y="11073"/>
                  </a:cubicBezTo>
                  <a:cubicBezTo>
                    <a:pt x="54030" y="23771"/>
                    <a:pt x="24167" y="52413"/>
                    <a:pt x="9919" y="89273"/>
                  </a:cubicBezTo>
                  <a:cubicBezTo>
                    <a:pt x="-5797" y="125754"/>
                    <a:pt x="-558" y="174998"/>
                    <a:pt x="9919" y="214336"/>
                  </a:cubicBezTo>
                  <a:cubicBezTo>
                    <a:pt x="20397" y="250817"/>
                    <a:pt x="51734" y="276820"/>
                    <a:pt x="62211" y="310729"/>
                  </a:cubicBezTo>
                  <a:cubicBezTo>
                    <a:pt x="72594" y="339304"/>
                    <a:pt x="59544" y="378452"/>
                    <a:pt x="49162" y="404551"/>
                  </a:cubicBezTo>
                  <a:lnTo>
                    <a:pt x="164510" y="404551"/>
                  </a:lnTo>
                  <a:cubicBezTo>
                    <a:pt x="181092" y="404189"/>
                    <a:pt x="197679" y="405048"/>
                    <a:pt x="214135" y="407122"/>
                  </a:cubicBezTo>
                  <a:cubicBezTo>
                    <a:pt x="219374" y="407122"/>
                    <a:pt x="219374" y="378547"/>
                    <a:pt x="222041" y="373309"/>
                  </a:cubicBezTo>
                  <a:cubicBezTo>
                    <a:pt x="224613" y="362831"/>
                    <a:pt x="229851" y="347210"/>
                    <a:pt x="237662" y="341971"/>
                  </a:cubicBezTo>
                  <a:cubicBezTo>
                    <a:pt x="242685" y="337615"/>
                    <a:pt x="249392" y="335728"/>
                    <a:pt x="255950" y="336828"/>
                  </a:cubicBezTo>
                  <a:cubicBezTo>
                    <a:pt x="271666" y="336828"/>
                    <a:pt x="287382" y="341971"/>
                    <a:pt x="300432" y="336828"/>
                  </a:cubicBezTo>
                  <a:cubicBezTo>
                    <a:pt x="316053" y="331589"/>
                    <a:pt x="313481" y="318540"/>
                    <a:pt x="313481" y="305491"/>
                  </a:cubicBezTo>
                  <a:cubicBezTo>
                    <a:pt x="310873" y="300610"/>
                    <a:pt x="310873" y="294750"/>
                    <a:pt x="313481" y="289870"/>
                  </a:cubicBezTo>
                  <a:cubicBezTo>
                    <a:pt x="313481" y="289870"/>
                    <a:pt x="318719" y="287298"/>
                    <a:pt x="318719" y="284631"/>
                  </a:cubicBezTo>
                  <a:cubicBezTo>
                    <a:pt x="318523" y="282638"/>
                    <a:pt x="317568" y="280796"/>
                    <a:pt x="316053" y="279487"/>
                  </a:cubicBezTo>
                  <a:cubicBezTo>
                    <a:pt x="310909" y="271677"/>
                    <a:pt x="321291" y="276820"/>
                    <a:pt x="321291" y="269010"/>
                  </a:cubicBezTo>
                  <a:cubicBezTo>
                    <a:pt x="323958" y="258628"/>
                    <a:pt x="305670" y="248245"/>
                    <a:pt x="318719" y="237768"/>
                  </a:cubicBezTo>
                  <a:cubicBezTo>
                    <a:pt x="322079" y="235277"/>
                    <a:pt x="325686" y="233138"/>
                    <a:pt x="329483" y="231386"/>
                  </a:cubicBezTo>
                  <a:cubicBezTo>
                    <a:pt x="329483" y="231386"/>
                    <a:pt x="346152" y="227005"/>
                    <a:pt x="349295" y="221861"/>
                  </a:cubicBezTo>
                  <a:cubicBezTo>
                    <a:pt x="352438" y="216718"/>
                    <a:pt x="338341" y="194715"/>
                    <a:pt x="338341" y="194715"/>
                  </a:cubicBezTo>
                  <a:close/>
                  <a:moveTo>
                    <a:pt x="136983" y="207574"/>
                  </a:moveTo>
                  <a:lnTo>
                    <a:pt x="124219" y="207574"/>
                  </a:lnTo>
                  <a:lnTo>
                    <a:pt x="124219" y="158234"/>
                  </a:lnTo>
                  <a:lnTo>
                    <a:pt x="86119" y="159091"/>
                  </a:lnTo>
                  <a:cubicBezTo>
                    <a:pt x="82752" y="172456"/>
                    <a:pt x="69189" y="180562"/>
                    <a:pt x="55824" y="177195"/>
                  </a:cubicBezTo>
                  <a:cubicBezTo>
                    <a:pt x="42458" y="173828"/>
                    <a:pt x="34353" y="160264"/>
                    <a:pt x="37720" y="146899"/>
                  </a:cubicBezTo>
                  <a:cubicBezTo>
                    <a:pt x="41087" y="133534"/>
                    <a:pt x="54650" y="125429"/>
                    <a:pt x="68016" y="128796"/>
                  </a:cubicBezTo>
                  <a:cubicBezTo>
                    <a:pt x="76922" y="131039"/>
                    <a:pt x="83876" y="137993"/>
                    <a:pt x="86119" y="146899"/>
                  </a:cubicBezTo>
                  <a:lnTo>
                    <a:pt x="127743" y="146899"/>
                  </a:lnTo>
                  <a:cubicBezTo>
                    <a:pt x="133997" y="149096"/>
                    <a:pt x="137853" y="155378"/>
                    <a:pt x="136983" y="161949"/>
                  </a:cubicBezTo>
                  <a:close/>
                  <a:moveTo>
                    <a:pt x="162319" y="123849"/>
                  </a:moveTo>
                  <a:lnTo>
                    <a:pt x="162319" y="207955"/>
                  </a:lnTo>
                  <a:lnTo>
                    <a:pt x="149937" y="207955"/>
                  </a:lnTo>
                  <a:lnTo>
                    <a:pt x="149937" y="74605"/>
                  </a:lnTo>
                  <a:lnTo>
                    <a:pt x="110408" y="75557"/>
                  </a:lnTo>
                  <a:cubicBezTo>
                    <a:pt x="107015" y="88970"/>
                    <a:pt x="93391" y="97092"/>
                    <a:pt x="79978" y="93699"/>
                  </a:cubicBezTo>
                  <a:cubicBezTo>
                    <a:pt x="66566" y="90306"/>
                    <a:pt x="58443" y="76682"/>
                    <a:pt x="61836" y="63270"/>
                  </a:cubicBezTo>
                  <a:cubicBezTo>
                    <a:pt x="65229" y="49857"/>
                    <a:pt x="78853" y="41735"/>
                    <a:pt x="92266" y="45128"/>
                  </a:cubicBezTo>
                  <a:cubicBezTo>
                    <a:pt x="101186" y="47384"/>
                    <a:pt x="108151" y="54350"/>
                    <a:pt x="110408" y="63270"/>
                  </a:cubicBezTo>
                  <a:lnTo>
                    <a:pt x="153080" y="63270"/>
                  </a:lnTo>
                  <a:cubicBezTo>
                    <a:pt x="158974" y="65418"/>
                    <a:pt x="162740" y="71202"/>
                    <a:pt x="162319" y="77462"/>
                  </a:cubicBezTo>
                  <a:close/>
                  <a:moveTo>
                    <a:pt x="253759" y="142899"/>
                  </a:moveTo>
                  <a:cubicBezTo>
                    <a:pt x="242070" y="143105"/>
                    <a:pt x="231793" y="135200"/>
                    <a:pt x="228994" y="123849"/>
                  </a:cubicBezTo>
                  <a:lnTo>
                    <a:pt x="186322" y="123849"/>
                  </a:lnTo>
                  <a:cubicBezTo>
                    <a:pt x="180395" y="121563"/>
                    <a:pt x="176729" y="115596"/>
                    <a:pt x="177369" y="109276"/>
                  </a:cubicBezTo>
                  <a:lnTo>
                    <a:pt x="177369" y="62889"/>
                  </a:lnTo>
                  <a:lnTo>
                    <a:pt x="189751" y="62889"/>
                  </a:lnTo>
                  <a:lnTo>
                    <a:pt x="189751" y="112228"/>
                  </a:lnTo>
                  <a:lnTo>
                    <a:pt x="229566" y="111181"/>
                  </a:lnTo>
                  <a:cubicBezTo>
                    <a:pt x="233248" y="97844"/>
                    <a:pt x="247044" y="90019"/>
                    <a:pt x="260380" y="93701"/>
                  </a:cubicBezTo>
                  <a:cubicBezTo>
                    <a:pt x="273716" y="97383"/>
                    <a:pt x="281542" y="111180"/>
                    <a:pt x="277860" y="124516"/>
                  </a:cubicBezTo>
                  <a:cubicBezTo>
                    <a:pt x="274856" y="135394"/>
                    <a:pt x="264949" y="142921"/>
                    <a:pt x="253664" y="14289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4" name="Freihandform: Form 177">
              <a:extLst>
                <a:ext uri="{FF2B5EF4-FFF2-40B4-BE49-F238E27FC236}">
                  <a16:creationId xmlns:a16="http://schemas.microsoft.com/office/drawing/2014/main" id="{1313764E-F893-478C-8D26-5CC50BD27C50}"/>
                </a:ext>
              </a:extLst>
            </p:cNvPr>
            <p:cNvSpPr/>
            <p:nvPr/>
          </p:nvSpPr>
          <p:spPr>
            <a:xfrm>
              <a:off x="4764462" y="3575647"/>
              <a:ext cx="34099" cy="34099"/>
            </a:xfrm>
            <a:custGeom>
              <a:avLst/>
              <a:gdLst>
                <a:gd name="connsiteX0" fmla="*/ 17050 w 34099"/>
                <a:gd name="connsiteY0" fmla="*/ 0 h 34099"/>
                <a:gd name="connsiteX1" fmla="*/ 0 w 34099"/>
                <a:gd name="connsiteY1" fmla="*/ 17050 h 34099"/>
                <a:gd name="connsiteX2" fmla="*/ 17050 w 34099"/>
                <a:gd name="connsiteY2" fmla="*/ 34100 h 34099"/>
                <a:gd name="connsiteX3" fmla="*/ 34100 w 34099"/>
                <a:gd name="connsiteY3" fmla="*/ 17050 h 34099"/>
                <a:gd name="connsiteX4" fmla="*/ 17050 w 34099"/>
                <a:gd name="connsiteY4" fmla="*/ 0 h 34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099" h="34099">
                  <a:moveTo>
                    <a:pt x="17050" y="0"/>
                  </a:moveTo>
                  <a:cubicBezTo>
                    <a:pt x="7633" y="0"/>
                    <a:pt x="0" y="7633"/>
                    <a:pt x="0" y="17050"/>
                  </a:cubicBezTo>
                  <a:cubicBezTo>
                    <a:pt x="0" y="26466"/>
                    <a:pt x="7633" y="34100"/>
                    <a:pt x="17050" y="34100"/>
                  </a:cubicBezTo>
                  <a:cubicBezTo>
                    <a:pt x="26466" y="34100"/>
                    <a:pt x="34100" y="26466"/>
                    <a:pt x="34100" y="17050"/>
                  </a:cubicBezTo>
                  <a:cubicBezTo>
                    <a:pt x="34100" y="7633"/>
                    <a:pt x="26466" y="0"/>
                    <a:pt x="1705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65" name="Grafik 8">
            <a:extLst>
              <a:ext uri="{FF2B5EF4-FFF2-40B4-BE49-F238E27FC236}">
                <a16:creationId xmlns:a16="http://schemas.microsoft.com/office/drawing/2014/main" id="{C9FD8EA0-AF92-4179-99B9-3D4CF59B3E2B}"/>
              </a:ext>
            </a:extLst>
          </p:cNvPr>
          <p:cNvGrpSpPr/>
          <p:nvPr/>
        </p:nvGrpSpPr>
        <p:grpSpPr>
          <a:xfrm>
            <a:off x="6306700" y="4497658"/>
            <a:ext cx="591948" cy="324476"/>
            <a:chOff x="2086416" y="3272955"/>
            <a:chExt cx="504443" cy="276510"/>
          </a:xfrm>
          <a:solidFill>
            <a:srgbClr val="808080"/>
          </a:solidFill>
        </p:grpSpPr>
        <p:sp>
          <p:nvSpPr>
            <p:cNvPr id="366" name="Freihandform: Form 12">
              <a:extLst>
                <a:ext uri="{FF2B5EF4-FFF2-40B4-BE49-F238E27FC236}">
                  <a16:creationId xmlns:a16="http://schemas.microsoft.com/office/drawing/2014/main" id="{22E8B711-FFF9-4D76-B783-44BC71EA6002}"/>
                </a:ext>
              </a:extLst>
            </p:cNvPr>
            <p:cNvSpPr/>
            <p:nvPr/>
          </p:nvSpPr>
          <p:spPr>
            <a:xfrm>
              <a:off x="2086416" y="3380492"/>
              <a:ext cx="424814" cy="168973"/>
            </a:xfrm>
            <a:custGeom>
              <a:avLst/>
              <a:gdLst>
                <a:gd name="connsiteX0" fmla="*/ 47530 w 424814"/>
                <a:gd name="connsiteY0" fmla="*/ 168974 h 168973"/>
                <a:gd name="connsiteX1" fmla="*/ 47530 w 424814"/>
                <a:gd name="connsiteY1" fmla="*/ 168974 h 168973"/>
                <a:gd name="connsiteX2" fmla="*/ 44672 w 424814"/>
                <a:gd name="connsiteY2" fmla="*/ 167545 h 168973"/>
                <a:gd name="connsiteX3" fmla="*/ 40481 w 424814"/>
                <a:gd name="connsiteY3" fmla="*/ 166116 h 168973"/>
                <a:gd name="connsiteX4" fmla="*/ 36290 w 424814"/>
                <a:gd name="connsiteY4" fmla="*/ 163354 h 168973"/>
                <a:gd name="connsiteX5" fmla="*/ 32099 w 424814"/>
                <a:gd name="connsiteY5" fmla="*/ 157829 h 168973"/>
                <a:gd name="connsiteX6" fmla="*/ 27908 w 424814"/>
                <a:gd name="connsiteY6" fmla="*/ 156400 h 168973"/>
                <a:gd name="connsiteX7" fmla="*/ 23717 w 424814"/>
                <a:gd name="connsiteY7" fmla="*/ 152210 h 168973"/>
                <a:gd name="connsiteX8" fmla="*/ 16764 w 424814"/>
                <a:gd name="connsiteY8" fmla="*/ 148019 h 168973"/>
                <a:gd name="connsiteX9" fmla="*/ 15335 w 424814"/>
                <a:gd name="connsiteY9" fmla="*/ 145256 h 168973"/>
                <a:gd name="connsiteX10" fmla="*/ 12573 w 424814"/>
                <a:gd name="connsiteY10" fmla="*/ 143828 h 168973"/>
                <a:gd name="connsiteX11" fmla="*/ 11144 w 424814"/>
                <a:gd name="connsiteY11" fmla="*/ 139637 h 168973"/>
                <a:gd name="connsiteX12" fmla="*/ 11144 w 424814"/>
                <a:gd name="connsiteY12" fmla="*/ 136874 h 168973"/>
                <a:gd name="connsiteX13" fmla="*/ 8382 w 424814"/>
                <a:gd name="connsiteY13" fmla="*/ 135446 h 168973"/>
                <a:gd name="connsiteX14" fmla="*/ 6953 w 424814"/>
                <a:gd name="connsiteY14" fmla="*/ 131255 h 168973"/>
                <a:gd name="connsiteX15" fmla="*/ 4191 w 424814"/>
                <a:gd name="connsiteY15" fmla="*/ 128492 h 168973"/>
                <a:gd name="connsiteX16" fmla="*/ 4191 w 424814"/>
                <a:gd name="connsiteY16" fmla="*/ 122873 h 168973"/>
                <a:gd name="connsiteX17" fmla="*/ 2762 w 424814"/>
                <a:gd name="connsiteY17" fmla="*/ 118682 h 168973"/>
                <a:gd name="connsiteX18" fmla="*/ 2762 w 424814"/>
                <a:gd name="connsiteY18" fmla="*/ 117253 h 168973"/>
                <a:gd name="connsiteX19" fmla="*/ 0 w 424814"/>
                <a:gd name="connsiteY19" fmla="*/ 113062 h 168973"/>
                <a:gd name="connsiteX20" fmla="*/ 0 w 424814"/>
                <a:gd name="connsiteY20" fmla="*/ 108871 h 168973"/>
                <a:gd name="connsiteX21" fmla="*/ 0 w 424814"/>
                <a:gd name="connsiteY21" fmla="*/ 104680 h 168973"/>
                <a:gd name="connsiteX22" fmla="*/ 0 w 424814"/>
                <a:gd name="connsiteY22" fmla="*/ 100489 h 168973"/>
                <a:gd name="connsiteX23" fmla="*/ 2762 w 424814"/>
                <a:gd name="connsiteY23" fmla="*/ 96298 h 168973"/>
                <a:gd name="connsiteX24" fmla="*/ 2762 w 424814"/>
                <a:gd name="connsiteY24" fmla="*/ 89345 h 168973"/>
                <a:gd name="connsiteX25" fmla="*/ 4191 w 424814"/>
                <a:gd name="connsiteY25" fmla="*/ 85153 h 168973"/>
                <a:gd name="connsiteX26" fmla="*/ 6953 w 424814"/>
                <a:gd name="connsiteY26" fmla="*/ 80963 h 168973"/>
                <a:gd name="connsiteX27" fmla="*/ 8382 w 424814"/>
                <a:gd name="connsiteY27" fmla="*/ 78200 h 168973"/>
                <a:gd name="connsiteX28" fmla="*/ 11144 w 424814"/>
                <a:gd name="connsiteY28" fmla="*/ 74009 h 168973"/>
                <a:gd name="connsiteX29" fmla="*/ 12573 w 424814"/>
                <a:gd name="connsiteY29" fmla="*/ 72581 h 168973"/>
                <a:gd name="connsiteX30" fmla="*/ 12573 w 424814"/>
                <a:gd name="connsiteY30" fmla="*/ 69818 h 168973"/>
                <a:gd name="connsiteX31" fmla="*/ 16764 w 424814"/>
                <a:gd name="connsiteY31" fmla="*/ 68389 h 168973"/>
                <a:gd name="connsiteX32" fmla="*/ 19526 w 424814"/>
                <a:gd name="connsiteY32" fmla="*/ 64199 h 168973"/>
                <a:gd name="connsiteX33" fmla="*/ 20955 w 424814"/>
                <a:gd name="connsiteY33" fmla="*/ 64199 h 168973"/>
                <a:gd name="connsiteX34" fmla="*/ 23717 w 424814"/>
                <a:gd name="connsiteY34" fmla="*/ 61436 h 168973"/>
                <a:gd name="connsiteX35" fmla="*/ 25146 w 424814"/>
                <a:gd name="connsiteY35" fmla="*/ 60008 h 168973"/>
                <a:gd name="connsiteX36" fmla="*/ 30766 w 424814"/>
                <a:gd name="connsiteY36" fmla="*/ 60008 h 168973"/>
                <a:gd name="connsiteX37" fmla="*/ 32099 w 424814"/>
                <a:gd name="connsiteY37" fmla="*/ 57245 h 168973"/>
                <a:gd name="connsiteX38" fmla="*/ 34957 w 424814"/>
                <a:gd name="connsiteY38" fmla="*/ 57245 h 168973"/>
                <a:gd name="connsiteX39" fmla="*/ 36290 w 424814"/>
                <a:gd name="connsiteY39" fmla="*/ 57245 h 168973"/>
                <a:gd name="connsiteX40" fmla="*/ 40481 w 424814"/>
                <a:gd name="connsiteY40" fmla="*/ 54483 h 168973"/>
                <a:gd name="connsiteX41" fmla="*/ 43339 w 424814"/>
                <a:gd name="connsiteY41" fmla="*/ 54483 h 168973"/>
                <a:gd name="connsiteX42" fmla="*/ 44672 w 424814"/>
                <a:gd name="connsiteY42" fmla="*/ 54483 h 168973"/>
                <a:gd name="connsiteX43" fmla="*/ 51721 w 424814"/>
                <a:gd name="connsiteY43" fmla="*/ 54483 h 168973"/>
                <a:gd name="connsiteX44" fmla="*/ 54483 w 424814"/>
                <a:gd name="connsiteY44" fmla="*/ 57245 h 168973"/>
                <a:gd name="connsiteX45" fmla="*/ 62865 w 424814"/>
                <a:gd name="connsiteY45" fmla="*/ 57245 h 168973"/>
                <a:gd name="connsiteX46" fmla="*/ 67056 w 424814"/>
                <a:gd name="connsiteY46" fmla="*/ 60008 h 168973"/>
                <a:gd name="connsiteX47" fmla="*/ 71247 w 424814"/>
                <a:gd name="connsiteY47" fmla="*/ 60008 h 168973"/>
                <a:gd name="connsiteX48" fmla="*/ 72676 w 424814"/>
                <a:gd name="connsiteY48" fmla="*/ 61436 h 168973"/>
                <a:gd name="connsiteX49" fmla="*/ 72676 w 424814"/>
                <a:gd name="connsiteY49" fmla="*/ 60008 h 168973"/>
                <a:gd name="connsiteX50" fmla="*/ 75438 w 424814"/>
                <a:gd name="connsiteY50" fmla="*/ 54483 h 168973"/>
                <a:gd name="connsiteX51" fmla="*/ 75438 w 424814"/>
                <a:gd name="connsiteY51" fmla="*/ 53054 h 168973"/>
                <a:gd name="connsiteX52" fmla="*/ 75438 w 424814"/>
                <a:gd name="connsiteY52" fmla="*/ 48863 h 168973"/>
                <a:gd name="connsiteX53" fmla="*/ 76867 w 424814"/>
                <a:gd name="connsiteY53" fmla="*/ 46101 h 168973"/>
                <a:gd name="connsiteX54" fmla="*/ 79629 w 424814"/>
                <a:gd name="connsiteY54" fmla="*/ 44672 h 168973"/>
                <a:gd name="connsiteX55" fmla="*/ 79629 w 424814"/>
                <a:gd name="connsiteY55" fmla="*/ 41910 h 168973"/>
                <a:gd name="connsiteX56" fmla="*/ 81058 w 424814"/>
                <a:gd name="connsiteY56" fmla="*/ 40481 h 168973"/>
                <a:gd name="connsiteX57" fmla="*/ 83820 w 424814"/>
                <a:gd name="connsiteY57" fmla="*/ 37719 h 168973"/>
                <a:gd name="connsiteX58" fmla="*/ 85249 w 424814"/>
                <a:gd name="connsiteY58" fmla="*/ 36290 h 168973"/>
                <a:gd name="connsiteX59" fmla="*/ 86678 w 424814"/>
                <a:gd name="connsiteY59" fmla="*/ 33528 h 168973"/>
                <a:gd name="connsiteX60" fmla="*/ 89440 w 424814"/>
                <a:gd name="connsiteY60" fmla="*/ 32099 h 168973"/>
                <a:gd name="connsiteX61" fmla="*/ 90869 w 424814"/>
                <a:gd name="connsiteY61" fmla="*/ 29337 h 168973"/>
                <a:gd name="connsiteX62" fmla="*/ 95059 w 424814"/>
                <a:gd name="connsiteY62" fmla="*/ 29337 h 168973"/>
                <a:gd name="connsiteX63" fmla="*/ 99251 w 424814"/>
                <a:gd name="connsiteY63" fmla="*/ 29337 h 168973"/>
                <a:gd name="connsiteX64" fmla="*/ 103442 w 424814"/>
                <a:gd name="connsiteY64" fmla="*/ 27908 h 168973"/>
                <a:gd name="connsiteX65" fmla="*/ 104775 w 424814"/>
                <a:gd name="connsiteY65" fmla="*/ 27908 h 168973"/>
                <a:gd name="connsiteX66" fmla="*/ 108966 w 424814"/>
                <a:gd name="connsiteY66" fmla="*/ 27908 h 168973"/>
                <a:gd name="connsiteX67" fmla="*/ 111824 w 424814"/>
                <a:gd name="connsiteY67" fmla="*/ 27908 h 168973"/>
                <a:gd name="connsiteX68" fmla="*/ 113157 w 424814"/>
                <a:gd name="connsiteY68" fmla="*/ 29337 h 168973"/>
                <a:gd name="connsiteX69" fmla="*/ 114586 w 424814"/>
                <a:gd name="connsiteY69" fmla="*/ 29337 h 168973"/>
                <a:gd name="connsiteX70" fmla="*/ 118777 w 424814"/>
                <a:gd name="connsiteY70" fmla="*/ 29337 h 168973"/>
                <a:gd name="connsiteX71" fmla="*/ 121539 w 424814"/>
                <a:gd name="connsiteY71" fmla="*/ 32099 h 168973"/>
                <a:gd name="connsiteX72" fmla="*/ 122968 w 424814"/>
                <a:gd name="connsiteY72" fmla="*/ 32099 h 168973"/>
                <a:gd name="connsiteX73" fmla="*/ 125730 w 424814"/>
                <a:gd name="connsiteY73" fmla="*/ 33528 h 168973"/>
                <a:gd name="connsiteX74" fmla="*/ 129921 w 424814"/>
                <a:gd name="connsiteY74" fmla="*/ 36290 h 168973"/>
                <a:gd name="connsiteX75" fmla="*/ 131350 w 424814"/>
                <a:gd name="connsiteY75" fmla="*/ 37719 h 168973"/>
                <a:gd name="connsiteX76" fmla="*/ 131350 w 424814"/>
                <a:gd name="connsiteY76" fmla="*/ 36290 h 168973"/>
                <a:gd name="connsiteX77" fmla="*/ 135541 w 424814"/>
                <a:gd name="connsiteY77" fmla="*/ 32099 h 168973"/>
                <a:gd name="connsiteX78" fmla="*/ 136970 w 424814"/>
                <a:gd name="connsiteY78" fmla="*/ 29337 h 168973"/>
                <a:gd name="connsiteX79" fmla="*/ 139732 w 424814"/>
                <a:gd name="connsiteY79" fmla="*/ 27908 h 168973"/>
                <a:gd name="connsiteX80" fmla="*/ 141161 w 424814"/>
                <a:gd name="connsiteY80" fmla="*/ 22289 h 168973"/>
                <a:gd name="connsiteX81" fmla="*/ 145352 w 424814"/>
                <a:gd name="connsiteY81" fmla="*/ 18097 h 168973"/>
                <a:gd name="connsiteX82" fmla="*/ 146685 w 424814"/>
                <a:gd name="connsiteY82" fmla="*/ 15335 h 168973"/>
                <a:gd name="connsiteX83" fmla="*/ 150876 w 424814"/>
                <a:gd name="connsiteY83" fmla="*/ 11144 h 168973"/>
                <a:gd name="connsiteX84" fmla="*/ 155067 w 424814"/>
                <a:gd name="connsiteY84" fmla="*/ 9716 h 168973"/>
                <a:gd name="connsiteX85" fmla="*/ 159258 w 424814"/>
                <a:gd name="connsiteY85" fmla="*/ 6953 h 168973"/>
                <a:gd name="connsiteX86" fmla="*/ 162116 w 424814"/>
                <a:gd name="connsiteY86" fmla="*/ 5620 h 168973"/>
                <a:gd name="connsiteX87" fmla="*/ 163449 w 424814"/>
                <a:gd name="connsiteY87" fmla="*/ 2762 h 168973"/>
                <a:gd name="connsiteX88" fmla="*/ 166306 w 424814"/>
                <a:gd name="connsiteY88" fmla="*/ 2762 h 168973"/>
                <a:gd name="connsiteX89" fmla="*/ 171831 w 424814"/>
                <a:gd name="connsiteY89" fmla="*/ 1429 h 168973"/>
                <a:gd name="connsiteX90" fmla="*/ 174689 w 424814"/>
                <a:gd name="connsiteY90" fmla="*/ 1429 h 168973"/>
                <a:gd name="connsiteX91" fmla="*/ 177451 w 424814"/>
                <a:gd name="connsiteY91" fmla="*/ 1429 h 168973"/>
                <a:gd name="connsiteX92" fmla="*/ 181642 w 424814"/>
                <a:gd name="connsiteY92" fmla="*/ 1429 h 168973"/>
                <a:gd name="connsiteX93" fmla="*/ 185833 w 424814"/>
                <a:gd name="connsiteY93" fmla="*/ 0 h 168973"/>
                <a:gd name="connsiteX94" fmla="*/ 187262 w 424814"/>
                <a:gd name="connsiteY94" fmla="*/ 0 h 168973"/>
                <a:gd name="connsiteX95" fmla="*/ 191453 w 424814"/>
                <a:gd name="connsiteY95" fmla="*/ 0 h 168973"/>
                <a:gd name="connsiteX96" fmla="*/ 195644 w 424814"/>
                <a:gd name="connsiteY96" fmla="*/ 0 h 168973"/>
                <a:gd name="connsiteX97" fmla="*/ 199835 w 424814"/>
                <a:gd name="connsiteY97" fmla="*/ 1429 h 168973"/>
                <a:gd name="connsiteX98" fmla="*/ 202597 w 424814"/>
                <a:gd name="connsiteY98" fmla="*/ 1429 h 168973"/>
                <a:gd name="connsiteX99" fmla="*/ 206788 w 424814"/>
                <a:gd name="connsiteY99" fmla="*/ 1429 h 168973"/>
                <a:gd name="connsiteX100" fmla="*/ 209550 w 424814"/>
                <a:gd name="connsiteY100" fmla="*/ 2762 h 168973"/>
                <a:gd name="connsiteX101" fmla="*/ 213836 w 424814"/>
                <a:gd name="connsiteY101" fmla="*/ 2762 h 168973"/>
                <a:gd name="connsiteX102" fmla="*/ 215170 w 424814"/>
                <a:gd name="connsiteY102" fmla="*/ 5620 h 168973"/>
                <a:gd name="connsiteX103" fmla="*/ 218027 w 424814"/>
                <a:gd name="connsiteY103" fmla="*/ 5620 h 168973"/>
                <a:gd name="connsiteX104" fmla="*/ 222123 w 424814"/>
                <a:gd name="connsiteY104" fmla="*/ 6953 h 168973"/>
                <a:gd name="connsiteX105" fmla="*/ 223552 w 424814"/>
                <a:gd name="connsiteY105" fmla="*/ 9716 h 168973"/>
                <a:gd name="connsiteX106" fmla="*/ 226409 w 424814"/>
                <a:gd name="connsiteY106" fmla="*/ 9716 h 168973"/>
                <a:gd name="connsiteX107" fmla="*/ 230505 w 424814"/>
                <a:gd name="connsiteY107" fmla="*/ 14002 h 168973"/>
                <a:gd name="connsiteX108" fmla="*/ 231934 w 424814"/>
                <a:gd name="connsiteY108" fmla="*/ 15335 h 168973"/>
                <a:gd name="connsiteX109" fmla="*/ 236125 w 424814"/>
                <a:gd name="connsiteY109" fmla="*/ 19526 h 168973"/>
                <a:gd name="connsiteX110" fmla="*/ 237554 w 424814"/>
                <a:gd name="connsiteY110" fmla="*/ 23717 h 168973"/>
                <a:gd name="connsiteX111" fmla="*/ 241744 w 424814"/>
                <a:gd name="connsiteY111" fmla="*/ 29337 h 168973"/>
                <a:gd name="connsiteX112" fmla="*/ 243173 w 424814"/>
                <a:gd name="connsiteY112" fmla="*/ 32099 h 168973"/>
                <a:gd name="connsiteX113" fmla="*/ 245936 w 424814"/>
                <a:gd name="connsiteY113" fmla="*/ 36290 h 168973"/>
                <a:gd name="connsiteX114" fmla="*/ 245936 w 424814"/>
                <a:gd name="connsiteY114" fmla="*/ 40481 h 168973"/>
                <a:gd name="connsiteX115" fmla="*/ 245936 w 424814"/>
                <a:gd name="connsiteY115" fmla="*/ 41910 h 168973"/>
                <a:gd name="connsiteX116" fmla="*/ 245936 w 424814"/>
                <a:gd name="connsiteY116" fmla="*/ 46101 h 168973"/>
                <a:gd name="connsiteX117" fmla="*/ 247364 w 424814"/>
                <a:gd name="connsiteY117" fmla="*/ 41910 h 168973"/>
                <a:gd name="connsiteX118" fmla="*/ 251555 w 424814"/>
                <a:gd name="connsiteY118" fmla="*/ 40481 h 168973"/>
                <a:gd name="connsiteX119" fmla="*/ 254318 w 424814"/>
                <a:gd name="connsiteY119" fmla="*/ 37719 h 168973"/>
                <a:gd name="connsiteX120" fmla="*/ 255746 w 424814"/>
                <a:gd name="connsiteY120" fmla="*/ 36290 h 168973"/>
                <a:gd name="connsiteX121" fmla="*/ 258509 w 424814"/>
                <a:gd name="connsiteY121" fmla="*/ 33528 h 168973"/>
                <a:gd name="connsiteX122" fmla="*/ 261271 w 424814"/>
                <a:gd name="connsiteY122" fmla="*/ 32099 h 168973"/>
                <a:gd name="connsiteX123" fmla="*/ 264128 w 424814"/>
                <a:gd name="connsiteY123" fmla="*/ 32099 h 168973"/>
                <a:gd name="connsiteX124" fmla="*/ 268319 w 424814"/>
                <a:gd name="connsiteY124" fmla="*/ 29337 h 168973"/>
                <a:gd name="connsiteX125" fmla="*/ 269653 w 424814"/>
                <a:gd name="connsiteY125" fmla="*/ 29337 h 168973"/>
                <a:gd name="connsiteX126" fmla="*/ 275273 w 424814"/>
                <a:gd name="connsiteY126" fmla="*/ 27908 h 168973"/>
                <a:gd name="connsiteX127" fmla="*/ 278035 w 424814"/>
                <a:gd name="connsiteY127" fmla="*/ 27908 h 168973"/>
                <a:gd name="connsiteX128" fmla="*/ 282226 w 424814"/>
                <a:gd name="connsiteY128" fmla="*/ 27908 h 168973"/>
                <a:gd name="connsiteX129" fmla="*/ 286417 w 424814"/>
                <a:gd name="connsiteY129" fmla="*/ 27908 h 168973"/>
                <a:gd name="connsiteX130" fmla="*/ 290608 w 424814"/>
                <a:gd name="connsiteY130" fmla="*/ 27908 h 168973"/>
                <a:gd name="connsiteX131" fmla="*/ 293465 w 424814"/>
                <a:gd name="connsiteY131" fmla="*/ 27908 h 168973"/>
                <a:gd name="connsiteX132" fmla="*/ 300419 w 424814"/>
                <a:gd name="connsiteY132" fmla="*/ 27908 h 168973"/>
                <a:gd name="connsiteX133" fmla="*/ 301847 w 424814"/>
                <a:gd name="connsiteY133" fmla="*/ 29337 h 168973"/>
                <a:gd name="connsiteX134" fmla="*/ 304610 w 424814"/>
                <a:gd name="connsiteY134" fmla="*/ 29337 h 168973"/>
                <a:gd name="connsiteX135" fmla="*/ 311563 w 424814"/>
                <a:gd name="connsiteY135" fmla="*/ 32099 h 168973"/>
                <a:gd name="connsiteX136" fmla="*/ 315754 w 424814"/>
                <a:gd name="connsiteY136" fmla="*/ 33528 h 168973"/>
                <a:gd name="connsiteX137" fmla="*/ 319945 w 424814"/>
                <a:gd name="connsiteY137" fmla="*/ 36290 h 168973"/>
                <a:gd name="connsiteX138" fmla="*/ 324136 w 424814"/>
                <a:gd name="connsiteY138" fmla="*/ 37719 h 168973"/>
                <a:gd name="connsiteX139" fmla="*/ 325565 w 424814"/>
                <a:gd name="connsiteY139" fmla="*/ 41910 h 168973"/>
                <a:gd name="connsiteX140" fmla="*/ 329756 w 424814"/>
                <a:gd name="connsiteY140" fmla="*/ 44672 h 168973"/>
                <a:gd name="connsiteX141" fmla="*/ 332518 w 424814"/>
                <a:gd name="connsiteY141" fmla="*/ 48863 h 168973"/>
                <a:gd name="connsiteX142" fmla="*/ 333947 w 424814"/>
                <a:gd name="connsiteY142" fmla="*/ 50292 h 168973"/>
                <a:gd name="connsiteX143" fmla="*/ 333947 w 424814"/>
                <a:gd name="connsiteY143" fmla="*/ 54483 h 168973"/>
                <a:gd name="connsiteX144" fmla="*/ 336709 w 424814"/>
                <a:gd name="connsiteY144" fmla="*/ 60008 h 168973"/>
                <a:gd name="connsiteX145" fmla="*/ 336709 w 424814"/>
                <a:gd name="connsiteY145" fmla="*/ 61436 h 168973"/>
                <a:gd name="connsiteX146" fmla="*/ 338138 w 424814"/>
                <a:gd name="connsiteY146" fmla="*/ 65627 h 168973"/>
                <a:gd name="connsiteX147" fmla="*/ 338138 w 424814"/>
                <a:gd name="connsiteY147" fmla="*/ 68389 h 168973"/>
                <a:gd name="connsiteX148" fmla="*/ 338138 w 424814"/>
                <a:gd name="connsiteY148" fmla="*/ 72581 h 168973"/>
                <a:gd name="connsiteX149" fmla="*/ 338138 w 424814"/>
                <a:gd name="connsiteY149" fmla="*/ 74009 h 168973"/>
                <a:gd name="connsiteX150" fmla="*/ 342329 w 424814"/>
                <a:gd name="connsiteY150" fmla="*/ 69818 h 168973"/>
                <a:gd name="connsiteX151" fmla="*/ 350711 w 424814"/>
                <a:gd name="connsiteY151" fmla="*/ 65627 h 168973"/>
                <a:gd name="connsiteX152" fmla="*/ 352139 w 424814"/>
                <a:gd name="connsiteY152" fmla="*/ 64199 h 168973"/>
                <a:gd name="connsiteX153" fmla="*/ 353568 w 424814"/>
                <a:gd name="connsiteY153" fmla="*/ 61436 h 168973"/>
                <a:gd name="connsiteX154" fmla="*/ 356330 w 424814"/>
                <a:gd name="connsiteY154" fmla="*/ 61436 h 168973"/>
                <a:gd name="connsiteX155" fmla="*/ 357664 w 424814"/>
                <a:gd name="connsiteY155" fmla="*/ 60008 h 168973"/>
                <a:gd name="connsiteX156" fmla="*/ 360521 w 424814"/>
                <a:gd name="connsiteY156" fmla="*/ 60008 h 168973"/>
                <a:gd name="connsiteX157" fmla="*/ 361855 w 424814"/>
                <a:gd name="connsiteY157" fmla="*/ 60008 h 168973"/>
                <a:gd name="connsiteX158" fmla="*/ 366141 w 424814"/>
                <a:gd name="connsiteY158" fmla="*/ 60008 h 168973"/>
                <a:gd name="connsiteX159" fmla="*/ 368903 w 424814"/>
                <a:gd name="connsiteY159" fmla="*/ 60008 h 168973"/>
                <a:gd name="connsiteX160" fmla="*/ 370332 w 424814"/>
                <a:gd name="connsiteY160" fmla="*/ 57245 h 168973"/>
                <a:gd name="connsiteX161" fmla="*/ 374428 w 424814"/>
                <a:gd name="connsiteY161" fmla="*/ 60008 h 168973"/>
                <a:gd name="connsiteX162" fmla="*/ 381476 w 424814"/>
                <a:gd name="connsiteY162" fmla="*/ 60008 h 168973"/>
                <a:gd name="connsiteX163" fmla="*/ 384239 w 424814"/>
                <a:gd name="connsiteY163" fmla="*/ 60008 h 168973"/>
                <a:gd name="connsiteX164" fmla="*/ 388430 w 424814"/>
                <a:gd name="connsiteY164" fmla="*/ 60008 h 168973"/>
                <a:gd name="connsiteX165" fmla="*/ 389858 w 424814"/>
                <a:gd name="connsiteY165" fmla="*/ 61436 h 168973"/>
                <a:gd name="connsiteX166" fmla="*/ 394049 w 424814"/>
                <a:gd name="connsiteY166" fmla="*/ 61436 h 168973"/>
                <a:gd name="connsiteX167" fmla="*/ 396812 w 424814"/>
                <a:gd name="connsiteY167" fmla="*/ 64199 h 168973"/>
                <a:gd name="connsiteX168" fmla="*/ 401003 w 424814"/>
                <a:gd name="connsiteY168" fmla="*/ 65627 h 168973"/>
                <a:gd name="connsiteX169" fmla="*/ 405194 w 424814"/>
                <a:gd name="connsiteY169" fmla="*/ 68389 h 168973"/>
                <a:gd name="connsiteX170" fmla="*/ 406622 w 424814"/>
                <a:gd name="connsiteY170" fmla="*/ 69818 h 168973"/>
                <a:gd name="connsiteX171" fmla="*/ 410813 w 424814"/>
                <a:gd name="connsiteY171" fmla="*/ 74009 h 168973"/>
                <a:gd name="connsiteX172" fmla="*/ 412242 w 424814"/>
                <a:gd name="connsiteY172" fmla="*/ 76772 h 168973"/>
                <a:gd name="connsiteX173" fmla="*/ 417767 w 424814"/>
                <a:gd name="connsiteY173" fmla="*/ 80963 h 168973"/>
                <a:gd name="connsiteX174" fmla="*/ 420624 w 424814"/>
                <a:gd name="connsiteY174" fmla="*/ 85153 h 168973"/>
                <a:gd name="connsiteX175" fmla="*/ 420624 w 424814"/>
                <a:gd name="connsiteY175" fmla="*/ 86582 h 168973"/>
                <a:gd name="connsiteX176" fmla="*/ 421958 w 424814"/>
                <a:gd name="connsiteY176" fmla="*/ 89345 h 168973"/>
                <a:gd name="connsiteX177" fmla="*/ 421958 w 424814"/>
                <a:gd name="connsiteY177" fmla="*/ 90773 h 168973"/>
                <a:gd name="connsiteX178" fmla="*/ 421958 w 424814"/>
                <a:gd name="connsiteY178" fmla="*/ 96298 h 168973"/>
                <a:gd name="connsiteX179" fmla="*/ 424815 w 424814"/>
                <a:gd name="connsiteY179" fmla="*/ 99155 h 168973"/>
                <a:gd name="connsiteX180" fmla="*/ 424815 w 424814"/>
                <a:gd name="connsiteY180" fmla="*/ 100489 h 168973"/>
                <a:gd name="connsiteX181" fmla="*/ 424815 w 424814"/>
                <a:gd name="connsiteY181" fmla="*/ 104680 h 168973"/>
                <a:gd name="connsiteX182" fmla="*/ 424815 w 424814"/>
                <a:gd name="connsiteY182" fmla="*/ 107537 h 168973"/>
                <a:gd name="connsiteX183" fmla="*/ 424815 w 424814"/>
                <a:gd name="connsiteY183" fmla="*/ 111728 h 168973"/>
                <a:gd name="connsiteX184" fmla="*/ 424815 w 424814"/>
                <a:gd name="connsiteY184" fmla="*/ 114490 h 168973"/>
                <a:gd name="connsiteX185" fmla="*/ 424815 w 424814"/>
                <a:gd name="connsiteY185" fmla="*/ 118682 h 168973"/>
                <a:gd name="connsiteX186" fmla="*/ 421958 w 424814"/>
                <a:gd name="connsiteY186" fmla="*/ 122873 h 168973"/>
                <a:gd name="connsiteX187" fmla="*/ 420624 w 424814"/>
                <a:gd name="connsiteY187" fmla="*/ 128492 h 168973"/>
                <a:gd name="connsiteX188" fmla="*/ 417767 w 424814"/>
                <a:gd name="connsiteY188" fmla="*/ 132683 h 168973"/>
                <a:gd name="connsiteX189" fmla="*/ 415004 w 424814"/>
                <a:gd name="connsiteY189" fmla="*/ 136874 h 168973"/>
                <a:gd name="connsiteX190" fmla="*/ 412242 w 424814"/>
                <a:gd name="connsiteY190" fmla="*/ 141065 h 168973"/>
                <a:gd name="connsiteX191" fmla="*/ 410813 w 424814"/>
                <a:gd name="connsiteY191" fmla="*/ 145256 h 168973"/>
                <a:gd name="connsiteX192" fmla="*/ 406622 w 424814"/>
                <a:gd name="connsiteY192" fmla="*/ 148019 h 168973"/>
                <a:gd name="connsiteX193" fmla="*/ 402431 w 424814"/>
                <a:gd name="connsiteY193" fmla="*/ 152210 h 168973"/>
                <a:gd name="connsiteX194" fmla="*/ 398240 w 424814"/>
                <a:gd name="connsiteY194" fmla="*/ 156400 h 168973"/>
                <a:gd name="connsiteX195" fmla="*/ 392621 w 424814"/>
                <a:gd name="connsiteY195" fmla="*/ 157829 h 168973"/>
                <a:gd name="connsiteX196" fmla="*/ 388430 w 424814"/>
                <a:gd name="connsiteY196" fmla="*/ 163354 h 168973"/>
                <a:gd name="connsiteX197" fmla="*/ 381476 w 424814"/>
                <a:gd name="connsiteY197" fmla="*/ 166116 h 168973"/>
                <a:gd name="connsiteX198" fmla="*/ 374428 w 424814"/>
                <a:gd name="connsiteY198" fmla="*/ 168974 h 168973"/>
                <a:gd name="connsiteX199" fmla="*/ 350711 w 424814"/>
                <a:gd name="connsiteY199" fmla="*/ 168974 h 168973"/>
                <a:gd name="connsiteX200" fmla="*/ 306038 w 424814"/>
                <a:gd name="connsiteY200" fmla="*/ 168974 h 168973"/>
                <a:gd name="connsiteX201" fmla="*/ 195644 w 424814"/>
                <a:gd name="connsiteY201" fmla="*/ 168974 h 168973"/>
                <a:gd name="connsiteX202" fmla="*/ 47530 w 424814"/>
                <a:gd name="connsiteY202" fmla="*/ 168974 h 168973"/>
                <a:gd name="connsiteX203" fmla="*/ 47530 w 424814"/>
                <a:gd name="connsiteY203" fmla="*/ 168974 h 168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</a:cxnLst>
              <a:rect l="l" t="t" r="r" b="b"/>
              <a:pathLst>
                <a:path w="424814" h="168973">
                  <a:moveTo>
                    <a:pt x="47530" y="168974"/>
                  </a:moveTo>
                  <a:lnTo>
                    <a:pt x="47530" y="168974"/>
                  </a:lnTo>
                  <a:lnTo>
                    <a:pt x="44672" y="167545"/>
                  </a:lnTo>
                  <a:lnTo>
                    <a:pt x="40481" y="166116"/>
                  </a:lnTo>
                  <a:lnTo>
                    <a:pt x="36290" y="163354"/>
                  </a:lnTo>
                  <a:lnTo>
                    <a:pt x="32099" y="157829"/>
                  </a:lnTo>
                  <a:lnTo>
                    <a:pt x="27908" y="156400"/>
                  </a:lnTo>
                  <a:lnTo>
                    <a:pt x="23717" y="152210"/>
                  </a:lnTo>
                  <a:lnTo>
                    <a:pt x="16764" y="148019"/>
                  </a:lnTo>
                  <a:lnTo>
                    <a:pt x="15335" y="145256"/>
                  </a:lnTo>
                  <a:lnTo>
                    <a:pt x="12573" y="143828"/>
                  </a:lnTo>
                  <a:lnTo>
                    <a:pt x="11144" y="139637"/>
                  </a:lnTo>
                  <a:lnTo>
                    <a:pt x="11144" y="136874"/>
                  </a:lnTo>
                  <a:lnTo>
                    <a:pt x="8382" y="135446"/>
                  </a:lnTo>
                  <a:lnTo>
                    <a:pt x="6953" y="131255"/>
                  </a:lnTo>
                  <a:lnTo>
                    <a:pt x="4191" y="128492"/>
                  </a:lnTo>
                  <a:lnTo>
                    <a:pt x="4191" y="122873"/>
                  </a:lnTo>
                  <a:lnTo>
                    <a:pt x="2762" y="118682"/>
                  </a:lnTo>
                  <a:lnTo>
                    <a:pt x="2762" y="117253"/>
                  </a:lnTo>
                  <a:lnTo>
                    <a:pt x="0" y="113062"/>
                  </a:lnTo>
                  <a:lnTo>
                    <a:pt x="0" y="108871"/>
                  </a:lnTo>
                  <a:lnTo>
                    <a:pt x="0" y="104680"/>
                  </a:lnTo>
                  <a:lnTo>
                    <a:pt x="0" y="100489"/>
                  </a:lnTo>
                  <a:lnTo>
                    <a:pt x="2762" y="96298"/>
                  </a:lnTo>
                  <a:lnTo>
                    <a:pt x="2762" y="89345"/>
                  </a:lnTo>
                  <a:lnTo>
                    <a:pt x="4191" y="85153"/>
                  </a:lnTo>
                  <a:lnTo>
                    <a:pt x="6953" y="80963"/>
                  </a:lnTo>
                  <a:lnTo>
                    <a:pt x="8382" y="78200"/>
                  </a:lnTo>
                  <a:lnTo>
                    <a:pt x="11144" y="74009"/>
                  </a:lnTo>
                  <a:lnTo>
                    <a:pt x="12573" y="72581"/>
                  </a:lnTo>
                  <a:lnTo>
                    <a:pt x="12573" y="69818"/>
                  </a:lnTo>
                  <a:lnTo>
                    <a:pt x="16764" y="68389"/>
                  </a:lnTo>
                  <a:lnTo>
                    <a:pt x="19526" y="64199"/>
                  </a:lnTo>
                  <a:lnTo>
                    <a:pt x="20955" y="64199"/>
                  </a:lnTo>
                  <a:lnTo>
                    <a:pt x="23717" y="61436"/>
                  </a:lnTo>
                  <a:lnTo>
                    <a:pt x="25146" y="60008"/>
                  </a:lnTo>
                  <a:lnTo>
                    <a:pt x="30766" y="60008"/>
                  </a:lnTo>
                  <a:lnTo>
                    <a:pt x="32099" y="57245"/>
                  </a:lnTo>
                  <a:lnTo>
                    <a:pt x="34957" y="57245"/>
                  </a:lnTo>
                  <a:lnTo>
                    <a:pt x="36290" y="57245"/>
                  </a:lnTo>
                  <a:lnTo>
                    <a:pt x="40481" y="54483"/>
                  </a:lnTo>
                  <a:lnTo>
                    <a:pt x="43339" y="54483"/>
                  </a:lnTo>
                  <a:lnTo>
                    <a:pt x="44672" y="54483"/>
                  </a:lnTo>
                  <a:lnTo>
                    <a:pt x="51721" y="54483"/>
                  </a:lnTo>
                  <a:lnTo>
                    <a:pt x="54483" y="57245"/>
                  </a:lnTo>
                  <a:lnTo>
                    <a:pt x="62865" y="57245"/>
                  </a:lnTo>
                  <a:lnTo>
                    <a:pt x="67056" y="60008"/>
                  </a:lnTo>
                  <a:lnTo>
                    <a:pt x="71247" y="60008"/>
                  </a:lnTo>
                  <a:lnTo>
                    <a:pt x="72676" y="61436"/>
                  </a:lnTo>
                  <a:lnTo>
                    <a:pt x="72676" y="60008"/>
                  </a:lnTo>
                  <a:lnTo>
                    <a:pt x="75438" y="54483"/>
                  </a:lnTo>
                  <a:lnTo>
                    <a:pt x="75438" y="53054"/>
                  </a:lnTo>
                  <a:lnTo>
                    <a:pt x="75438" y="48863"/>
                  </a:lnTo>
                  <a:lnTo>
                    <a:pt x="76867" y="46101"/>
                  </a:lnTo>
                  <a:lnTo>
                    <a:pt x="79629" y="44672"/>
                  </a:lnTo>
                  <a:lnTo>
                    <a:pt x="79629" y="41910"/>
                  </a:lnTo>
                  <a:lnTo>
                    <a:pt x="81058" y="40481"/>
                  </a:lnTo>
                  <a:lnTo>
                    <a:pt x="83820" y="37719"/>
                  </a:lnTo>
                  <a:lnTo>
                    <a:pt x="85249" y="36290"/>
                  </a:lnTo>
                  <a:lnTo>
                    <a:pt x="86678" y="33528"/>
                  </a:lnTo>
                  <a:lnTo>
                    <a:pt x="89440" y="32099"/>
                  </a:lnTo>
                  <a:lnTo>
                    <a:pt x="90869" y="29337"/>
                  </a:lnTo>
                  <a:lnTo>
                    <a:pt x="95059" y="29337"/>
                  </a:lnTo>
                  <a:lnTo>
                    <a:pt x="99251" y="29337"/>
                  </a:lnTo>
                  <a:lnTo>
                    <a:pt x="103442" y="27908"/>
                  </a:lnTo>
                  <a:lnTo>
                    <a:pt x="104775" y="27908"/>
                  </a:lnTo>
                  <a:lnTo>
                    <a:pt x="108966" y="27908"/>
                  </a:lnTo>
                  <a:lnTo>
                    <a:pt x="111824" y="27908"/>
                  </a:lnTo>
                  <a:lnTo>
                    <a:pt x="113157" y="29337"/>
                  </a:lnTo>
                  <a:lnTo>
                    <a:pt x="114586" y="29337"/>
                  </a:lnTo>
                  <a:lnTo>
                    <a:pt x="118777" y="29337"/>
                  </a:lnTo>
                  <a:lnTo>
                    <a:pt x="121539" y="32099"/>
                  </a:lnTo>
                  <a:lnTo>
                    <a:pt x="122968" y="32099"/>
                  </a:lnTo>
                  <a:lnTo>
                    <a:pt x="125730" y="33528"/>
                  </a:lnTo>
                  <a:lnTo>
                    <a:pt x="129921" y="36290"/>
                  </a:lnTo>
                  <a:lnTo>
                    <a:pt x="131350" y="37719"/>
                  </a:lnTo>
                  <a:lnTo>
                    <a:pt x="131350" y="36290"/>
                  </a:lnTo>
                  <a:lnTo>
                    <a:pt x="135541" y="32099"/>
                  </a:lnTo>
                  <a:lnTo>
                    <a:pt x="136970" y="29337"/>
                  </a:lnTo>
                  <a:lnTo>
                    <a:pt x="139732" y="27908"/>
                  </a:lnTo>
                  <a:lnTo>
                    <a:pt x="141161" y="22289"/>
                  </a:lnTo>
                  <a:lnTo>
                    <a:pt x="145352" y="18097"/>
                  </a:lnTo>
                  <a:lnTo>
                    <a:pt x="146685" y="15335"/>
                  </a:lnTo>
                  <a:lnTo>
                    <a:pt x="150876" y="11144"/>
                  </a:lnTo>
                  <a:lnTo>
                    <a:pt x="155067" y="9716"/>
                  </a:lnTo>
                  <a:lnTo>
                    <a:pt x="159258" y="6953"/>
                  </a:lnTo>
                  <a:lnTo>
                    <a:pt x="162116" y="5620"/>
                  </a:lnTo>
                  <a:lnTo>
                    <a:pt x="163449" y="2762"/>
                  </a:lnTo>
                  <a:lnTo>
                    <a:pt x="166306" y="2762"/>
                  </a:lnTo>
                  <a:lnTo>
                    <a:pt x="171831" y="1429"/>
                  </a:lnTo>
                  <a:lnTo>
                    <a:pt x="174689" y="1429"/>
                  </a:lnTo>
                  <a:lnTo>
                    <a:pt x="177451" y="1429"/>
                  </a:lnTo>
                  <a:lnTo>
                    <a:pt x="181642" y="1429"/>
                  </a:lnTo>
                  <a:lnTo>
                    <a:pt x="185833" y="0"/>
                  </a:lnTo>
                  <a:lnTo>
                    <a:pt x="187262" y="0"/>
                  </a:lnTo>
                  <a:lnTo>
                    <a:pt x="191453" y="0"/>
                  </a:lnTo>
                  <a:lnTo>
                    <a:pt x="195644" y="0"/>
                  </a:lnTo>
                  <a:lnTo>
                    <a:pt x="199835" y="1429"/>
                  </a:lnTo>
                  <a:lnTo>
                    <a:pt x="202597" y="1429"/>
                  </a:lnTo>
                  <a:lnTo>
                    <a:pt x="206788" y="1429"/>
                  </a:lnTo>
                  <a:lnTo>
                    <a:pt x="209550" y="2762"/>
                  </a:lnTo>
                  <a:lnTo>
                    <a:pt x="213836" y="2762"/>
                  </a:lnTo>
                  <a:lnTo>
                    <a:pt x="215170" y="5620"/>
                  </a:lnTo>
                  <a:lnTo>
                    <a:pt x="218027" y="5620"/>
                  </a:lnTo>
                  <a:lnTo>
                    <a:pt x="222123" y="6953"/>
                  </a:lnTo>
                  <a:lnTo>
                    <a:pt x="223552" y="9716"/>
                  </a:lnTo>
                  <a:lnTo>
                    <a:pt x="226409" y="9716"/>
                  </a:lnTo>
                  <a:lnTo>
                    <a:pt x="230505" y="14002"/>
                  </a:lnTo>
                  <a:lnTo>
                    <a:pt x="231934" y="15335"/>
                  </a:lnTo>
                  <a:lnTo>
                    <a:pt x="236125" y="19526"/>
                  </a:lnTo>
                  <a:lnTo>
                    <a:pt x="237554" y="23717"/>
                  </a:lnTo>
                  <a:lnTo>
                    <a:pt x="241744" y="29337"/>
                  </a:lnTo>
                  <a:lnTo>
                    <a:pt x="243173" y="32099"/>
                  </a:lnTo>
                  <a:lnTo>
                    <a:pt x="245936" y="36290"/>
                  </a:lnTo>
                  <a:lnTo>
                    <a:pt x="245936" y="40481"/>
                  </a:lnTo>
                  <a:lnTo>
                    <a:pt x="245936" y="41910"/>
                  </a:lnTo>
                  <a:lnTo>
                    <a:pt x="245936" y="46101"/>
                  </a:lnTo>
                  <a:lnTo>
                    <a:pt x="247364" y="41910"/>
                  </a:lnTo>
                  <a:lnTo>
                    <a:pt x="251555" y="40481"/>
                  </a:lnTo>
                  <a:lnTo>
                    <a:pt x="254318" y="37719"/>
                  </a:lnTo>
                  <a:lnTo>
                    <a:pt x="255746" y="36290"/>
                  </a:lnTo>
                  <a:lnTo>
                    <a:pt x="258509" y="33528"/>
                  </a:lnTo>
                  <a:lnTo>
                    <a:pt x="261271" y="32099"/>
                  </a:lnTo>
                  <a:lnTo>
                    <a:pt x="264128" y="32099"/>
                  </a:lnTo>
                  <a:lnTo>
                    <a:pt x="268319" y="29337"/>
                  </a:lnTo>
                  <a:lnTo>
                    <a:pt x="269653" y="29337"/>
                  </a:lnTo>
                  <a:lnTo>
                    <a:pt x="275273" y="27908"/>
                  </a:lnTo>
                  <a:lnTo>
                    <a:pt x="278035" y="27908"/>
                  </a:lnTo>
                  <a:lnTo>
                    <a:pt x="282226" y="27908"/>
                  </a:lnTo>
                  <a:lnTo>
                    <a:pt x="286417" y="27908"/>
                  </a:lnTo>
                  <a:lnTo>
                    <a:pt x="290608" y="27908"/>
                  </a:lnTo>
                  <a:lnTo>
                    <a:pt x="293465" y="27908"/>
                  </a:lnTo>
                  <a:lnTo>
                    <a:pt x="300419" y="27908"/>
                  </a:lnTo>
                  <a:lnTo>
                    <a:pt x="301847" y="29337"/>
                  </a:lnTo>
                  <a:lnTo>
                    <a:pt x="304610" y="29337"/>
                  </a:lnTo>
                  <a:lnTo>
                    <a:pt x="311563" y="32099"/>
                  </a:lnTo>
                  <a:lnTo>
                    <a:pt x="315754" y="33528"/>
                  </a:lnTo>
                  <a:lnTo>
                    <a:pt x="319945" y="36290"/>
                  </a:lnTo>
                  <a:lnTo>
                    <a:pt x="324136" y="37719"/>
                  </a:lnTo>
                  <a:lnTo>
                    <a:pt x="325565" y="41910"/>
                  </a:lnTo>
                  <a:lnTo>
                    <a:pt x="329756" y="44672"/>
                  </a:lnTo>
                  <a:lnTo>
                    <a:pt x="332518" y="48863"/>
                  </a:lnTo>
                  <a:lnTo>
                    <a:pt x="333947" y="50292"/>
                  </a:lnTo>
                  <a:lnTo>
                    <a:pt x="333947" y="54483"/>
                  </a:lnTo>
                  <a:lnTo>
                    <a:pt x="336709" y="60008"/>
                  </a:lnTo>
                  <a:lnTo>
                    <a:pt x="336709" y="61436"/>
                  </a:lnTo>
                  <a:lnTo>
                    <a:pt x="338138" y="65627"/>
                  </a:lnTo>
                  <a:lnTo>
                    <a:pt x="338138" y="68389"/>
                  </a:lnTo>
                  <a:lnTo>
                    <a:pt x="338138" y="72581"/>
                  </a:lnTo>
                  <a:lnTo>
                    <a:pt x="338138" y="74009"/>
                  </a:lnTo>
                  <a:lnTo>
                    <a:pt x="342329" y="69818"/>
                  </a:lnTo>
                  <a:lnTo>
                    <a:pt x="350711" y="65627"/>
                  </a:lnTo>
                  <a:lnTo>
                    <a:pt x="352139" y="64199"/>
                  </a:lnTo>
                  <a:lnTo>
                    <a:pt x="353568" y="61436"/>
                  </a:lnTo>
                  <a:lnTo>
                    <a:pt x="356330" y="61436"/>
                  </a:lnTo>
                  <a:lnTo>
                    <a:pt x="357664" y="60008"/>
                  </a:lnTo>
                  <a:lnTo>
                    <a:pt x="360521" y="60008"/>
                  </a:lnTo>
                  <a:lnTo>
                    <a:pt x="361855" y="60008"/>
                  </a:lnTo>
                  <a:lnTo>
                    <a:pt x="366141" y="60008"/>
                  </a:lnTo>
                  <a:lnTo>
                    <a:pt x="368903" y="60008"/>
                  </a:lnTo>
                  <a:lnTo>
                    <a:pt x="370332" y="57245"/>
                  </a:lnTo>
                  <a:lnTo>
                    <a:pt x="374428" y="60008"/>
                  </a:lnTo>
                  <a:lnTo>
                    <a:pt x="381476" y="60008"/>
                  </a:lnTo>
                  <a:lnTo>
                    <a:pt x="384239" y="60008"/>
                  </a:lnTo>
                  <a:lnTo>
                    <a:pt x="388430" y="60008"/>
                  </a:lnTo>
                  <a:lnTo>
                    <a:pt x="389858" y="61436"/>
                  </a:lnTo>
                  <a:lnTo>
                    <a:pt x="394049" y="61436"/>
                  </a:lnTo>
                  <a:lnTo>
                    <a:pt x="396812" y="64199"/>
                  </a:lnTo>
                  <a:lnTo>
                    <a:pt x="401003" y="65627"/>
                  </a:lnTo>
                  <a:lnTo>
                    <a:pt x="405194" y="68389"/>
                  </a:lnTo>
                  <a:lnTo>
                    <a:pt x="406622" y="69818"/>
                  </a:lnTo>
                  <a:lnTo>
                    <a:pt x="410813" y="74009"/>
                  </a:lnTo>
                  <a:lnTo>
                    <a:pt x="412242" y="76772"/>
                  </a:lnTo>
                  <a:lnTo>
                    <a:pt x="417767" y="80963"/>
                  </a:lnTo>
                  <a:lnTo>
                    <a:pt x="420624" y="85153"/>
                  </a:lnTo>
                  <a:lnTo>
                    <a:pt x="420624" y="86582"/>
                  </a:lnTo>
                  <a:lnTo>
                    <a:pt x="421958" y="89345"/>
                  </a:lnTo>
                  <a:lnTo>
                    <a:pt x="421958" y="90773"/>
                  </a:lnTo>
                  <a:lnTo>
                    <a:pt x="421958" y="96298"/>
                  </a:lnTo>
                  <a:lnTo>
                    <a:pt x="424815" y="99155"/>
                  </a:lnTo>
                  <a:lnTo>
                    <a:pt x="424815" y="100489"/>
                  </a:lnTo>
                  <a:lnTo>
                    <a:pt x="424815" y="104680"/>
                  </a:lnTo>
                  <a:lnTo>
                    <a:pt x="424815" y="107537"/>
                  </a:lnTo>
                  <a:lnTo>
                    <a:pt x="424815" y="111728"/>
                  </a:lnTo>
                  <a:lnTo>
                    <a:pt x="424815" y="114490"/>
                  </a:lnTo>
                  <a:lnTo>
                    <a:pt x="424815" y="118682"/>
                  </a:lnTo>
                  <a:lnTo>
                    <a:pt x="421958" y="122873"/>
                  </a:lnTo>
                  <a:lnTo>
                    <a:pt x="420624" y="128492"/>
                  </a:lnTo>
                  <a:lnTo>
                    <a:pt x="417767" y="132683"/>
                  </a:lnTo>
                  <a:lnTo>
                    <a:pt x="415004" y="136874"/>
                  </a:lnTo>
                  <a:lnTo>
                    <a:pt x="412242" y="141065"/>
                  </a:lnTo>
                  <a:lnTo>
                    <a:pt x="410813" y="145256"/>
                  </a:lnTo>
                  <a:lnTo>
                    <a:pt x="406622" y="148019"/>
                  </a:lnTo>
                  <a:lnTo>
                    <a:pt x="402431" y="152210"/>
                  </a:lnTo>
                  <a:lnTo>
                    <a:pt x="398240" y="156400"/>
                  </a:lnTo>
                  <a:lnTo>
                    <a:pt x="392621" y="157829"/>
                  </a:lnTo>
                  <a:lnTo>
                    <a:pt x="388430" y="163354"/>
                  </a:lnTo>
                  <a:lnTo>
                    <a:pt x="381476" y="166116"/>
                  </a:lnTo>
                  <a:lnTo>
                    <a:pt x="374428" y="168974"/>
                  </a:lnTo>
                  <a:lnTo>
                    <a:pt x="350711" y="168974"/>
                  </a:lnTo>
                  <a:lnTo>
                    <a:pt x="306038" y="168974"/>
                  </a:lnTo>
                  <a:lnTo>
                    <a:pt x="195644" y="168974"/>
                  </a:lnTo>
                  <a:lnTo>
                    <a:pt x="47530" y="168974"/>
                  </a:lnTo>
                  <a:lnTo>
                    <a:pt x="47530" y="1689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7" name="Freihandform: Form 13">
              <a:extLst>
                <a:ext uri="{FF2B5EF4-FFF2-40B4-BE49-F238E27FC236}">
                  <a16:creationId xmlns:a16="http://schemas.microsoft.com/office/drawing/2014/main" id="{B806C902-E7A6-4288-8C85-87919E580E13}"/>
                </a:ext>
              </a:extLst>
            </p:cNvPr>
            <p:cNvSpPr/>
            <p:nvPr/>
          </p:nvSpPr>
          <p:spPr>
            <a:xfrm>
              <a:off x="2126897" y="3272955"/>
              <a:ext cx="463962" cy="182880"/>
            </a:xfrm>
            <a:custGeom>
              <a:avLst/>
              <a:gdLst>
                <a:gd name="connsiteX0" fmla="*/ 416433 w 463962"/>
                <a:gd name="connsiteY0" fmla="*/ 64198 h 182880"/>
                <a:gd name="connsiteX1" fmla="*/ 416433 w 463962"/>
                <a:gd name="connsiteY1" fmla="*/ 64198 h 182880"/>
                <a:gd name="connsiteX2" fmla="*/ 408051 w 463962"/>
                <a:gd name="connsiteY2" fmla="*/ 61436 h 182880"/>
                <a:gd name="connsiteX3" fmla="*/ 406622 w 463962"/>
                <a:gd name="connsiteY3" fmla="*/ 61436 h 182880"/>
                <a:gd name="connsiteX4" fmla="*/ 402431 w 463962"/>
                <a:gd name="connsiteY4" fmla="*/ 61436 h 182880"/>
                <a:gd name="connsiteX5" fmla="*/ 399669 w 463962"/>
                <a:gd name="connsiteY5" fmla="*/ 61436 h 182880"/>
                <a:gd name="connsiteX6" fmla="*/ 398240 w 463962"/>
                <a:gd name="connsiteY6" fmla="*/ 64198 h 182880"/>
                <a:gd name="connsiteX7" fmla="*/ 394049 w 463962"/>
                <a:gd name="connsiteY7" fmla="*/ 64198 h 182880"/>
                <a:gd name="connsiteX8" fmla="*/ 392716 w 463962"/>
                <a:gd name="connsiteY8" fmla="*/ 64198 h 182880"/>
                <a:gd name="connsiteX9" fmla="*/ 389858 w 463962"/>
                <a:gd name="connsiteY9" fmla="*/ 65627 h 182880"/>
                <a:gd name="connsiteX10" fmla="*/ 388525 w 463962"/>
                <a:gd name="connsiteY10" fmla="*/ 65627 h 182880"/>
                <a:gd name="connsiteX11" fmla="*/ 384334 w 463962"/>
                <a:gd name="connsiteY11" fmla="*/ 68390 h 182880"/>
                <a:gd name="connsiteX12" fmla="*/ 380143 w 463962"/>
                <a:gd name="connsiteY12" fmla="*/ 69818 h 182880"/>
                <a:gd name="connsiteX13" fmla="*/ 375952 w 463962"/>
                <a:gd name="connsiteY13" fmla="*/ 74009 h 182880"/>
                <a:gd name="connsiteX14" fmla="*/ 370332 w 463962"/>
                <a:gd name="connsiteY14" fmla="*/ 78200 h 182880"/>
                <a:gd name="connsiteX15" fmla="*/ 370332 w 463962"/>
                <a:gd name="connsiteY15" fmla="*/ 76772 h 182880"/>
                <a:gd name="connsiteX16" fmla="*/ 370332 w 463962"/>
                <a:gd name="connsiteY16" fmla="*/ 72581 h 182880"/>
                <a:gd name="connsiteX17" fmla="*/ 370332 w 463962"/>
                <a:gd name="connsiteY17" fmla="*/ 69818 h 182880"/>
                <a:gd name="connsiteX18" fmla="*/ 368903 w 463962"/>
                <a:gd name="connsiteY18" fmla="*/ 65627 h 182880"/>
                <a:gd name="connsiteX19" fmla="*/ 368903 w 463962"/>
                <a:gd name="connsiteY19" fmla="*/ 61436 h 182880"/>
                <a:gd name="connsiteX20" fmla="*/ 366141 w 463962"/>
                <a:gd name="connsiteY20" fmla="*/ 60008 h 182880"/>
                <a:gd name="connsiteX21" fmla="*/ 364712 w 463962"/>
                <a:gd name="connsiteY21" fmla="*/ 55817 h 182880"/>
                <a:gd name="connsiteX22" fmla="*/ 361950 w 463962"/>
                <a:gd name="connsiteY22" fmla="*/ 50292 h 182880"/>
                <a:gd name="connsiteX23" fmla="*/ 360521 w 463962"/>
                <a:gd name="connsiteY23" fmla="*/ 46101 h 182880"/>
                <a:gd name="connsiteX24" fmla="*/ 357759 w 463962"/>
                <a:gd name="connsiteY24" fmla="*/ 44672 h 182880"/>
                <a:gd name="connsiteX25" fmla="*/ 353568 w 463962"/>
                <a:gd name="connsiteY25" fmla="*/ 40481 h 182880"/>
                <a:gd name="connsiteX26" fmla="*/ 349377 w 463962"/>
                <a:gd name="connsiteY26" fmla="*/ 37719 h 182880"/>
                <a:gd name="connsiteX27" fmla="*/ 343757 w 463962"/>
                <a:gd name="connsiteY27" fmla="*/ 33528 h 182880"/>
                <a:gd name="connsiteX28" fmla="*/ 342424 w 463962"/>
                <a:gd name="connsiteY28" fmla="*/ 33528 h 182880"/>
                <a:gd name="connsiteX29" fmla="*/ 339566 w 463962"/>
                <a:gd name="connsiteY29" fmla="*/ 32099 h 182880"/>
                <a:gd name="connsiteX30" fmla="*/ 336804 w 463962"/>
                <a:gd name="connsiteY30" fmla="*/ 32099 h 182880"/>
                <a:gd name="connsiteX31" fmla="*/ 333947 w 463962"/>
                <a:gd name="connsiteY31" fmla="*/ 29337 h 182880"/>
                <a:gd name="connsiteX32" fmla="*/ 329851 w 463962"/>
                <a:gd name="connsiteY32" fmla="*/ 29337 h 182880"/>
                <a:gd name="connsiteX33" fmla="*/ 328422 w 463962"/>
                <a:gd name="connsiteY33" fmla="*/ 29337 h 182880"/>
                <a:gd name="connsiteX34" fmla="*/ 321374 w 463962"/>
                <a:gd name="connsiteY34" fmla="*/ 29337 h 182880"/>
                <a:gd name="connsiteX35" fmla="*/ 317183 w 463962"/>
                <a:gd name="connsiteY35" fmla="*/ 27908 h 182880"/>
                <a:gd name="connsiteX36" fmla="*/ 313087 w 463962"/>
                <a:gd name="connsiteY36" fmla="*/ 27908 h 182880"/>
                <a:gd name="connsiteX37" fmla="*/ 308800 w 463962"/>
                <a:gd name="connsiteY37" fmla="*/ 27908 h 182880"/>
                <a:gd name="connsiteX38" fmla="*/ 304610 w 463962"/>
                <a:gd name="connsiteY38" fmla="*/ 27908 h 182880"/>
                <a:gd name="connsiteX39" fmla="*/ 300514 w 463962"/>
                <a:gd name="connsiteY39" fmla="*/ 29337 h 182880"/>
                <a:gd name="connsiteX40" fmla="*/ 296228 w 463962"/>
                <a:gd name="connsiteY40" fmla="*/ 29337 h 182880"/>
                <a:gd name="connsiteX41" fmla="*/ 292037 w 463962"/>
                <a:gd name="connsiteY41" fmla="*/ 32099 h 182880"/>
                <a:gd name="connsiteX42" fmla="*/ 289274 w 463962"/>
                <a:gd name="connsiteY42" fmla="*/ 32099 h 182880"/>
                <a:gd name="connsiteX43" fmla="*/ 285083 w 463962"/>
                <a:gd name="connsiteY43" fmla="*/ 33528 h 182880"/>
                <a:gd name="connsiteX44" fmla="*/ 283655 w 463962"/>
                <a:gd name="connsiteY44" fmla="*/ 36290 h 182880"/>
                <a:gd name="connsiteX45" fmla="*/ 279464 w 463962"/>
                <a:gd name="connsiteY45" fmla="*/ 37719 h 182880"/>
                <a:gd name="connsiteX46" fmla="*/ 278130 w 463962"/>
                <a:gd name="connsiteY46" fmla="*/ 40481 h 182880"/>
                <a:gd name="connsiteX47" fmla="*/ 273939 w 463962"/>
                <a:gd name="connsiteY47" fmla="*/ 41910 h 182880"/>
                <a:gd name="connsiteX48" fmla="*/ 269748 w 463962"/>
                <a:gd name="connsiteY48" fmla="*/ 44672 h 182880"/>
                <a:gd name="connsiteX49" fmla="*/ 268319 w 463962"/>
                <a:gd name="connsiteY49" fmla="*/ 48863 h 182880"/>
                <a:gd name="connsiteX50" fmla="*/ 268319 w 463962"/>
                <a:gd name="connsiteY50" fmla="*/ 44672 h 182880"/>
                <a:gd name="connsiteX51" fmla="*/ 268319 w 463962"/>
                <a:gd name="connsiteY51" fmla="*/ 41910 h 182880"/>
                <a:gd name="connsiteX52" fmla="*/ 265557 w 463962"/>
                <a:gd name="connsiteY52" fmla="*/ 37719 h 182880"/>
                <a:gd name="connsiteX53" fmla="*/ 265557 w 463962"/>
                <a:gd name="connsiteY53" fmla="*/ 33528 h 182880"/>
                <a:gd name="connsiteX54" fmla="*/ 264128 w 463962"/>
                <a:gd name="connsiteY54" fmla="*/ 29337 h 182880"/>
                <a:gd name="connsiteX55" fmla="*/ 261366 w 463962"/>
                <a:gd name="connsiteY55" fmla="*/ 25146 h 182880"/>
                <a:gd name="connsiteX56" fmla="*/ 257175 w 463962"/>
                <a:gd name="connsiteY56" fmla="*/ 19526 h 182880"/>
                <a:gd name="connsiteX57" fmla="*/ 255746 w 463962"/>
                <a:gd name="connsiteY57" fmla="*/ 18193 h 182880"/>
                <a:gd name="connsiteX58" fmla="*/ 251555 w 463962"/>
                <a:gd name="connsiteY58" fmla="*/ 14002 h 182880"/>
                <a:gd name="connsiteX59" fmla="*/ 250127 w 463962"/>
                <a:gd name="connsiteY59" fmla="*/ 11144 h 182880"/>
                <a:gd name="connsiteX60" fmla="*/ 247364 w 463962"/>
                <a:gd name="connsiteY60" fmla="*/ 9811 h 182880"/>
                <a:gd name="connsiteX61" fmla="*/ 243173 w 463962"/>
                <a:gd name="connsiteY61" fmla="*/ 6953 h 182880"/>
                <a:gd name="connsiteX62" fmla="*/ 241744 w 463962"/>
                <a:gd name="connsiteY62" fmla="*/ 6953 h 182880"/>
                <a:gd name="connsiteX63" fmla="*/ 237554 w 463962"/>
                <a:gd name="connsiteY63" fmla="*/ 5620 h 182880"/>
                <a:gd name="connsiteX64" fmla="*/ 233363 w 463962"/>
                <a:gd name="connsiteY64" fmla="*/ 2762 h 182880"/>
                <a:gd name="connsiteX65" fmla="*/ 232029 w 463962"/>
                <a:gd name="connsiteY65" fmla="*/ 2762 h 182880"/>
                <a:gd name="connsiteX66" fmla="*/ 229172 w 463962"/>
                <a:gd name="connsiteY66" fmla="*/ 1429 h 182880"/>
                <a:gd name="connsiteX67" fmla="*/ 224981 w 463962"/>
                <a:gd name="connsiteY67" fmla="*/ 1429 h 182880"/>
                <a:gd name="connsiteX68" fmla="*/ 220790 w 463962"/>
                <a:gd name="connsiteY68" fmla="*/ 0 h 182880"/>
                <a:gd name="connsiteX69" fmla="*/ 218027 w 463962"/>
                <a:gd name="connsiteY69" fmla="*/ 0 h 182880"/>
                <a:gd name="connsiteX70" fmla="*/ 215265 w 463962"/>
                <a:gd name="connsiteY70" fmla="*/ 0 h 182880"/>
                <a:gd name="connsiteX71" fmla="*/ 211074 w 463962"/>
                <a:gd name="connsiteY71" fmla="*/ 0 h 182880"/>
                <a:gd name="connsiteX72" fmla="*/ 206883 w 463962"/>
                <a:gd name="connsiteY72" fmla="*/ 0 h 182880"/>
                <a:gd name="connsiteX73" fmla="*/ 201263 w 463962"/>
                <a:gd name="connsiteY73" fmla="*/ 0 h 182880"/>
                <a:gd name="connsiteX74" fmla="*/ 197072 w 463962"/>
                <a:gd name="connsiteY74" fmla="*/ 0 h 182880"/>
                <a:gd name="connsiteX75" fmla="*/ 192881 w 463962"/>
                <a:gd name="connsiteY75" fmla="*/ 0 h 182880"/>
                <a:gd name="connsiteX76" fmla="*/ 190024 w 463962"/>
                <a:gd name="connsiteY76" fmla="*/ 0 h 182880"/>
                <a:gd name="connsiteX77" fmla="*/ 185928 w 463962"/>
                <a:gd name="connsiteY77" fmla="*/ 1429 h 182880"/>
                <a:gd name="connsiteX78" fmla="*/ 183071 w 463962"/>
                <a:gd name="connsiteY78" fmla="*/ 1429 h 182880"/>
                <a:gd name="connsiteX79" fmla="*/ 178880 w 463962"/>
                <a:gd name="connsiteY79" fmla="*/ 2762 h 182880"/>
                <a:gd name="connsiteX80" fmla="*/ 177546 w 463962"/>
                <a:gd name="connsiteY80" fmla="*/ 5620 h 182880"/>
                <a:gd name="connsiteX81" fmla="*/ 173355 w 463962"/>
                <a:gd name="connsiteY81" fmla="*/ 5620 h 182880"/>
                <a:gd name="connsiteX82" fmla="*/ 170498 w 463962"/>
                <a:gd name="connsiteY82" fmla="*/ 6953 h 182880"/>
                <a:gd name="connsiteX83" fmla="*/ 167735 w 463962"/>
                <a:gd name="connsiteY83" fmla="*/ 9811 h 182880"/>
                <a:gd name="connsiteX84" fmla="*/ 164973 w 463962"/>
                <a:gd name="connsiteY84" fmla="*/ 11144 h 182880"/>
                <a:gd name="connsiteX85" fmla="*/ 162116 w 463962"/>
                <a:gd name="connsiteY85" fmla="*/ 15335 h 182880"/>
                <a:gd name="connsiteX86" fmla="*/ 157925 w 463962"/>
                <a:gd name="connsiteY86" fmla="*/ 18193 h 182880"/>
                <a:gd name="connsiteX87" fmla="*/ 153734 w 463962"/>
                <a:gd name="connsiteY87" fmla="*/ 23717 h 182880"/>
                <a:gd name="connsiteX88" fmla="*/ 150971 w 463962"/>
                <a:gd name="connsiteY88" fmla="*/ 27908 h 182880"/>
                <a:gd name="connsiteX89" fmla="*/ 149543 w 463962"/>
                <a:gd name="connsiteY89" fmla="*/ 32099 h 182880"/>
                <a:gd name="connsiteX90" fmla="*/ 146780 w 463962"/>
                <a:gd name="connsiteY90" fmla="*/ 33528 h 182880"/>
                <a:gd name="connsiteX91" fmla="*/ 145352 w 463962"/>
                <a:gd name="connsiteY91" fmla="*/ 37719 h 182880"/>
                <a:gd name="connsiteX92" fmla="*/ 142589 w 463962"/>
                <a:gd name="connsiteY92" fmla="*/ 40481 h 182880"/>
                <a:gd name="connsiteX93" fmla="*/ 141161 w 463962"/>
                <a:gd name="connsiteY93" fmla="*/ 37719 h 182880"/>
                <a:gd name="connsiteX94" fmla="*/ 138398 w 463962"/>
                <a:gd name="connsiteY94" fmla="*/ 36290 h 182880"/>
                <a:gd name="connsiteX95" fmla="*/ 132779 w 463962"/>
                <a:gd name="connsiteY95" fmla="*/ 33528 h 182880"/>
                <a:gd name="connsiteX96" fmla="*/ 131350 w 463962"/>
                <a:gd name="connsiteY96" fmla="*/ 33528 h 182880"/>
                <a:gd name="connsiteX97" fmla="*/ 130016 w 463962"/>
                <a:gd name="connsiteY97" fmla="*/ 32099 h 182880"/>
                <a:gd name="connsiteX98" fmla="*/ 125825 w 463962"/>
                <a:gd name="connsiteY98" fmla="*/ 29337 h 182880"/>
                <a:gd name="connsiteX99" fmla="*/ 122968 w 463962"/>
                <a:gd name="connsiteY99" fmla="*/ 29337 h 182880"/>
                <a:gd name="connsiteX100" fmla="*/ 121634 w 463962"/>
                <a:gd name="connsiteY100" fmla="*/ 29337 h 182880"/>
                <a:gd name="connsiteX101" fmla="*/ 117443 w 463962"/>
                <a:gd name="connsiteY101" fmla="*/ 29337 h 182880"/>
                <a:gd name="connsiteX102" fmla="*/ 114586 w 463962"/>
                <a:gd name="connsiteY102" fmla="*/ 29337 h 182880"/>
                <a:gd name="connsiteX103" fmla="*/ 110395 w 463962"/>
                <a:gd name="connsiteY103" fmla="*/ 29337 h 182880"/>
                <a:gd name="connsiteX104" fmla="*/ 106204 w 463962"/>
                <a:gd name="connsiteY104" fmla="*/ 29337 h 182880"/>
                <a:gd name="connsiteX105" fmla="*/ 104870 w 463962"/>
                <a:gd name="connsiteY105" fmla="*/ 29337 h 182880"/>
                <a:gd name="connsiteX106" fmla="*/ 100679 w 463962"/>
                <a:gd name="connsiteY106" fmla="*/ 32099 h 182880"/>
                <a:gd name="connsiteX107" fmla="*/ 99251 w 463962"/>
                <a:gd name="connsiteY107" fmla="*/ 33528 h 182880"/>
                <a:gd name="connsiteX108" fmla="*/ 95059 w 463962"/>
                <a:gd name="connsiteY108" fmla="*/ 36290 h 182880"/>
                <a:gd name="connsiteX109" fmla="*/ 90869 w 463962"/>
                <a:gd name="connsiteY109" fmla="*/ 36290 h 182880"/>
                <a:gd name="connsiteX110" fmla="*/ 89440 w 463962"/>
                <a:gd name="connsiteY110" fmla="*/ 37719 h 182880"/>
                <a:gd name="connsiteX111" fmla="*/ 86678 w 463962"/>
                <a:gd name="connsiteY111" fmla="*/ 40481 h 182880"/>
                <a:gd name="connsiteX112" fmla="*/ 86678 w 463962"/>
                <a:gd name="connsiteY112" fmla="*/ 44672 h 182880"/>
                <a:gd name="connsiteX113" fmla="*/ 85249 w 463962"/>
                <a:gd name="connsiteY113" fmla="*/ 46101 h 182880"/>
                <a:gd name="connsiteX114" fmla="*/ 82487 w 463962"/>
                <a:gd name="connsiteY114" fmla="*/ 48863 h 182880"/>
                <a:gd name="connsiteX115" fmla="*/ 81058 w 463962"/>
                <a:gd name="connsiteY115" fmla="*/ 54483 h 182880"/>
                <a:gd name="connsiteX116" fmla="*/ 81058 w 463962"/>
                <a:gd name="connsiteY116" fmla="*/ 55817 h 182880"/>
                <a:gd name="connsiteX117" fmla="*/ 78296 w 463962"/>
                <a:gd name="connsiteY117" fmla="*/ 60008 h 182880"/>
                <a:gd name="connsiteX118" fmla="*/ 78296 w 463962"/>
                <a:gd name="connsiteY118" fmla="*/ 61436 h 182880"/>
                <a:gd name="connsiteX119" fmla="*/ 78296 w 463962"/>
                <a:gd name="connsiteY119" fmla="*/ 65627 h 182880"/>
                <a:gd name="connsiteX120" fmla="*/ 74105 w 463962"/>
                <a:gd name="connsiteY120" fmla="*/ 64198 h 182880"/>
                <a:gd name="connsiteX121" fmla="*/ 71342 w 463962"/>
                <a:gd name="connsiteY121" fmla="*/ 61436 h 182880"/>
                <a:gd name="connsiteX122" fmla="*/ 67151 w 463962"/>
                <a:gd name="connsiteY122" fmla="*/ 61436 h 182880"/>
                <a:gd name="connsiteX123" fmla="*/ 58769 w 463962"/>
                <a:gd name="connsiteY123" fmla="*/ 60008 h 182880"/>
                <a:gd name="connsiteX124" fmla="*/ 54578 w 463962"/>
                <a:gd name="connsiteY124" fmla="*/ 60008 h 182880"/>
                <a:gd name="connsiteX125" fmla="*/ 48959 w 463962"/>
                <a:gd name="connsiteY125" fmla="*/ 60008 h 182880"/>
                <a:gd name="connsiteX126" fmla="*/ 46196 w 463962"/>
                <a:gd name="connsiteY126" fmla="*/ 60008 h 182880"/>
                <a:gd name="connsiteX127" fmla="*/ 43339 w 463962"/>
                <a:gd name="connsiteY127" fmla="*/ 60008 h 182880"/>
                <a:gd name="connsiteX128" fmla="*/ 40577 w 463962"/>
                <a:gd name="connsiteY128" fmla="*/ 60008 h 182880"/>
                <a:gd name="connsiteX129" fmla="*/ 36385 w 463962"/>
                <a:gd name="connsiteY129" fmla="*/ 60008 h 182880"/>
                <a:gd name="connsiteX130" fmla="*/ 34957 w 463962"/>
                <a:gd name="connsiteY130" fmla="*/ 61436 h 182880"/>
                <a:gd name="connsiteX131" fmla="*/ 30766 w 463962"/>
                <a:gd name="connsiteY131" fmla="*/ 61436 h 182880"/>
                <a:gd name="connsiteX132" fmla="*/ 28004 w 463962"/>
                <a:gd name="connsiteY132" fmla="*/ 64198 h 182880"/>
                <a:gd name="connsiteX133" fmla="*/ 25146 w 463962"/>
                <a:gd name="connsiteY133" fmla="*/ 65627 h 182880"/>
                <a:gd name="connsiteX134" fmla="*/ 21050 w 463962"/>
                <a:gd name="connsiteY134" fmla="*/ 65627 h 182880"/>
                <a:gd name="connsiteX135" fmla="*/ 18193 w 463962"/>
                <a:gd name="connsiteY135" fmla="*/ 68390 h 182880"/>
                <a:gd name="connsiteX136" fmla="*/ 16764 w 463962"/>
                <a:gd name="connsiteY136" fmla="*/ 69818 h 182880"/>
                <a:gd name="connsiteX137" fmla="*/ 14002 w 463962"/>
                <a:gd name="connsiteY137" fmla="*/ 74009 h 182880"/>
                <a:gd name="connsiteX138" fmla="*/ 12668 w 463962"/>
                <a:gd name="connsiteY138" fmla="*/ 76772 h 182880"/>
                <a:gd name="connsiteX139" fmla="*/ 8382 w 463962"/>
                <a:gd name="connsiteY139" fmla="*/ 80963 h 182880"/>
                <a:gd name="connsiteX140" fmla="*/ 7048 w 463962"/>
                <a:gd name="connsiteY140" fmla="*/ 82391 h 182880"/>
                <a:gd name="connsiteX141" fmla="*/ 7048 w 463962"/>
                <a:gd name="connsiteY141" fmla="*/ 88011 h 182880"/>
                <a:gd name="connsiteX142" fmla="*/ 4191 w 463962"/>
                <a:gd name="connsiteY142" fmla="*/ 92202 h 182880"/>
                <a:gd name="connsiteX143" fmla="*/ 2858 w 463962"/>
                <a:gd name="connsiteY143" fmla="*/ 96393 h 182880"/>
                <a:gd name="connsiteX144" fmla="*/ 0 w 463962"/>
                <a:gd name="connsiteY144" fmla="*/ 103346 h 182880"/>
                <a:gd name="connsiteX145" fmla="*/ 0 w 463962"/>
                <a:gd name="connsiteY145" fmla="*/ 107537 h 182880"/>
                <a:gd name="connsiteX146" fmla="*/ 0 w 463962"/>
                <a:gd name="connsiteY146" fmla="*/ 110300 h 182880"/>
                <a:gd name="connsiteX147" fmla="*/ 0 w 463962"/>
                <a:gd name="connsiteY147" fmla="*/ 113157 h 182880"/>
                <a:gd name="connsiteX148" fmla="*/ 0 w 463962"/>
                <a:gd name="connsiteY148" fmla="*/ 118682 h 182880"/>
                <a:gd name="connsiteX149" fmla="*/ 0 w 463962"/>
                <a:gd name="connsiteY149" fmla="*/ 120110 h 182880"/>
                <a:gd name="connsiteX150" fmla="*/ 0 w 463962"/>
                <a:gd name="connsiteY150" fmla="*/ 127064 h 182880"/>
                <a:gd name="connsiteX151" fmla="*/ 2858 w 463962"/>
                <a:gd name="connsiteY151" fmla="*/ 131255 h 182880"/>
                <a:gd name="connsiteX152" fmla="*/ 4191 w 463962"/>
                <a:gd name="connsiteY152" fmla="*/ 136874 h 182880"/>
                <a:gd name="connsiteX153" fmla="*/ 7048 w 463962"/>
                <a:gd name="connsiteY153" fmla="*/ 141065 h 182880"/>
                <a:gd name="connsiteX154" fmla="*/ 8382 w 463962"/>
                <a:gd name="connsiteY154" fmla="*/ 146590 h 182880"/>
                <a:gd name="connsiteX155" fmla="*/ 11239 w 463962"/>
                <a:gd name="connsiteY155" fmla="*/ 150781 h 182880"/>
                <a:gd name="connsiteX156" fmla="*/ 16764 w 463962"/>
                <a:gd name="connsiteY156" fmla="*/ 150781 h 182880"/>
                <a:gd name="connsiteX157" fmla="*/ 22384 w 463962"/>
                <a:gd name="connsiteY157" fmla="*/ 153638 h 182880"/>
                <a:gd name="connsiteX158" fmla="*/ 22384 w 463962"/>
                <a:gd name="connsiteY158" fmla="*/ 149447 h 182880"/>
                <a:gd name="connsiteX159" fmla="*/ 25146 w 463962"/>
                <a:gd name="connsiteY159" fmla="*/ 146590 h 182880"/>
                <a:gd name="connsiteX160" fmla="*/ 28004 w 463962"/>
                <a:gd name="connsiteY160" fmla="*/ 143828 h 182880"/>
                <a:gd name="connsiteX161" fmla="*/ 28004 w 463962"/>
                <a:gd name="connsiteY161" fmla="*/ 139637 h 182880"/>
                <a:gd name="connsiteX162" fmla="*/ 30766 w 463962"/>
                <a:gd name="connsiteY162" fmla="*/ 136874 h 182880"/>
                <a:gd name="connsiteX163" fmla="*/ 32195 w 463962"/>
                <a:gd name="connsiteY163" fmla="*/ 135446 h 182880"/>
                <a:gd name="connsiteX164" fmla="*/ 34957 w 463962"/>
                <a:gd name="connsiteY164" fmla="*/ 132683 h 182880"/>
                <a:gd name="connsiteX165" fmla="*/ 36385 w 463962"/>
                <a:gd name="connsiteY165" fmla="*/ 131255 h 182880"/>
                <a:gd name="connsiteX166" fmla="*/ 39148 w 463962"/>
                <a:gd name="connsiteY166" fmla="*/ 128492 h 182880"/>
                <a:gd name="connsiteX167" fmla="*/ 43339 w 463962"/>
                <a:gd name="connsiteY167" fmla="*/ 128492 h 182880"/>
                <a:gd name="connsiteX168" fmla="*/ 44768 w 463962"/>
                <a:gd name="connsiteY168" fmla="*/ 127064 h 182880"/>
                <a:gd name="connsiteX169" fmla="*/ 46196 w 463962"/>
                <a:gd name="connsiteY169" fmla="*/ 124301 h 182880"/>
                <a:gd name="connsiteX170" fmla="*/ 48959 w 463962"/>
                <a:gd name="connsiteY170" fmla="*/ 124301 h 182880"/>
                <a:gd name="connsiteX171" fmla="*/ 53150 w 463962"/>
                <a:gd name="connsiteY171" fmla="*/ 122873 h 182880"/>
                <a:gd name="connsiteX172" fmla="*/ 54578 w 463962"/>
                <a:gd name="connsiteY172" fmla="*/ 122873 h 182880"/>
                <a:gd name="connsiteX173" fmla="*/ 58769 w 463962"/>
                <a:gd name="connsiteY173" fmla="*/ 122873 h 182880"/>
                <a:gd name="connsiteX174" fmla="*/ 64294 w 463962"/>
                <a:gd name="connsiteY174" fmla="*/ 122873 h 182880"/>
                <a:gd name="connsiteX175" fmla="*/ 67151 w 463962"/>
                <a:gd name="connsiteY175" fmla="*/ 122873 h 182880"/>
                <a:gd name="connsiteX176" fmla="*/ 71342 w 463962"/>
                <a:gd name="connsiteY176" fmla="*/ 122873 h 182880"/>
                <a:gd name="connsiteX177" fmla="*/ 74105 w 463962"/>
                <a:gd name="connsiteY177" fmla="*/ 122873 h 182880"/>
                <a:gd name="connsiteX178" fmla="*/ 76867 w 463962"/>
                <a:gd name="connsiteY178" fmla="*/ 122873 h 182880"/>
                <a:gd name="connsiteX179" fmla="*/ 81058 w 463962"/>
                <a:gd name="connsiteY179" fmla="*/ 124301 h 182880"/>
                <a:gd name="connsiteX180" fmla="*/ 82487 w 463962"/>
                <a:gd name="connsiteY180" fmla="*/ 124301 h 182880"/>
                <a:gd name="connsiteX181" fmla="*/ 85249 w 463962"/>
                <a:gd name="connsiteY181" fmla="*/ 127064 h 182880"/>
                <a:gd name="connsiteX182" fmla="*/ 86678 w 463962"/>
                <a:gd name="connsiteY182" fmla="*/ 124301 h 182880"/>
                <a:gd name="connsiteX183" fmla="*/ 89440 w 463962"/>
                <a:gd name="connsiteY183" fmla="*/ 120110 h 182880"/>
                <a:gd name="connsiteX184" fmla="*/ 90869 w 463962"/>
                <a:gd name="connsiteY184" fmla="*/ 118682 h 182880"/>
                <a:gd name="connsiteX185" fmla="*/ 95059 w 463962"/>
                <a:gd name="connsiteY185" fmla="*/ 115919 h 182880"/>
                <a:gd name="connsiteX186" fmla="*/ 99251 w 463962"/>
                <a:gd name="connsiteY186" fmla="*/ 113157 h 182880"/>
                <a:gd name="connsiteX187" fmla="*/ 100679 w 463962"/>
                <a:gd name="connsiteY187" fmla="*/ 108966 h 182880"/>
                <a:gd name="connsiteX188" fmla="*/ 104870 w 463962"/>
                <a:gd name="connsiteY188" fmla="*/ 107537 h 182880"/>
                <a:gd name="connsiteX189" fmla="*/ 109061 w 463962"/>
                <a:gd name="connsiteY189" fmla="*/ 104680 h 182880"/>
                <a:gd name="connsiteX190" fmla="*/ 113252 w 463962"/>
                <a:gd name="connsiteY190" fmla="*/ 103346 h 182880"/>
                <a:gd name="connsiteX191" fmla="*/ 117443 w 463962"/>
                <a:gd name="connsiteY191" fmla="*/ 100584 h 182880"/>
                <a:gd name="connsiteX192" fmla="*/ 121634 w 463962"/>
                <a:gd name="connsiteY192" fmla="*/ 99155 h 182880"/>
                <a:gd name="connsiteX193" fmla="*/ 125825 w 463962"/>
                <a:gd name="connsiteY193" fmla="*/ 96393 h 182880"/>
                <a:gd name="connsiteX194" fmla="*/ 130016 w 463962"/>
                <a:gd name="connsiteY194" fmla="*/ 96393 h 182880"/>
                <a:gd name="connsiteX195" fmla="*/ 136969 w 463962"/>
                <a:gd name="connsiteY195" fmla="*/ 94964 h 182880"/>
                <a:gd name="connsiteX196" fmla="*/ 142589 w 463962"/>
                <a:gd name="connsiteY196" fmla="*/ 94964 h 182880"/>
                <a:gd name="connsiteX197" fmla="*/ 146780 w 463962"/>
                <a:gd name="connsiteY197" fmla="*/ 94964 h 182880"/>
                <a:gd name="connsiteX198" fmla="*/ 153734 w 463962"/>
                <a:gd name="connsiteY198" fmla="*/ 94964 h 182880"/>
                <a:gd name="connsiteX199" fmla="*/ 159353 w 463962"/>
                <a:gd name="connsiteY199" fmla="*/ 94964 h 182880"/>
                <a:gd name="connsiteX200" fmla="*/ 164973 w 463962"/>
                <a:gd name="connsiteY200" fmla="*/ 96393 h 182880"/>
                <a:gd name="connsiteX201" fmla="*/ 170498 w 463962"/>
                <a:gd name="connsiteY201" fmla="*/ 96393 h 182880"/>
                <a:gd name="connsiteX202" fmla="*/ 174689 w 463962"/>
                <a:gd name="connsiteY202" fmla="*/ 99155 h 182880"/>
                <a:gd name="connsiteX203" fmla="*/ 181642 w 463962"/>
                <a:gd name="connsiteY203" fmla="*/ 100584 h 182880"/>
                <a:gd name="connsiteX204" fmla="*/ 185928 w 463962"/>
                <a:gd name="connsiteY204" fmla="*/ 103346 h 182880"/>
                <a:gd name="connsiteX205" fmla="*/ 190024 w 463962"/>
                <a:gd name="connsiteY205" fmla="*/ 104680 h 182880"/>
                <a:gd name="connsiteX206" fmla="*/ 191453 w 463962"/>
                <a:gd name="connsiteY206" fmla="*/ 107537 h 182880"/>
                <a:gd name="connsiteX207" fmla="*/ 195644 w 463962"/>
                <a:gd name="connsiteY207" fmla="*/ 108966 h 182880"/>
                <a:gd name="connsiteX208" fmla="*/ 199835 w 463962"/>
                <a:gd name="connsiteY208" fmla="*/ 113157 h 182880"/>
                <a:gd name="connsiteX209" fmla="*/ 201263 w 463962"/>
                <a:gd name="connsiteY209" fmla="*/ 115919 h 182880"/>
                <a:gd name="connsiteX210" fmla="*/ 204026 w 463962"/>
                <a:gd name="connsiteY210" fmla="*/ 118682 h 182880"/>
                <a:gd name="connsiteX211" fmla="*/ 209645 w 463962"/>
                <a:gd name="connsiteY211" fmla="*/ 122873 h 182880"/>
                <a:gd name="connsiteX212" fmla="*/ 211074 w 463962"/>
                <a:gd name="connsiteY212" fmla="*/ 127064 h 182880"/>
                <a:gd name="connsiteX213" fmla="*/ 213836 w 463962"/>
                <a:gd name="connsiteY213" fmla="*/ 128492 h 182880"/>
                <a:gd name="connsiteX214" fmla="*/ 215265 w 463962"/>
                <a:gd name="connsiteY214" fmla="*/ 127064 h 182880"/>
                <a:gd name="connsiteX215" fmla="*/ 218027 w 463962"/>
                <a:gd name="connsiteY215" fmla="*/ 127064 h 182880"/>
                <a:gd name="connsiteX216" fmla="*/ 219456 w 463962"/>
                <a:gd name="connsiteY216" fmla="*/ 124301 h 182880"/>
                <a:gd name="connsiteX217" fmla="*/ 223647 w 463962"/>
                <a:gd name="connsiteY217" fmla="*/ 124301 h 182880"/>
                <a:gd name="connsiteX218" fmla="*/ 224981 w 463962"/>
                <a:gd name="connsiteY218" fmla="*/ 122873 h 182880"/>
                <a:gd name="connsiteX219" fmla="*/ 227838 w 463962"/>
                <a:gd name="connsiteY219" fmla="*/ 122873 h 182880"/>
                <a:gd name="connsiteX220" fmla="*/ 232029 w 463962"/>
                <a:gd name="connsiteY220" fmla="*/ 122873 h 182880"/>
                <a:gd name="connsiteX221" fmla="*/ 233363 w 463962"/>
                <a:gd name="connsiteY221" fmla="*/ 120110 h 182880"/>
                <a:gd name="connsiteX222" fmla="*/ 241744 w 463962"/>
                <a:gd name="connsiteY222" fmla="*/ 120110 h 182880"/>
                <a:gd name="connsiteX223" fmla="*/ 247364 w 463962"/>
                <a:gd name="connsiteY223" fmla="*/ 120110 h 182880"/>
                <a:gd name="connsiteX224" fmla="*/ 252984 w 463962"/>
                <a:gd name="connsiteY224" fmla="*/ 120110 h 182880"/>
                <a:gd name="connsiteX225" fmla="*/ 261366 w 463962"/>
                <a:gd name="connsiteY225" fmla="*/ 122873 h 182880"/>
                <a:gd name="connsiteX226" fmla="*/ 265557 w 463962"/>
                <a:gd name="connsiteY226" fmla="*/ 122873 h 182880"/>
                <a:gd name="connsiteX227" fmla="*/ 269748 w 463962"/>
                <a:gd name="connsiteY227" fmla="*/ 124301 h 182880"/>
                <a:gd name="connsiteX228" fmla="*/ 273939 w 463962"/>
                <a:gd name="connsiteY228" fmla="*/ 127064 h 182880"/>
                <a:gd name="connsiteX229" fmla="*/ 279464 w 463962"/>
                <a:gd name="connsiteY229" fmla="*/ 127064 h 182880"/>
                <a:gd name="connsiteX230" fmla="*/ 280892 w 463962"/>
                <a:gd name="connsiteY230" fmla="*/ 128492 h 182880"/>
                <a:gd name="connsiteX231" fmla="*/ 285083 w 463962"/>
                <a:gd name="connsiteY231" fmla="*/ 131255 h 182880"/>
                <a:gd name="connsiteX232" fmla="*/ 287846 w 463962"/>
                <a:gd name="connsiteY232" fmla="*/ 132683 h 182880"/>
                <a:gd name="connsiteX233" fmla="*/ 292037 w 463962"/>
                <a:gd name="connsiteY233" fmla="*/ 135446 h 182880"/>
                <a:gd name="connsiteX234" fmla="*/ 293465 w 463962"/>
                <a:gd name="connsiteY234" fmla="*/ 136874 h 182880"/>
                <a:gd name="connsiteX235" fmla="*/ 296228 w 463962"/>
                <a:gd name="connsiteY235" fmla="*/ 141065 h 182880"/>
                <a:gd name="connsiteX236" fmla="*/ 297656 w 463962"/>
                <a:gd name="connsiteY236" fmla="*/ 143828 h 182880"/>
                <a:gd name="connsiteX237" fmla="*/ 300514 w 463962"/>
                <a:gd name="connsiteY237" fmla="*/ 146590 h 182880"/>
                <a:gd name="connsiteX238" fmla="*/ 301847 w 463962"/>
                <a:gd name="connsiteY238" fmla="*/ 149447 h 182880"/>
                <a:gd name="connsiteX239" fmla="*/ 304610 w 463962"/>
                <a:gd name="connsiteY239" fmla="*/ 153638 h 182880"/>
                <a:gd name="connsiteX240" fmla="*/ 306038 w 463962"/>
                <a:gd name="connsiteY240" fmla="*/ 154972 h 182880"/>
                <a:gd name="connsiteX241" fmla="*/ 306038 w 463962"/>
                <a:gd name="connsiteY241" fmla="*/ 157829 h 182880"/>
                <a:gd name="connsiteX242" fmla="*/ 310229 w 463962"/>
                <a:gd name="connsiteY242" fmla="*/ 157829 h 182880"/>
                <a:gd name="connsiteX243" fmla="*/ 315849 w 463962"/>
                <a:gd name="connsiteY243" fmla="*/ 154972 h 182880"/>
                <a:gd name="connsiteX244" fmla="*/ 320040 w 463962"/>
                <a:gd name="connsiteY244" fmla="*/ 154972 h 182880"/>
                <a:gd name="connsiteX245" fmla="*/ 321374 w 463962"/>
                <a:gd name="connsiteY245" fmla="*/ 153638 h 182880"/>
                <a:gd name="connsiteX246" fmla="*/ 325660 w 463962"/>
                <a:gd name="connsiteY246" fmla="*/ 153638 h 182880"/>
                <a:gd name="connsiteX247" fmla="*/ 332613 w 463962"/>
                <a:gd name="connsiteY247" fmla="*/ 153638 h 182880"/>
                <a:gd name="connsiteX248" fmla="*/ 336804 w 463962"/>
                <a:gd name="connsiteY248" fmla="*/ 153638 h 182880"/>
                <a:gd name="connsiteX249" fmla="*/ 342424 w 463962"/>
                <a:gd name="connsiteY249" fmla="*/ 153638 h 182880"/>
                <a:gd name="connsiteX250" fmla="*/ 346615 w 463962"/>
                <a:gd name="connsiteY250" fmla="*/ 154972 h 182880"/>
                <a:gd name="connsiteX251" fmla="*/ 353568 w 463962"/>
                <a:gd name="connsiteY251" fmla="*/ 157829 h 182880"/>
                <a:gd name="connsiteX252" fmla="*/ 356330 w 463962"/>
                <a:gd name="connsiteY252" fmla="*/ 157829 h 182880"/>
                <a:gd name="connsiteX253" fmla="*/ 360521 w 463962"/>
                <a:gd name="connsiteY253" fmla="*/ 159163 h 182880"/>
                <a:gd name="connsiteX254" fmla="*/ 361950 w 463962"/>
                <a:gd name="connsiteY254" fmla="*/ 159163 h 182880"/>
                <a:gd name="connsiteX255" fmla="*/ 364712 w 463962"/>
                <a:gd name="connsiteY255" fmla="*/ 162020 h 182880"/>
                <a:gd name="connsiteX256" fmla="*/ 368903 w 463962"/>
                <a:gd name="connsiteY256" fmla="*/ 163354 h 182880"/>
                <a:gd name="connsiteX257" fmla="*/ 370332 w 463962"/>
                <a:gd name="connsiteY257" fmla="*/ 166211 h 182880"/>
                <a:gd name="connsiteX258" fmla="*/ 374523 w 463962"/>
                <a:gd name="connsiteY258" fmla="*/ 167545 h 182880"/>
                <a:gd name="connsiteX259" fmla="*/ 375952 w 463962"/>
                <a:gd name="connsiteY259" fmla="*/ 168974 h 182880"/>
                <a:gd name="connsiteX260" fmla="*/ 380143 w 463962"/>
                <a:gd name="connsiteY260" fmla="*/ 171736 h 182880"/>
                <a:gd name="connsiteX261" fmla="*/ 384334 w 463962"/>
                <a:gd name="connsiteY261" fmla="*/ 177356 h 182880"/>
                <a:gd name="connsiteX262" fmla="*/ 385667 w 463962"/>
                <a:gd name="connsiteY262" fmla="*/ 178784 h 182880"/>
                <a:gd name="connsiteX263" fmla="*/ 388525 w 463962"/>
                <a:gd name="connsiteY263" fmla="*/ 182880 h 182880"/>
                <a:gd name="connsiteX264" fmla="*/ 410813 w 463962"/>
                <a:gd name="connsiteY264" fmla="*/ 182880 h 182880"/>
                <a:gd name="connsiteX265" fmla="*/ 416433 w 463962"/>
                <a:gd name="connsiteY265" fmla="*/ 178784 h 182880"/>
                <a:gd name="connsiteX266" fmla="*/ 424815 w 463962"/>
                <a:gd name="connsiteY266" fmla="*/ 177356 h 182880"/>
                <a:gd name="connsiteX267" fmla="*/ 430435 w 463962"/>
                <a:gd name="connsiteY267" fmla="*/ 171736 h 182880"/>
                <a:gd name="connsiteX268" fmla="*/ 434626 w 463962"/>
                <a:gd name="connsiteY268" fmla="*/ 167545 h 182880"/>
                <a:gd name="connsiteX269" fmla="*/ 440246 w 463962"/>
                <a:gd name="connsiteY269" fmla="*/ 166211 h 182880"/>
                <a:gd name="connsiteX270" fmla="*/ 444437 w 463962"/>
                <a:gd name="connsiteY270" fmla="*/ 162020 h 182880"/>
                <a:gd name="connsiteX271" fmla="*/ 448532 w 463962"/>
                <a:gd name="connsiteY271" fmla="*/ 157829 h 182880"/>
                <a:gd name="connsiteX272" fmla="*/ 451390 w 463962"/>
                <a:gd name="connsiteY272" fmla="*/ 153638 h 182880"/>
                <a:gd name="connsiteX273" fmla="*/ 457010 w 463962"/>
                <a:gd name="connsiteY273" fmla="*/ 149447 h 182880"/>
                <a:gd name="connsiteX274" fmla="*/ 458343 w 463962"/>
                <a:gd name="connsiteY274" fmla="*/ 143828 h 182880"/>
                <a:gd name="connsiteX275" fmla="*/ 459772 w 463962"/>
                <a:gd name="connsiteY275" fmla="*/ 139637 h 182880"/>
                <a:gd name="connsiteX276" fmla="*/ 462534 w 463962"/>
                <a:gd name="connsiteY276" fmla="*/ 132683 h 182880"/>
                <a:gd name="connsiteX277" fmla="*/ 463963 w 463962"/>
                <a:gd name="connsiteY277" fmla="*/ 128492 h 182880"/>
                <a:gd name="connsiteX278" fmla="*/ 463963 w 463962"/>
                <a:gd name="connsiteY278" fmla="*/ 124301 h 182880"/>
                <a:gd name="connsiteX279" fmla="*/ 463963 w 463962"/>
                <a:gd name="connsiteY279" fmla="*/ 120110 h 182880"/>
                <a:gd name="connsiteX280" fmla="*/ 463963 w 463962"/>
                <a:gd name="connsiteY280" fmla="*/ 115919 h 182880"/>
                <a:gd name="connsiteX281" fmla="*/ 463963 w 463962"/>
                <a:gd name="connsiteY281" fmla="*/ 110300 h 182880"/>
                <a:gd name="connsiteX282" fmla="*/ 463963 w 463962"/>
                <a:gd name="connsiteY282" fmla="*/ 108966 h 182880"/>
                <a:gd name="connsiteX283" fmla="*/ 463963 w 463962"/>
                <a:gd name="connsiteY283" fmla="*/ 104680 h 182880"/>
                <a:gd name="connsiteX284" fmla="*/ 462534 w 463962"/>
                <a:gd name="connsiteY284" fmla="*/ 103346 h 182880"/>
                <a:gd name="connsiteX285" fmla="*/ 462534 w 463962"/>
                <a:gd name="connsiteY285" fmla="*/ 99155 h 182880"/>
                <a:gd name="connsiteX286" fmla="*/ 462534 w 463962"/>
                <a:gd name="connsiteY286" fmla="*/ 96393 h 182880"/>
                <a:gd name="connsiteX287" fmla="*/ 459772 w 463962"/>
                <a:gd name="connsiteY287" fmla="*/ 94964 h 182880"/>
                <a:gd name="connsiteX288" fmla="*/ 458343 w 463962"/>
                <a:gd name="connsiteY288" fmla="*/ 92202 h 182880"/>
                <a:gd name="connsiteX289" fmla="*/ 458343 w 463962"/>
                <a:gd name="connsiteY289" fmla="*/ 90773 h 182880"/>
                <a:gd name="connsiteX290" fmla="*/ 457010 w 463962"/>
                <a:gd name="connsiteY290" fmla="*/ 88011 h 182880"/>
                <a:gd name="connsiteX291" fmla="*/ 452723 w 463962"/>
                <a:gd name="connsiteY291" fmla="*/ 82391 h 182880"/>
                <a:gd name="connsiteX292" fmla="*/ 448532 w 463962"/>
                <a:gd name="connsiteY292" fmla="*/ 78200 h 182880"/>
                <a:gd name="connsiteX293" fmla="*/ 444437 w 463962"/>
                <a:gd name="connsiteY293" fmla="*/ 76772 h 182880"/>
                <a:gd name="connsiteX294" fmla="*/ 443008 w 463962"/>
                <a:gd name="connsiteY294" fmla="*/ 72581 h 182880"/>
                <a:gd name="connsiteX295" fmla="*/ 438817 w 463962"/>
                <a:gd name="connsiteY295" fmla="*/ 69818 h 182880"/>
                <a:gd name="connsiteX296" fmla="*/ 434626 w 463962"/>
                <a:gd name="connsiteY296" fmla="*/ 68390 h 182880"/>
                <a:gd name="connsiteX297" fmla="*/ 430435 w 463962"/>
                <a:gd name="connsiteY297" fmla="*/ 65627 h 182880"/>
                <a:gd name="connsiteX298" fmla="*/ 426244 w 463962"/>
                <a:gd name="connsiteY298" fmla="*/ 65627 h 182880"/>
                <a:gd name="connsiteX299" fmla="*/ 424815 w 463962"/>
                <a:gd name="connsiteY299" fmla="*/ 64198 h 182880"/>
                <a:gd name="connsiteX300" fmla="*/ 420624 w 463962"/>
                <a:gd name="connsiteY300" fmla="*/ 64198 h 182880"/>
                <a:gd name="connsiteX301" fmla="*/ 416433 w 463962"/>
                <a:gd name="connsiteY301" fmla="*/ 64198 h 182880"/>
                <a:gd name="connsiteX302" fmla="*/ 416433 w 463962"/>
                <a:gd name="connsiteY302" fmla="*/ 64198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</a:cxnLst>
              <a:rect l="l" t="t" r="r" b="b"/>
              <a:pathLst>
                <a:path w="463962" h="182880">
                  <a:moveTo>
                    <a:pt x="416433" y="64198"/>
                  </a:moveTo>
                  <a:lnTo>
                    <a:pt x="416433" y="64198"/>
                  </a:lnTo>
                  <a:lnTo>
                    <a:pt x="408051" y="61436"/>
                  </a:lnTo>
                  <a:lnTo>
                    <a:pt x="406622" y="61436"/>
                  </a:lnTo>
                  <a:lnTo>
                    <a:pt x="402431" y="61436"/>
                  </a:lnTo>
                  <a:lnTo>
                    <a:pt x="399669" y="61436"/>
                  </a:lnTo>
                  <a:lnTo>
                    <a:pt x="398240" y="64198"/>
                  </a:lnTo>
                  <a:lnTo>
                    <a:pt x="394049" y="64198"/>
                  </a:lnTo>
                  <a:lnTo>
                    <a:pt x="392716" y="64198"/>
                  </a:lnTo>
                  <a:lnTo>
                    <a:pt x="389858" y="65627"/>
                  </a:lnTo>
                  <a:lnTo>
                    <a:pt x="388525" y="65627"/>
                  </a:lnTo>
                  <a:lnTo>
                    <a:pt x="384334" y="68390"/>
                  </a:lnTo>
                  <a:lnTo>
                    <a:pt x="380143" y="69818"/>
                  </a:lnTo>
                  <a:lnTo>
                    <a:pt x="375952" y="74009"/>
                  </a:lnTo>
                  <a:lnTo>
                    <a:pt x="370332" y="78200"/>
                  </a:lnTo>
                  <a:lnTo>
                    <a:pt x="370332" y="76772"/>
                  </a:lnTo>
                  <a:lnTo>
                    <a:pt x="370332" y="72581"/>
                  </a:lnTo>
                  <a:lnTo>
                    <a:pt x="370332" y="69818"/>
                  </a:lnTo>
                  <a:lnTo>
                    <a:pt x="368903" y="65627"/>
                  </a:lnTo>
                  <a:lnTo>
                    <a:pt x="368903" y="61436"/>
                  </a:lnTo>
                  <a:lnTo>
                    <a:pt x="366141" y="60008"/>
                  </a:lnTo>
                  <a:lnTo>
                    <a:pt x="364712" y="55817"/>
                  </a:lnTo>
                  <a:lnTo>
                    <a:pt x="361950" y="50292"/>
                  </a:lnTo>
                  <a:lnTo>
                    <a:pt x="360521" y="46101"/>
                  </a:lnTo>
                  <a:lnTo>
                    <a:pt x="357759" y="44672"/>
                  </a:lnTo>
                  <a:lnTo>
                    <a:pt x="353568" y="40481"/>
                  </a:lnTo>
                  <a:lnTo>
                    <a:pt x="349377" y="37719"/>
                  </a:lnTo>
                  <a:lnTo>
                    <a:pt x="343757" y="33528"/>
                  </a:lnTo>
                  <a:lnTo>
                    <a:pt x="342424" y="33528"/>
                  </a:lnTo>
                  <a:lnTo>
                    <a:pt x="339566" y="32099"/>
                  </a:lnTo>
                  <a:lnTo>
                    <a:pt x="336804" y="32099"/>
                  </a:lnTo>
                  <a:lnTo>
                    <a:pt x="333947" y="29337"/>
                  </a:lnTo>
                  <a:lnTo>
                    <a:pt x="329851" y="29337"/>
                  </a:lnTo>
                  <a:lnTo>
                    <a:pt x="328422" y="29337"/>
                  </a:lnTo>
                  <a:lnTo>
                    <a:pt x="321374" y="29337"/>
                  </a:lnTo>
                  <a:lnTo>
                    <a:pt x="317183" y="27908"/>
                  </a:lnTo>
                  <a:lnTo>
                    <a:pt x="313087" y="27908"/>
                  </a:lnTo>
                  <a:lnTo>
                    <a:pt x="308800" y="27908"/>
                  </a:lnTo>
                  <a:lnTo>
                    <a:pt x="304610" y="27908"/>
                  </a:lnTo>
                  <a:lnTo>
                    <a:pt x="300514" y="29337"/>
                  </a:lnTo>
                  <a:lnTo>
                    <a:pt x="296228" y="29337"/>
                  </a:lnTo>
                  <a:lnTo>
                    <a:pt x="292037" y="32099"/>
                  </a:lnTo>
                  <a:lnTo>
                    <a:pt x="289274" y="32099"/>
                  </a:lnTo>
                  <a:lnTo>
                    <a:pt x="285083" y="33528"/>
                  </a:lnTo>
                  <a:lnTo>
                    <a:pt x="283655" y="36290"/>
                  </a:lnTo>
                  <a:lnTo>
                    <a:pt x="279464" y="37719"/>
                  </a:lnTo>
                  <a:lnTo>
                    <a:pt x="278130" y="40481"/>
                  </a:lnTo>
                  <a:lnTo>
                    <a:pt x="273939" y="41910"/>
                  </a:lnTo>
                  <a:lnTo>
                    <a:pt x="269748" y="44672"/>
                  </a:lnTo>
                  <a:lnTo>
                    <a:pt x="268319" y="48863"/>
                  </a:lnTo>
                  <a:lnTo>
                    <a:pt x="268319" y="44672"/>
                  </a:lnTo>
                  <a:lnTo>
                    <a:pt x="268319" y="41910"/>
                  </a:lnTo>
                  <a:lnTo>
                    <a:pt x="265557" y="37719"/>
                  </a:lnTo>
                  <a:lnTo>
                    <a:pt x="265557" y="33528"/>
                  </a:lnTo>
                  <a:lnTo>
                    <a:pt x="264128" y="29337"/>
                  </a:lnTo>
                  <a:lnTo>
                    <a:pt x="261366" y="25146"/>
                  </a:lnTo>
                  <a:lnTo>
                    <a:pt x="257175" y="19526"/>
                  </a:lnTo>
                  <a:lnTo>
                    <a:pt x="255746" y="18193"/>
                  </a:lnTo>
                  <a:lnTo>
                    <a:pt x="251555" y="14002"/>
                  </a:lnTo>
                  <a:lnTo>
                    <a:pt x="250127" y="11144"/>
                  </a:lnTo>
                  <a:lnTo>
                    <a:pt x="247364" y="9811"/>
                  </a:lnTo>
                  <a:lnTo>
                    <a:pt x="243173" y="6953"/>
                  </a:lnTo>
                  <a:lnTo>
                    <a:pt x="241744" y="6953"/>
                  </a:lnTo>
                  <a:lnTo>
                    <a:pt x="237554" y="5620"/>
                  </a:lnTo>
                  <a:lnTo>
                    <a:pt x="233363" y="2762"/>
                  </a:lnTo>
                  <a:lnTo>
                    <a:pt x="232029" y="2762"/>
                  </a:lnTo>
                  <a:lnTo>
                    <a:pt x="229172" y="1429"/>
                  </a:lnTo>
                  <a:lnTo>
                    <a:pt x="224981" y="1429"/>
                  </a:lnTo>
                  <a:lnTo>
                    <a:pt x="220790" y="0"/>
                  </a:lnTo>
                  <a:lnTo>
                    <a:pt x="218027" y="0"/>
                  </a:lnTo>
                  <a:lnTo>
                    <a:pt x="215265" y="0"/>
                  </a:lnTo>
                  <a:lnTo>
                    <a:pt x="211074" y="0"/>
                  </a:lnTo>
                  <a:lnTo>
                    <a:pt x="206883" y="0"/>
                  </a:lnTo>
                  <a:lnTo>
                    <a:pt x="201263" y="0"/>
                  </a:lnTo>
                  <a:lnTo>
                    <a:pt x="197072" y="0"/>
                  </a:lnTo>
                  <a:lnTo>
                    <a:pt x="192881" y="0"/>
                  </a:lnTo>
                  <a:lnTo>
                    <a:pt x="190024" y="0"/>
                  </a:lnTo>
                  <a:lnTo>
                    <a:pt x="185928" y="1429"/>
                  </a:lnTo>
                  <a:lnTo>
                    <a:pt x="183071" y="1429"/>
                  </a:lnTo>
                  <a:lnTo>
                    <a:pt x="178880" y="2762"/>
                  </a:lnTo>
                  <a:lnTo>
                    <a:pt x="177546" y="5620"/>
                  </a:lnTo>
                  <a:lnTo>
                    <a:pt x="173355" y="5620"/>
                  </a:lnTo>
                  <a:lnTo>
                    <a:pt x="170498" y="6953"/>
                  </a:lnTo>
                  <a:lnTo>
                    <a:pt x="167735" y="9811"/>
                  </a:lnTo>
                  <a:lnTo>
                    <a:pt x="164973" y="11144"/>
                  </a:lnTo>
                  <a:lnTo>
                    <a:pt x="162116" y="15335"/>
                  </a:lnTo>
                  <a:lnTo>
                    <a:pt x="157925" y="18193"/>
                  </a:lnTo>
                  <a:lnTo>
                    <a:pt x="153734" y="23717"/>
                  </a:lnTo>
                  <a:lnTo>
                    <a:pt x="150971" y="27908"/>
                  </a:lnTo>
                  <a:lnTo>
                    <a:pt x="149543" y="32099"/>
                  </a:lnTo>
                  <a:lnTo>
                    <a:pt x="146780" y="33528"/>
                  </a:lnTo>
                  <a:lnTo>
                    <a:pt x="145352" y="37719"/>
                  </a:lnTo>
                  <a:lnTo>
                    <a:pt x="142589" y="40481"/>
                  </a:lnTo>
                  <a:lnTo>
                    <a:pt x="141161" y="37719"/>
                  </a:lnTo>
                  <a:lnTo>
                    <a:pt x="138398" y="36290"/>
                  </a:lnTo>
                  <a:lnTo>
                    <a:pt x="132779" y="33528"/>
                  </a:lnTo>
                  <a:lnTo>
                    <a:pt x="131350" y="33528"/>
                  </a:lnTo>
                  <a:lnTo>
                    <a:pt x="130016" y="32099"/>
                  </a:lnTo>
                  <a:lnTo>
                    <a:pt x="125825" y="29337"/>
                  </a:lnTo>
                  <a:lnTo>
                    <a:pt x="122968" y="29337"/>
                  </a:lnTo>
                  <a:lnTo>
                    <a:pt x="121634" y="29337"/>
                  </a:lnTo>
                  <a:lnTo>
                    <a:pt x="117443" y="29337"/>
                  </a:lnTo>
                  <a:lnTo>
                    <a:pt x="114586" y="29337"/>
                  </a:lnTo>
                  <a:lnTo>
                    <a:pt x="110395" y="29337"/>
                  </a:lnTo>
                  <a:lnTo>
                    <a:pt x="106204" y="29337"/>
                  </a:lnTo>
                  <a:lnTo>
                    <a:pt x="104870" y="29337"/>
                  </a:lnTo>
                  <a:lnTo>
                    <a:pt x="100679" y="32099"/>
                  </a:lnTo>
                  <a:lnTo>
                    <a:pt x="99251" y="33528"/>
                  </a:lnTo>
                  <a:lnTo>
                    <a:pt x="95059" y="36290"/>
                  </a:lnTo>
                  <a:lnTo>
                    <a:pt x="90869" y="36290"/>
                  </a:lnTo>
                  <a:lnTo>
                    <a:pt x="89440" y="37719"/>
                  </a:lnTo>
                  <a:lnTo>
                    <a:pt x="86678" y="40481"/>
                  </a:lnTo>
                  <a:lnTo>
                    <a:pt x="86678" y="44672"/>
                  </a:lnTo>
                  <a:lnTo>
                    <a:pt x="85249" y="46101"/>
                  </a:lnTo>
                  <a:lnTo>
                    <a:pt x="82487" y="48863"/>
                  </a:lnTo>
                  <a:lnTo>
                    <a:pt x="81058" y="54483"/>
                  </a:lnTo>
                  <a:lnTo>
                    <a:pt x="81058" y="55817"/>
                  </a:lnTo>
                  <a:lnTo>
                    <a:pt x="78296" y="60008"/>
                  </a:lnTo>
                  <a:lnTo>
                    <a:pt x="78296" y="61436"/>
                  </a:lnTo>
                  <a:lnTo>
                    <a:pt x="78296" y="65627"/>
                  </a:lnTo>
                  <a:lnTo>
                    <a:pt x="74105" y="64198"/>
                  </a:lnTo>
                  <a:lnTo>
                    <a:pt x="71342" y="61436"/>
                  </a:lnTo>
                  <a:lnTo>
                    <a:pt x="67151" y="61436"/>
                  </a:lnTo>
                  <a:lnTo>
                    <a:pt x="58769" y="60008"/>
                  </a:lnTo>
                  <a:lnTo>
                    <a:pt x="54578" y="60008"/>
                  </a:lnTo>
                  <a:lnTo>
                    <a:pt x="48959" y="60008"/>
                  </a:lnTo>
                  <a:lnTo>
                    <a:pt x="46196" y="60008"/>
                  </a:lnTo>
                  <a:lnTo>
                    <a:pt x="43339" y="60008"/>
                  </a:lnTo>
                  <a:lnTo>
                    <a:pt x="40577" y="60008"/>
                  </a:lnTo>
                  <a:lnTo>
                    <a:pt x="36385" y="60008"/>
                  </a:lnTo>
                  <a:lnTo>
                    <a:pt x="34957" y="61436"/>
                  </a:lnTo>
                  <a:lnTo>
                    <a:pt x="30766" y="61436"/>
                  </a:lnTo>
                  <a:lnTo>
                    <a:pt x="28004" y="64198"/>
                  </a:lnTo>
                  <a:lnTo>
                    <a:pt x="25146" y="65627"/>
                  </a:lnTo>
                  <a:lnTo>
                    <a:pt x="21050" y="65627"/>
                  </a:lnTo>
                  <a:lnTo>
                    <a:pt x="18193" y="68390"/>
                  </a:lnTo>
                  <a:lnTo>
                    <a:pt x="16764" y="69818"/>
                  </a:lnTo>
                  <a:lnTo>
                    <a:pt x="14002" y="74009"/>
                  </a:lnTo>
                  <a:lnTo>
                    <a:pt x="12668" y="76772"/>
                  </a:lnTo>
                  <a:lnTo>
                    <a:pt x="8382" y="80963"/>
                  </a:lnTo>
                  <a:lnTo>
                    <a:pt x="7048" y="82391"/>
                  </a:lnTo>
                  <a:lnTo>
                    <a:pt x="7048" y="88011"/>
                  </a:lnTo>
                  <a:lnTo>
                    <a:pt x="4191" y="92202"/>
                  </a:lnTo>
                  <a:lnTo>
                    <a:pt x="2858" y="96393"/>
                  </a:lnTo>
                  <a:lnTo>
                    <a:pt x="0" y="103346"/>
                  </a:lnTo>
                  <a:lnTo>
                    <a:pt x="0" y="107537"/>
                  </a:lnTo>
                  <a:lnTo>
                    <a:pt x="0" y="110300"/>
                  </a:lnTo>
                  <a:lnTo>
                    <a:pt x="0" y="113157"/>
                  </a:lnTo>
                  <a:lnTo>
                    <a:pt x="0" y="118682"/>
                  </a:lnTo>
                  <a:lnTo>
                    <a:pt x="0" y="120110"/>
                  </a:lnTo>
                  <a:lnTo>
                    <a:pt x="0" y="127064"/>
                  </a:lnTo>
                  <a:lnTo>
                    <a:pt x="2858" y="131255"/>
                  </a:lnTo>
                  <a:lnTo>
                    <a:pt x="4191" y="136874"/>
                  </a:lnTo>
                  <a:lnTo>
                    <a:pt x="7048" y="141065"/>
                  </a:lnTo>
                  <a:lnTo>
                    <a:pt x="8382" y="146590"/>
                  </a:lnTo>
                  <a:lnTo>
                    <a:pt x="11239" y="150781"/>
                  </a:lnTo>
                  <a:lnTo>
                    <a:pt x="16764" y="150781"/>
                  </a:lnTo>
                  <a:lnTo>
                    <a:pt x="22384" y="153638"/>
                  </a:lnTo>
                  <a:lnTo>
                    <a:pt x="22384" y="149447"/>
                  </a:lnTo>
                  <a:lnTo>
                    <a:pt x="25146" y="146590"/>
                  </a:lnTo>
                  <a:lnTo>
                    <a:pt x="28004" y="143828"/>
                  </a:lnTo>
                  <a:lnTo>
                    <a:pt x="28004" y="139637"/>
                  </a:lnTo>
                  <a:lnTo>
                    <a:pt x="30766" y="136874"/>
                  </a:lnTo>
                  <a:lnTo>
                    <a:pt x="32195" y="135446"/>
                  </a:lnTo>
                  <a:lnTo>
                    <a:pt x="34957" y="132683"/>
                  </a:lnTo>
                  <a:lnTo>
                    <a:pt x="36385" y="131255"/>
                  </a:lnTo>
                  <a:lnTo>
                    <a:pt x="39148" y="128492"/>
                  </a:lnTo>
                  <a:lnTo>
                    <a:pt x="43339" y="128492"/>
                  </a:lnTo>
                  <a:lnTo>
                    <a:pt x="44768" y="127064"/>
                  </a:lnTo>
                  <a:lnTo>
                    <a:pt x="46196" y="124301"/>
                  </a:lnTo>
                  <a:lnTo>
                    <a:pt x="48959" y="124301"/>
                  </a:lnTo>
                  <a:lnTo>
                    <a:pt x="53150" y="122873"/>
                  </a:lnTo>
                  <a:lnTo>
                    <a:pt x="54578" y="122873"/>
                  </a:lnTo>
                  <a:lnTo>
                    <a:pt x="58769" y="122873"/>
                  </a:lnTo>
                  <a:lnTo>
                    <a:pt x="64294" y="122873"/>
                  </a:lnTo>
                  <a:lnTo>
                    <a:pt x="67151" y="122873"/>
                  </a:lnTo>
                  <a:lnTo>
                    <a:pt x="71342" y="122873"/>
                  </a:lnTo>
                  <a:lnTo>
                    <a:pt x="74105" y="122873"/>
                  </a:lnTo>
                  <a:lnTo>
                    <a:pt x="76867" y="122873"/>
                  </a:lnTo>
                  <a:lnTo>
                    <a:pt x="81058" y="124301"/>
                  </a:lnTo>
                  <a:lnTo>
                    <a:pt x="82487" y="124301"/>
                  </a:lnTo>
                  <a:lnTo>
                    <a:pt x="85249" y="127064"/>
                  </a:lnTo>
                  <a:lnTo>
                    <a:pt x="86678" y="124301"/>
                  </a:lnTo>
                  <a:lnTo>
                    <a:pt x="89440" y="120110"/>
                  </a:lnTo>
                  <a:lnTo>
                    <a:pt x="90869" y="118682"/>
                  </a:lnTo>
                  <a:lnTo>
                    <a:pt x="95059" y="115919"/>
                  </a:lnTo>
                  <a:lnTo>
                    <a:pt x="99251" y="113157"/>
                  </a:lnTo>
                  <a:lnTo>
                    <a:pt x="100679" y="108966"/>
                  </a:lnTo>
                  <a:lnTo>
                    <a:pt x="104870" y="107537"/>
                  </a:lnTo>
                  <a:lnTo>
                    <a:pt x="109061" y="104680"/>
                  </a:lnTo>
                  <a:lnTo>
                    <a:pt x="113252" y="103346"/>
                  </a:lnTo>
                  <a:lnTo>
                    <a:pt x="117443" y="100584"/>
                  </a:lnTo>
                  <a:lnTo>
                    <a:pt x="121634" y="99155"/>
                  </a:lnTo>
                  <a:lnTo>
                    <a:pt x="125825" y="96393"/>
                  </a:lnTo>
                  <a:lnTo>
                    <a:pt x="130016" y="96393"/>
                  </a:lnTo>
                  <a:lnTo>
                    <a:pt x="136969" y="94964"/>
                  </a:lnTo>
                  <a:lnTo>
                    <a:pt x="142589" y="94964"/>
                  </a:lnTo>
                  <a:lnTo>
                    <a:pt x="146780" y="94964"/>
                  </a:lnTo>
                  <a:lnTo>
                    <a:pt x="153734" y="94964"/>
                  </a:lnTo>
                  <a:lnTo>
                    <a:pt x="159353" y="94964"/>
                  </a:lnTo>
                  <a:lnTo>
                    <a:pt x="164973" y="96393"/>
                  </a:lnTo>
                  <a:lnTo>
                    <a:pt x="170498" y="96393"/>
                  </a:lnTo>
                  <a:lnTo>
                    <a:pt x="174689" y="99155"/>
                  </a:lnTo>
                  <a:lnTo>
                    <a:pt x="181642" y="100584"/>
                  </a:lnTo>
                  <a:lnTo>
                    <a:pt x="185928" y="103346"/>
                  </a:lnTo>
                  <a:lnTo>
                    <a:pt x="190024" y="104680"/>
                  </a:lnTo>
                  <a:lnTo>
                    <a:pt x="191453" y="107537"/>
                  </a:lnTo>
                  <a:lnTo>
                    <a:pt x="195644" y="108966"/>
                  </a:lnTo>
                  <a:lnTo>
                    <a:pt x="199835" y="113157"/>
                  </a:lnTo>
                  <a:lnTo>
                    <a:pt x="201263" y="115919"/>
                  </a:lnTo>
                  <a:lnTo>
                    <a:pt x="204026" y="118682"/>
                  </a:lnTo>
                  <a:lnTo>
                    <a:pt x="209645" y="122873"/>
                  </a:lnTo>
                  <a:lnTo>
                    <a:pt x="211074" y="127064"/>
                  </a:lnTo>
                  <a:lnTo>
                    <a:pt x="213836" y="128492"/>
                  </a:lnTo>
                  <a:lnTo>
                    <a:pt x="215265" y="127064"/>
                  </a:lnTo>
                  <a:lnTo>
                    <a:pt x="218027" y="127064"/>
                  </a:lnTo>
                  <a:lnTo>
                    <a:pt x="219456" y="124301"/>
                  </a:lnTo>
                  <a:lnTo>
                    <a:pt x="223647" y="124301"/>
                  </a:lnTo>
                  <a:lnTo>
                    <a:pt x="224981" y="122873"/>
                  </a:lnTo>
                  <a:lnTo>
                    <a:pt x="227838" y="122873"/>
                  </a:lnTo>
                  <a:lnTo>
                    <a:pt x="232029" y="122873"/>
                  </a:lnTo>
                  <a:lnTo>
                    <a:pt x="233363" y="120110"/>
                  </a:lnTo>
                  <a:lnTo>
                    <a:pt x="241744" y="120110"/>
                  </a:lnTo>
                  <a:lnTo>
                    <a:pt x="247364" y="120110"/>
                  </a:lnTo>
                  <a:lnTo>
                    <a:pt x="252984" y="120110"/>
                  </a:lnTo>
                  <a:lnTo>
                    <a:pt x="261366" y="122873"/>
                  </a:lnTo>
                  <a:lnTo>
                    <a:pt x="265557" y="122873"/>
                  </a:lnTo>
                  <a:lnTo>
                    <a:pt x="269748" y="124301"/>
                  </a:lnTo>
                  <a:lnTo>
                    <a:pt x="273939" y="127064"/>
                  </a:lnTo>
                  <a:lnTo>
                    <a:pt x="279464" y="127064"/>
                  </a:lnTo>
                  <a:lnTo>
                    <a:pt x="280892" y="128492"/>
                  </a:lnTo>
                  <a:lnTo>
                    <a:pt x="285083" y="131255"/>
                  </a:lnTo>
                  <a:lnTo>
                    <a:pt x="287846" y="132683"/>
                  </a:lnTo>
                  <a:lnTo>
                    <a:pt x="292037" y="135446"/>
                  </a:lnTo>
                  <a:lnTo>
                    <a:pt x="293465" y="136874"/>
                  </a:lnTo>
                  <a:lnTo>
                    <a:pt x="296228" y="141065"/>
                  </a:lnTo>
                  <a:lnTo>
                    <a:pt x="297656" y="143828"/>
                  </a:lnTo>
                  <a:lnTo>
                    <a:pt x="300514" y="146590"/>
                  </a:lnTo>
                  <a:lnTo>
                    <a:pt x="301847" y="149447"/>
                  </a:lnTo>
                  <a:lnTo>
                    <a:pt x="304610" y="153638"/>
                  </a:lnTo>
                  <a:lnTo>
                    <a:pt x="306038" y="154972"/>
                  </a:lnTo>
                  <a:lnTo>
                    <a:pt x="306038" y="157829"/>
                  </a:lnTo>
                  <a:lnTo>
                    <a:pt x="310229" y="157829"/>
                  </a:lnTo>
                  <a:lnTo>
                    <a:pt x="315849" y="154972"/>
                  </a:lnTo>
                  <a:lnTo>
                    <a:pt x="320040" y="154972"/>
                  </a:lnTo>
                  <a:lnTo>
                    <a:pt x="321374" y="153638"/>
                  </a:lnTo>
                  <a:lnTo>
                    <a:pt x="325660" y="153638"/>
                  </a:lnTo>
                  <a:lnTo>
                    <a:pt x="332613" y="153638"/>
                  </a:lnTo>
                  <a:lnTo>
                    <a:pt x="336804" y="153638"/>
                  </a:lnTo>
                  <a:lnTo>
                    <a:pt x="342424" y="153638"/>
                  </a:lnTo>
                  <a:lnTo>
                    <a:pt x="346615" y="154972"/>
                  </a:lnTo>
                  <a:lnTo>
                    <a:pt x="353568" y="157829"/>
                  </a:lnTo>
                  <a:lnTo>
                    <a:pt x="356330" y="157829"/>
                  </a:lnTo>
                  <a:lnTo>
                    <a:pt x="360521" y="159163"/>
                  </a:lnTo>
                  <a:lnTo>
                    <a:pt x="361950" y="159163"/>
                  </a:lnTo>
                  <a:lnTo>
                    <a:pt x="364712" y="162020"/>
                  </a:lnTo>
                  <a:lnTo>
                    <a:pt x="368903" y="163354"/>
                  </a:lnTo>
                  <a:lnTo>
                    <a:pt x="370332" y="166211"/>
                  </a:lnTo>
                  <a:lnTo>
                    <a:pt x="374523" y="167545"/>
                  </a:lnTo>
                  <a:lnTo>
                    <a:pt x="375952" y="168974"/>
                  </a:lnTo>
                  <a:lnTo>
                    <a:pt x="380143" y="171736"/>
                  </a:lnTo>
                  <a:lnTo>
                    <a:pt x="384334" y="177356"/>
                  </a:lnTo>
                  <a:lnTo>
                    <a:pt x="385667" y="178784"/>
                  </a:lnTo>
                  <a:lnTo>
                    <a:pt x="388525" y="182880"/>
                  </a:lnTo>
                  <a:lnTo>
                    <a:pt x="410813" y="182880"/>
                  </a:lnTo>
                  <a:lnTo>
                    <a:pt x="416433" y="178784"/>
                  </a:lnTo>
                  <a:lnTo>
                    <a:pt x="424815" y="177356"/>
                  </a:lnTo>
                  <a:lnTo>
                    <a:pt x="430435" y="171736"/>
                  </a:lnTo>
                  <a:lnTo>
                    <a:pt x="434626" y="167545"/>
                  </a:lnTo>
                  <a:lnTo>
                    <a:pt x="440246" y="166211"/>
                  </a:lnTo>
                  <a:lnTo>
                    <a:pt x="444437" y="162020"/>
                  </a:lnTo>
                  <a:lnTo>
                    <a:pt x="448532" y="157829"/>
                  </a:lnTo>
                  <a:lnTo>
                    <a:pt x="451390" y="153638"/>
                  </a:lnTo>
                  <a:lnTo>
                    <a:pt x="457010" y="149447"/>
                  </a:lnTo>
                  <a:lnTo>
                    <a:pt x="458343" y="143828"/>
                  </a:lnTo>
                  <a:lnTo>
                    <a:pt x="459772" y="139637"/>
                  </a:lnTo>
                  <a:lnTo>
                    <a:pt x="462534" y="132683"/>
                  </a:lnTo>
                  <a:lnTo>
                    <a:pt x="463963" y="128492"/>
                  </a:lnTo>
                  <a:lnTo>
                    <a:pt x="463963" y="124301"/>
                  </a:lnTo>
                  <a:lnTo>
                    <a:pt x="463963" y="120110"/>
                  </a:lnTo>
                  <a:lnTo>
                    <a:pt x="463963" y="115919"/>
                  </a:lnTo>
                  <a:lnTo>
                    <a:pt x="463963" y="110300"/>
                  </a:lnTo>
                  <a:lnTo>
                    <a:pt x="463963" y="108966"/>
                  </a:lnTo>
                  <a:lnTo>
                    <a:pt x="463963" y="104680"/>
                  </a:lnTo>
                  <a:lnTo>
                    <a:pt x="462534" y="103346"/>
                  </a:lnTo>
                  <a:lnTo>
                    <a:pt x="462534" y="99155"/>
                  </a:lnTo>
                  <a:lnTo>
                    <a:pt x="462534" y="96393"/>
                  </a:lnTo>
                  <a:lnTo>
                    <a:pt x="459772" y="94964"/>
                  </a:lnTo>
                  <a:lnTo>
                    <a:pt x="458343" y="92202"/>
                  </a:lnTo>
                  <a:lnTo>
                    <a:pt x="458343" y="90773"/>
                  </a:lnTo>
                  <a:lnTo>
                    <a:pt x="457010" y="88011"/>
                  </a:lnTo>
                  <a:lnTo>
                    <a:pt x="452723" y="82391"/>
                  </a:lnTo>
                  <a:lnTo>
                    <a:pt x="448532" y="78200"/>
                  </a:lnTo>
                  <a:lnTo>
                    <a:pt x="444437" y="76772"/>
                  </a:lnTo>
                  <a:lnTo>
                    <a:pt x="443008" y="72581"/>
                  </a:lnTo>
                  <a:lnTo>
                    <a:pt x="438817" y="69818"/>
                  </a:lnTo>
                  <a:lnTo>
                    <a:pt x="434626" y="68390"/>
                  </a:lnTo>
                  <a:lnTo>
                    <a:pt x="430435" y="65627"/>
                  </a:lnTo>
                  <a:lnTo>
                    <a:pt x="426244" y="65627"/>
                  </a:lnTo>
                  <a:lnTo>
                    <a:pt x="424815" y="64198"/>
                  </a:lnTo>
                  <a:lnTo>
                    <a:pt x="420624" y="64198"/>
                  </a:lnTo>
                  <a:lnTo>
                    <a:pt x="416433" y="64198"/>
                  </a:lnTo>
                  <a:lnTo>
                    <a:pt x="416433" y="641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68" name="Grafik 15">
            <a:extLst>
              <a:ext uri="{FF2B5EF4-FFF2-40B4-BE49-F238E27FC236}">
                <a16:creationId xmlns:a16="http://schemas.microsoft.com/office/drawing/2014/main" id="{600A24FB-7145-4E00-AA1F-DD2AB7BF7066}"/>
              </a:ext>
            </a:extLst>
          </p:cNvPr>
          <p:cNvGrpSpPr/>
          <p:nvPr/>
        </p:nvGrpSpPr>
        <p:grpSpPr>
          <a:xfrm>
            <a:off x="7177436" y="4474745"/>
            <a:ext cx="524215" cy="370304"/>
            <a:chOff x="3702320" y="2256808"/>
            <a:chExt cx="446722" cy="315563"/>
          </a:xfrm>
          <a:solidFill>
            <a:srgbClr val="808080"/>
          </a:solidFill>
        </p:grpSpPr>
        <p:sp>
          <p:nvSpPr>
            <p:cNvPr id="369" name="Freihandform: Form 21">
              <a:extLst>
                <a:ext uri="{FF2B5EF4-FFF2-40B4-BE49-F238E27FC236}">
                  <a16:creationId xmlns:a16="http://schemas.microsoft.com/office/drawing/2014/main" id="{CEBF92E7-4248-4BB8-BEA6-0C9196009310}"/>
                </a:ext>
              </a:extLst>
            </p:cNvPr>
            <p:cNvSpPr/>
            <p:nvPr/>
          </p:nvSpPr>
          <p:spPr>
            <a:xfrm>
              <a:off x="3702320" y="2256808"/>
              <a:ext cx="446722" cy="315563"/>
            </a:xfrm>
            <a:custGeom>
              <a:avLst/>
              <a:gdLst>
                <a:gd name="connsiteX0" fmla="*/ 445008 w 446722"/>
                <a:gd name="connsiteY0" fmla="*/ 16764 h 315563"/>
                <a:gd name="connsiteX1" fmla="*/ 443579 w 446722"/>
                <a:gd name="connsiteY1" fmla="*/ 12573 h 315563"/>
                <a:gd name="connsiteX2" fmla="*/ 442150 w 446722"/>
                <a:gd name="connsiteY2" fmla="*/ 9525 h 315563"/>
                <a:gd name="connsiteX3" fmla="*/ 439388 w 446722"/>
                <a:gd name="connsiteY3" fmla="*/ 5620 h 315563"/>
                <a:gd name="connsiteX4" fmla="*/ 436626 w 446722"/>
                <a:gd name="connsiteY4" fmla="*/ 2762 h 315563"/>
                <a:gd name="connsiteX5" fmla="*/ 432435 w 446722"/>
                <a:gd name="connsiteY5" fmla="*/ 1429 h 315563"/>
                <a:gd name="connsiteX6" fmla="*/ 428625 w 446722"/>
                <a:gd name="connsiteY6" fmla="*/ 0 h 315563"/>
                <a:gd name="connsiteX7" fmla="*/ 16764 w 446722"/>
                <a:gd name="connsiteY7" fmla="*/ 0 h 315563"/>
                <a:gd name="connsiteX8" fmla="*/ 12573 w 446722"/>
                <a:gd name="connsiteY8" fmla="*/ 1429 h 315563"/>
                <a:gd name="connsiteX9" fmla="*/ 9525 w 446722"/>
                <a:gd name="connsiteY9" fmla="*/ 2762 h 315563"/>
                <a:gd name="connsiteX10" fmla="*/ 5620 w 446722"/>
                <a:gd name="connsiteY10" fmla="*/ 5620 h 315563"/>
                <a:gd name="connsiteX11" fmla="*/ 2762 w 446722"/>
                <a:gd name="connsiteY11" fmla="*/ 9525 h 315563"/>
                <a:gd name="connsiteX12" fmla="*/ 1429 w 446722"/>
                <a:gd name="connsiteY12" fmla="*/ 12287 h 315563"/>
                <a:gd name="connsiteX13" fmla="*/ 0 w 446722"/>
                <a:gd name="connsiteY13" fmla="*/ 16764 h 315563"/>
                <a:gd name="connsiteX14" fmla="*/ 0 w 446722"/>
                <a:gd name="connsiteY14" fmla="*/ 297371 h 315563"/>
                <a:gd name="connsiteX15" fmla="*/ 1429 w 446722"/>
                <a:gd name="connsiteY15" fmla="*/ 301562 h 315563"/>
                <a:gd name="connsiteX16" fmla="*/ 2762 w 446722"/>
                <a:gd name="connsiteY16" fmla="*/ 305753 h 315563"/>
                <a:gd name="connsiteX17" fmla="*/ 5620 w 446722"/>
                <a:gd name="connsiteY17" fmla="*/ 308610 h 315563"/>
                <a:gd name="connsiteX18" fmla="*/ 9811 w 446722"/>
                <a:gd name="connsiteY18" fmla="*/ 311372 h 315563"/>
                <a:gd name="connsiteX19" fmla="*/ 12573 w 446722"/>
                <a:gd name="connsiteY19" fmla="*/ 312801 h 315563"/>
                <a:gd name="connsiteX20" fmla="*/ 16764 w 446722"/>
                <a:gd name="connsiteY20" fmla="*/ 314135 h 315563"/>
                <a:gd name="connsiteX21" fmla="*/ 20955 w 446722"/>
                <a:gd name="connsiteY21" fmla="*/ 315563 h 315563"/>
                <a:gd name="connsiteX22" fmla="*/ 424053 w 446722"/>
                <a:gd name="connsiteY22" fmla="*/ 315563 h 315563"/>
                <a:gd name="connsiteX23" fmla="*/ 428625 w 446722"/>
                <a:gd name="connsiteY23" fmla="*/ 314325 h 315563"/>
                <a:gd name="connsiteX24" fmla="*/ 432816 w 446722"/>
                <a:gd name="connsiteY24" fmla="*/ 312992 h 315563"/>
                <a:gd name="connsiteX25" fmla="*/ 437007 w 446722"/>
                <a:gd name="connsiteY25" fmla="*/ 311563 h 315563"/>
                <a:gd name="connsiteX26" fmla="*/ 439769 w 446722"/>
                <a:gd name="connsiteY26" fmla="*/ 308800 h 315563"/>
                <a:gd name="connsiteX27" fmla="*/ 442532 w 446722"/>
                <a:gd name="connsiteY27" fmla="*/ 305943 h 315563"/>
                <a:gd name="connsiteX28" fmla="*/ 443960 w 446722"/>
                <a:gd name="connsiteY28" fmla="*/ 301752 h 315563"/>
                <a:gd name="connsiteX29" fmla="*/ 445389 w 446722"/>
                <a:gd name="connsiteY29" fmla="*/ 297561 h 315563"/>
                <a:gd name="connsiteX30" fmla="*/ 446723 w 446722"/>
                <a:gd name="connsiteY30" fmla="*/ 293370 h 315563"/>
                <a:gd name="connsiteX31" fmla="*/ 446723 w 446722"/>
                <a:gd name="connsiteY31" fmla="*/ 20955 h 315563"/>
                <a:gd name="connsiteX32" fmla="*/ 27337 w 446722"/>
                <a:gd name="connsiteY32" fmla="*/ 170498 h 315563"/>
                <a:gd name="connsiteX33" fmla="*/ 9621 w 446722"/>
                <a:gd name="connsiteY33" fmla="*/ 152972 h 315563"/>
                <a:gd name="connsiteX34" fmla="*/ 27147 w 446722"/>
                <a:gd name="connsiteY34" fmla="*/ 135256 h 315563"/>
                <a:gd name="connsiteX35" fmla="*/ 44863 w 446722"/>
                <a:gd name="connsiteY35" fmla="*/ 152782 h 315563"/>
                <a:gd name="connsiteX36" fmla="*/ 44863 w 446722"/>
                <a:gd name="connsiteY36" fmla="*/ 152972 h 315563"/>
                <a:gd name="connsiteX37" fmla="*/ 27337 w 446722"/>
                <a:gd name="connsiteY37" fmla="*/ 170498 h 315563"/>
                <a:gd name="connsiteX38" fmla="*/ 389287 w 446722"/>
                <a:gd name="connsiteY38" fmla="*/ 272225 h 315563"/>
                <a:gd name="connsiteX39" fmla="*/ 55912 w 446722"/>
                <a:gd name="connsiteY39" fmla="*/ 272225 h 315563"/>
                <a:gd name="connsiteX40" fmla="*/ 55912 w 446722"/>
                <a:gd name="connsiteY40" fmla="*/ 43625 h 315563"/>
                <a:gd name="connsiteX41" fmla="*/ 389287 w 446722"/>
                <a:gd name="connsiteY41" fmla="*/ 43625 h 315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446722" h="315563">
                  <a:moveTo>
                    <a:pt x="445008" y="16764"/>
                  </a:moveTo>
                  <a:lnTo>
                    <a:pt x="443579" y="12573"/>
                  </a:lnTo>
                  <a:lnTo>
                    <a:pt x="442150" y="9525"/>
                  </a:lnTo>
                  <a:lnTo>
                    <a:pt x="439388" y="5620"/>
                  </a:lnTo>
                  <a:lnTo>
                    <a:pt x="436626" y="2762"/>
                  </a:lnTo>
                  <a:lnTo>
                    <a:pt x="432435" y="1429"/>
                  </a:lnTo>
                  <a:lnTo>
                    <a:pt x="428625" y="0"/>
                  </a:lnTo>
                  <a:lnTo>
                    <a:pt x="16764" y="0"/>
                  </a:lnTo>
                  <a:lnTo>
                    <a:pt x="12573" y="1429"/>
                  </a:lnTo>
                  <a:lnTo>
                    <a:pt x="9525" y="2762"/>
                  </a:lnTo>
                  <a:lnTo>
                    <a:pt x="5620" y="5620"/>
                  </a:lnTo>
                  <a:lnTo>
                    <a:pt x="2762" y="9525"/>
                  </a:lnTo>
                  <a:lnTo>
                    <a:pt x="1429" y="12287"/>
                  </a:lnTo>
                  <a:lnTo>
                    <a:pt x="0" y="16764"/>
                  </a:lnTo>
                  <a:lnTo>
                    <a:pt x="0" y="297371"/>
                  </a:lnTo>
                  <a:lnTo>
                    <a:pt x="1429" y="301562"/>
                  </a:lnTo>
                  <a:lnTo>
                    <a:pt x="2762" y="305753"/>
                  </a:lnTo>
                  <a:lnTo>
                    <a:pt x="5620" y="308610"/>
                  </a:lnTo>
                  <a:lnTo>
                    <a:pt x="9811" y="311372"/>
                  </a:lnTo>
                  <a:lnTo>
                    <a:pt x="12573" y="312801"/>
                  </a:lnTo>
                  <a:lnTo>
                    <a:pt x="16764" y="314135"/>
                  </a:lnTo>
                  <a:lnTo>
                    <a:pt x="20955" y="315563"/>
                  </a:lnTo>
                  <a:lnTo>
                    <a:pt x="424053" y="315563"/>
                  </a:lnTo>
                  <a:lnTo>
                    <a:pt x="428625" y="314325"/>
                  </a:lnTo>
                  <a:lnTo>
                    <a:pt x="432816" y="312992"/>
                  </a:lnTo>
                  <a:lnTo>
                    <a:pt x="437007" y="311563"/>
                  </a:lnTo>
                  <a:lnTo>
                    <a:pt x="439769" y="308800"/>
                  </a:lnTo>
                  <a:lnTo>
                    <a:pt x="442532" y="305943"/>
                  </a:lnTo>
                  <a:lnTo>
                    <a:pt x="443960" y="301752"/>
                  </a:lnTo>
                  <a:lnTo>
                    <a:pt x="445389" y="297561"/>
                  </a:lnTo>
                  <a:lnTo>
                    <a:pt x="446723" y="293370"/>
                  </a:lnTo>
                  <a:lnTo>
                    <a:pt x="446723" y="20955"/>
                  </a:lnTo>
                  <a:close/>
                  <a:moveTo>
                    <a:pt x="27337" y="170498"/>
                  </a:moveTo>
                  <a:cubicBezTo>
                    <a:pt x="17605" y="170550"/>
                    <a:pt x="9673" y="162703"/>
                    <a:pt x="9621" y="152972"/>
                  </a:cubicBezTo>
                  <a:cubicBezTo>
                    <a:pt x="9568" y="143240"/>
                    <a:pt x="17415" y="135308"/>
                    <a:pt x="27147" y="135256"/>
                  </a:cubicBezTo>
                  <a:cubicBezTo>
                    <a:pt x="36879" y="135203"/>
                    <a:pt x="44810" y="143050"/>
                    <a:pt x="44863" y="152782"/>
                  </a:cubicBezTo>
                  <a:cubicBezTo>
                    <a:pt x="44863" y="152845"/>
                    <a:pt x="44863" y="152908"/>
                    <a:pt x="44863" y="152972"/>
                  </a:cubicBezTo>
                  <a:cubicBezTo>
                    <a:pt x="44863" y="162651"/>
                    <a:pt x="37016" y="170498"/>
                    <a:pt x="27337" y="170498"/>
                  </a:cubicBezTo>
                  <a:close/>
                  <a:moveTo>
                    <a:pt x="389287" y="272225"/>
                  </a:moveTo>
                  <a:lnTo>
                    <a:pt x="55912" y="272225"/>
                  </a:lnTo>
                  <a:lnTo>
                    <a:pt x="55912" y="43625"/>
                  </a:lnTo>
                  <a:lnTo>
                    <a:pt x="389287" y="43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0" name="Freihandform: Form 22">
              <a:extLst>
                <a:ext uri="{FF2B5EF4-FFF2-40B4-BE49-F238E27FC236}">
                  <a16:creationId xmlns:a16="http://schemas.microsoft.com/office/drawing/2014/main" id="{0FA41F1B-5898-4673-B131-3AF133DB242A}"/>
                </a:ext>
              </a:extLst>
            </p:cNvPr>
            <p:cNvSpPr/>
            <p:nvPr/>
          </p:nvSpPr>
          <p:spPr>
            <a:xfrm>
              <a:off x="3928466" y="2321245"/>
              <a:ext cx="55930" cy="83314"/>
            </a:xfrm>
            <a:custGeom>
              <a:avLst/>
              <a:gdLst>
                <a:gd name="connsiteX0" fmla="*/ 27695 w 55930"/>
                <a:gd name="connsiteY0" fmla="*/ 83295 h 83314"/>
                <a:gd name="connsiteX1" fmla="*/ 50936 w 55930"/>
                <a:gd name="connsiteY1" fmla="*/ 67769 h 83314"/>
                <a:gd name="connsiteX2" fmla="*/ 55889 w 55930"/>
                <a:gd name="connsiteY2" fmla="*/ 40337 h 83314"/>
                <a:gd name="connsiteX3" fmla="*/ 50079 w 55930"/>
                <a:gd name="connsiteY3" fmla="*/ 13001 h 83314"/>
                <a:gd name="connsiteX4" fmla="*/ 27314 w 55930"/>
                <a:gd name="connsiteY4" fmla="*/ 47 h 83314"/>
                <a:gd name="connsiteX5" fmla="*/ 3597 w 55930"/>
                <a:gd name="connsiteY5" fmla="*/ 18430 h 83314"/>
                <a:gd name="connsiteX6" fmla="*/ 73 w 55930"/>
                <a:gd name="connsiteY6" fmla="*/ 42147 h 83314"/>
                <a:gd name="connsiteX7" fmla="*/ 5978 w 55930"/>
                <a:gd name="connsiteY7" fmla="*/ 70722 h 83314"/>
                <a:gd name="connsiteX8" fmla="*/ 27695 w 55930"/>
                <a:gd name="connsiteY8" fmla="*/ 83295 h 83314"/>
                <a:gd name="connsiteX9" fmla="*/ 15122 w 55930"/>
                <a:gd name="connsiteY9" fmla="*/ 17668 h 83314"/>
                <a:gd name="connsiteX10" fmla="*/ 28362 w 55930"/>
                <a:gd name="connsiteY10" fmla="*/ 9191 h 83314"/>
                <a:gd name="connsiteX11" fmla="*/ 41506 w 55930"/>
                <a:gd name="connsiteY11" fmla="*/ 18049 h 83314"/>
                <a:gd name="connsiteX12" fmla="*/ 44935 w 55930"/>
                <a:gd name="connsiteY12" fmla="*/ 40814 h 83314"/>
                <a:gd name="connsiteX13" fmla="*/ 40173 w 55930"/>
                <a:gd name="connsiteY13" fmla="*/ 66912 h 83314"/>
                <a:gd name="connsiteX14" fmla="*/ 27600 w 55930"/>
                <a:gd name="connsiteY14" fmla="*/ 73961 h 83314"/>
                <a:gd name="connsiteX15" fmla="*/ 13693 w 55930"/>
                <a:gd name="connsiteY15" fmla="*/ 62531 h 83314"/>
                <a:gd name="connsiteX16" fmla="*/ 11026 w 55930"/>
                <a:gd name="connsiteY16" fmla="*/ 42528 h 83314"/>
                <a:gd name="connsiteX17" fmla="*/ 15122 w 55930"/>
                <a:gd name="connsiteY17" fmla="*/ 17668 h 83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5930" h="83314">
                  <a:moveTo>
                    <a:pt x="27695" y="83295"/>
                  </a:moveTo>
                  <a:cubicBezTo>
                    <a:pt x="37959" y="83600"/>
                    <a:pt x="47288" y="77368"/>
                    <a:pt x="50936" y="67769"/>
                  </a:cubicBezTo>
                  <a:cubicBezTo>
                    <a:pt x="54535" y="59086"/>
                    <a:pt x="56225" y="49731"/>
                    <a:pt x="55889" y="40337"/>
                  </a:cubicBezTo>
                  <a:cubicBezTo>
                    <a:pt x="56213" y="30888"/>
                    <a:pt x="54218" y="21502"/>
                    <a:pt x="50079" y="13001"/>
                  </a:cubicBezTo>
                  <a:cubicBezTo>
                    <a:pt x="45741" y="4540"/>
                    <a:pt x="36803" y="-546"/>
                    <a:pt x="27314" y="47"/>
                  </a:cubicBezTo>
                  <a:cubicBezTo>
                    <a:pt x="16116" y="-26"/>
                    <a:pt x="6319" y="7567"/>
                    <a:pt x="3597" y="18430"/>
                  </a:cubicBezTo>
                  <a:cubicBezTo>
                    <a:pt x="1080" y="26077"/>
                    <a:pt x="-112" y="34098"/>
                    <a:pt x="73" y="42147"/>
                  </a:cubicBezTo>
                  <a:cubicBezTo>
                    <a:pt x="-422" y="52019"/>
                    <a:pt x="1611" y="61855"/>
                    <a:pt x="5978" y="70722"/>
                  </a:cubicBezTo>
                  <a:cubicBezTo>
                    <a:pt x="10174" y="78763"/>
                    <a:pt x="18633" y="83660"/>
                    <a:pt x="27695" y="83295"/>
                  </a:cubicBezTo>
                  <a:close/>
                  <a:moveTo>
                    <a:pt x="15122" y="17668"/>
                  </a:moveTo>
                  <a:cubicBezTo>
                    <a:pt x="17362" y="12379"/>
                    <a:pt x="22622" y="9011"/>
                    <a:pt x="28362" y="9191"/>
                  </a:cubicBezTo>
                  <a:cubicBezTo>
                    <a:pt x="34249" y="8805"/>
                    <a:pt x="39654" y="12447"/>
                    <a:pt x="41506" y="18049"/>
                  </a:cubicBezTo>
                  <a:cubicBezTo>
                    <a:pt x="44008" y="25370"/>
                    <a:pt x="45169" y="33081"/>
                    <a:pt x="44935" y="40814"/>
                  </a:cubicBezTo>
                  <a:cubicBezTo>
                    <a:pt x="45712" y="49783"/>
                    <a:pt x="44068" y="58796"/>
                    <a:pt x="40173" y="66912"/>
                  </a:cubicBezTo>
                  <a:cubicBezTo>
                    <a:pt x="37576" y="71373"/>
                    <a:pt x="32761" y="74073"/>
                    <a:pt x="27600" y="73961"/>
                  </a:cubicBezTo>
                  <a:cubicBezTo>
                    <a:pt x="20858" y="73881"/>
                    <a:pt x="15077" y="69129"/>
                    <a:pt x="13693" y="62531"/>
                  </a:cubicBezTo>
                  <a:cubicBezTo>
                    <a:pt x="11696" y="56058"/>
                    <a:pt x="10794" y="49298"/>
                    <a:pt x="11026" y="42528"/>
                  </a:cubicBezTo>
                  <a:cubicBezTo>
                    <a:pt x="10566" y="34042"/>
                    <a:pt x="11964" y="25558"/>
                    <a:pt x="15122" y="17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1" name="Freihandform: Form 23">
              <a:extLst>
                <a:ext uri="{FF2B5EF4-FFF2-40B4-BE49-F238E27FC236}">
                  <a16:creationId xmlns:a16="http://schemas.microsoft.com/office/drawing/2014/main" id="{85EF514F-5CEE-4D6F-84FC-AEBC38D78465}"/>
                </a:ext>
              </a:extLst>
            </p:cNvPr>
            <p:cNvSpPr/>
            <p:nvPr/>
          </p:nvSpPr>
          <p:spPr>
            <a:xfrm>
              <a:off x="3806904" y="2433115"/>
              <a:ext cx="29908" cy="80867"/>
            </a:xfrm>
            <a:custGeom>
              <a:avLst/>
              <a:gdLst>
                <a:gd name="connsiteX0" fmla="*/ 15335 w 29908"/>
                <a:gd name="connsiteY0" fmla="*/ 11906 h 80867"/>
                <a:gd name="connsiteX1" fmla="*/ 0 w 29908"/>
                <a:gd name="connsiteY1" fmla="*/ 15526 h 80867"/>
                <a:gd name="connsiteX2" fmla="*/ 0 w 29908"/>
                <a:gd name="connsiteY2" fmla="*/ 23717 h 80867"/>
                <a:gd name="connsiteX3" fmla="*/ 19050 w 29908"/>
                <a:gd name="connsiteY3" fmla="*/ 23717 h 80867"/>
                <a:gd name="connsiteX4" fmla="*/ 19050 w 29908"/>
                <a:gd name="connsiteY4" fmla="*/ 80867 h 80867"/>
                <a:gd name="connsiteX5" fmla="*/ 29909 w 29908"/>
                <a:gd name="connsiteY5" fmla="*/ 80867 h 80867"/>
                <a:gd name="connsiteX6" fmla="*/ 29909 w 29908"/>
                <a:gd name="connsiteY6" fmla="*/ 0 h 80867"/>
                <a:gd name="connsiteX7" fmla="*/ 21812 w 29908"/>
                <a:gd name="connsiteY7" fmla="*/ 0 h 80867"/>
                <a:gd name="connsiteX8" fmla="*/ 15335 w 29908"/>
                <a:gd name="connsiteY8" fmla="*/ 11906 h 80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908" h="80867">
                  <a:moveTo>
                    <a:pt x="15335" y="11906"/>
                  </a:moveTo>
                  <a:cubicBezTo>
                    <a:pt x="10521" y="14137"/>
                    <a:pt x="5304" y="15368"/>
                    <a:pt x="0" y="15526"/>
                  </a:cubicBezTo>
                  <a:lnTo>
                    <a:pt x="0" y="23717"/>
                  </a:lnTo>
                  <a:lnTo>
                    <a:pt x="19050" y="23717"/>
                  </a:lnTo>
                  <a:lnTo>
                    <a:pt x="19050" y="80867"/>
                  </a:lnTo>
                  <a:lnTo>
                    <a:pt x="29909" y="80867"/>
                  </a:lnTo>
                  <a:lnTo>
                    <a:pt x="29909" y="0"/>
                  </a:lnTo>
                  <a:lnTo>
                    <a:pt x="21812" y="0"/>
                  </a:lnTo>
                  <a:cubicBezTo>
                    <a:pt x="21369" y="4687"/>
                    <a:pt x="19029" y="8988"/>
                    <a:pt x="15335" y="1190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2" name="Freihandform: Form 24">
              <a:extLst>
                <a:ext uri="{FF2B5EF4-FFF2-40B4-BE49-F238E27FC236}">
                  <a16:creationId xmlns:a16="http://schemas.microsoft.com/office/drawing/2014/main" id="{6BB6958E-D34A-4FEC-89EC-BF510C61AE4C}"/>
                </a:ext>
              </a:extLst>
            </p:cNvPr>
            <p:cNvSpPr/>
            <p:nvPr/>
          </p:nvSpPr>
          <p:spPr>
            <a:xfrm>
              <a:off x="3863612" y="2432783"/>
              <a:ext cx="56040" cy="83314"/>
            </a:xfrm>
            <a:custGeom>
              <a:avLst/>
              <a:gdLst>
                <a:gd name="connsiteX0" fmla="*/ 27684 w 56040"/>
                <a:gd name="connsiteY0" fmla="*/ 83295 h 83314"/>
                <a:gd name="connsiteX1" fmla="*/ 51020 w 56040"/>
                <a:gd name="connsiteY1" fmla="*/ 67769 h 83314"/>
                <a:gd name="connsiteX2" fmla="*/ 55973 w 56040"/>
                <a:gd name="connsiteY2" fmla="*/ 40433 h 83314"/>
                <a:gd name="connsiteX3" fmla="*/ 50544 w 56040"/>
                <a:gd name="connsiteY3" fmla="*/ 13001 h 83314"/>
                <a:gd name="connsiteX4" fmla="*/ 27779 w 56040"/>
                <a:gd name="connsiteY4" fmla="*/ 47 h 83314"/>
                <a:gd name="connsiteX5" fmla="*/ 3681 w 56040"/>
                <a:gd name="connsiteY5" fmla="*/ 18430 h 83314"/>
                <a:gd name="connsiteX6" fmla="*/ 61 w 56040"/>
                <a:gd name="connsiteY6" fmla="*/ 42147 h 83314"/>
                <a:gd name="connsiteX7" fmla="*/ 5967 w 56040"/>
                <a:gd name="connsiteY7" fmla="*/ 70722 h 83314"/>
                <a:gd name="connsiteX8" fmla="*/ 27684 w 56040"/>
                <a:gd name="connsiteY8" fmla="*/ 83295 h 83314"/>
                <a:gd name="connsiteX9" fmla="*/ 15206 w 56040"/>
                <a:gd name="connsiteY9" fmla="*/ 17668 h 83314"/>
                <a:gd name="connsiteX10" fmla="*/ 28350 w 56040"/>
                <a:gd name="connsiteY10" fmla="*/ 9191 h 83314"/>
                <a:gd name="connsiteX11" fmla="*/ 41590 w 56040"/>
                <a:gd name="connsiteY11" fmla="*/ 18049 h 83314"/>
                <a:gd name="connsiteX12" fmla="*/ 44924 w 56040"/>
                <a:gd name="connsiteY12" fmla="*/ 40814 h 83314"/>
                <a:gd name="connsiteX13" fmla="*/ 40257 w 56040"/>
                <a:gd name="connsiteY13" fmla="*/ 66912 h 83314"/>
                <a:gd name="connsiteX14" fmla="*/ 27684 w 56040"/>
                <a:gd name="connsiteY14" fmla="*/ 73961 h 83314"/>
                <a:gd name="connsiteX15" fmla="*/ 13682 w 56040"/>
                <a:gd name="connsiteY15" fmla="*/ 62150 h 83314"/>
                <a:gd name="connsiteX16" fmla="*/ 11015 w 56040"/>
                <a:gd name="connsiteY16" fmla="*/ 42147 h 83314"/>
                <a:gd name="connsiteX17" fmla="*/ 15206 w 56040"/>
                <a:gd name="connsiteY17" fmla="*/ 17668 h 83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6040" h="83314">
                  <a:moveTo>
                    <a:pt x="27684" y="83295"/>
                  </a:moveTo>
                  <a:cubicBezTo>
                    <a:pt x="37973" y="83612"/>
                    <a:pt x="47336" y="77383"/>
                    <a:pt x="51020" y="67769"/>
                  </a:cubicBezTo>
                  <a:cubicBezTo>
                    <a:pt x="54572" y="59106"/>
                    <a:pt x="56260" y="49792"/>
                    <a:pt x="55973" y="40433"/>
                  </a:cubicBezTo>
                  <a:cubicBezTo>
                    <a:pt x="56431" y="30982"/>
                    <a:pt x="54567" y="21564"/>
                    <a:pt x="50544" y="13001"/>
                  </a:cubicBezTo>
                  <a:cubicBezTo>
                    <a:pt x="46206" y="4540"/>
                    <a:pt x="37268" y="-546"/>
                    <a:pt x="27779" y="47"/>
                  </a:cubicBezTo>
                  <a:cubicBezTo>
                    <a:pt x="16439" y="-204"/>
                    <a:pt x="6436" y="7427"/>
                    <a:pt x="3681" y="18430"/>
                  </a:cubicBezTo>
                  <a:cubicBezTo>
                    <a:pt x="1129" y="26071"/>
                    <a:pt x="-95" y="34093"/>
                    <a:pt x="61" y="42147"/>
                  </a:cubicBezTo>
                  <a:cubicBezTo>
                    <a:pt x="-388" y="52016"/>
                    <a:pt x="1643" y="61840"/>
                    <a:pt x="5967" y="70722"/>
                  </a:cubicBezTo>
                  <a:cubicBezTo>
                    <a:pt x="10162" y="78763"/>
                    <a:pt x="18621" y="83660"/>
                    <a:pt x="27684" y="83295"/>
                  </a:cubicBezTo>
                  <a:close/>
                  <a:moveTo>
                    <a:pt x="15206" y="17668"/>
                  </a:moveTo>
                  <a:cubicBezTo>
                    <a:pt x="17366" y="12357"/>
                    <a:pt x="22621" y="8968"/>
                    <a:pt x="28350" y="9191"/>
                  </a:cubicBezTo>
                  <a:cubicBezTo>
                    <a:pt x="34272" y="8760"/>
                    <a:pt x="39728" y="12411"/>
                    <a:pt x="41590" y="18049"/>
                  </a:cubicBezTo>
                  <a:cubicBezTo>
                    <a:pt x="44055" y="25377"/>
                    <a:pt x="45184" y="33087"/>
                    <a:pt x="44924" y="40814"/>
                  </a:cubicBezTo>
                  <a:cubicBezTo>
                    <a:pt x="45721" y="49774"/>
                    <a:pt x="44110" y="58784"/>
                    <a:pt x="40257" y="66912"/>
                  </a:cubicBezTo>
                  <a:cubicBezTo>
                    <a:pt x="37630" y="71344"/>
                    <a:pt x="32834" y="74032"/>
                    <a:pt x="27684" y="73961"/>
                  </a:cubicBezTo>
                  <a:cubicBezTo>
                    <a:pt x="20816" y="73816"/>
                    <a:pt x="14982" y="68895"/>
                    <a:pt x="13682" y="62150"/>
                  </a:cubicBezTo>
                  <a:cubicBezTo>
                    <a:pt x="11731" y="55667"/>
                    <a:pt x="10831" y="48914"/>
                    <a:pt x="11015" y="42147"/>
                  </a:cubicBezTo>
                  <a:cubicBezTo>
                    <a:pt x="10634" y="33781"/>
                    <a:pt x="12064" y="25431"/>
                    <a:pt x="15206" y="176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3" name="Freihandform: Form 25">
              <a:extLst>
                <a:ext uri="{FF2B5EF4-FFF2-40B4-BE49-F238E27FC236}">
                  <a16:creationId xmlns:a16="http://schemas.microsoft.com/office/drawing/2014/main" id="{77DADF30-6F6B-4166-A254-7182EDC801B4}"/>
                </a:ext>
              </a:extLst>
            </p:cNvPr>
            <p:cNvSpPr/>
            <p:nvPr/>
          </p:nvSpPr>
          <p:spPr>
            <a:xfrm>
              <a:off x="3935396" y="2433115"/>
              <a:ext cx="29908" cy="80867"/>
            </a:xfrm>
            <a:custGeom>
              <a:avLst/>
              <a:gdLst>
                <a:gd name="connsiteX0" fmla="*/ 15431 w 29908"/>
                <a:gd name="connsiteY0" fmla="*/ 11906 h 80867"/>
                <a:gd name="connsiteX1" fmla="*/ 0 w 29908"/>
                <a:gd name="connsiteY1" fmla="*/ 15526 h 80867"/>
                <a:gd name="connsiteX2" fmla="*/ 0 w 29908"/>
                <a:gd name="connsiteY2" fmla="*/ 23717 h 80867"/>
                <a:gd name="connsiteX3" fmla="*/ 19050 w 29908"/>
                <a:gd name="connsiteY3" fmla="*/ 23717 h 80867"/>
                <a:gd name="connsiteX4" fmla="*/ 19050 w 29908"/>
                <a:gd name="connsiteY4" fmla="*/ 80867 h 80867"/>
                <a:gd name="connsiteX5" fmla="*/ 29909 w 29908"/>
                <a:gd name="connsiteY5" fmla="*/ 80867 h 80867"/>
                <a:gd name="connsiteX6" fmla="*/ 29909 w 29908"/>
                <a:gd name="connsiteY6" fmla="*/ 0 h 80867"/>
                <a:gd name="connsiteX7" fmla="*/ 21908 w 29908"/>
                <a:gd name="connsiteY7" fmla="*/ 0 h 80867"/>
                <a:gd name="connsiteX8" fmla="*/ 15431 w 29908"/>
                <a:gd name="connsiteY8" fmla="*/ 11906 h 80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908" h="80867">
                  <a:moveTo>
                    <a:pt x="15431" y="11906"/>
                  </a:moveTo>
                  <a:cubicBezTo>
                    <a:pt x="10582" y="14135"/>
                    <a:pt x="5334" y="15366"/>
                    <a:pt x="0" y="15526"/>
                  </a:cubicBezTo>
                  <a:lnTo>
                    <a:pt x="0" y="23717"/>
                  </a:lnTo>
                  <a:lnTo>
                    <a:pt x="19050" y="23717"/>
                  </a:lnTo>
                  <a:lnTo>
                    <a:pt x="19050" y="80867"/>
                  </a:lnTo>
                  <a:lnTo>
                    <a:pt x="29909" y="80867"/>
                  </a:lnTo>
                  <a:lnTo>
                    <a:pt x="29909" y="0"/>
                  </a:lnTo>
                  <a:lnTo>
                    <a:pt x="21908" y="0"/>
                  </a:lnTo>
                  <a:cubicBezTo>
                    <a:pt x="21422" y="4674"/>
                    <a:pt x="19091" y="8960"/>
                    <a:pt x="15431" y="1190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4" name="Freihandform: Form 1015">
              <a:extLst>
                <a:ext uri="{FF2B5EF4-FFF2-40B4-BE49-F238E27FC236}">
                  <a16:creationId xmlns:a16="http://schemas.microsoft.com/office/drawing/2014/main" id="{2BC736B3-7B74-4676-BB3F-45E11D546AA1}"/>
                </a:ext>
              </a:extLst>
            </p:cNvPr>
            <p:cNvSpPr/>
            <p:nvPr/>
          </p:nvSpPr>
          <p:spPr>
            <a:xfrm>
              <a:off x="3992199" y="2432785"/>
              <a:ext cx="55945" cy="83312"/>
            </a:xfrm>
            <a:custGeom>
              <a:avLst/>
              <a:gdLst>
                <a:gd name="connsiteX0" fmla="*/ 27684 w 55945"/>
                <a:gd name="connsiteY0" fmla="*/ 83293 h 83312"/>
                <a:gd name="connsiteX1" fmla="*/ 51020 w 55945"/>
                <a:gd name="connsiteY1" fmla="*/ 67767 h 83312"/>
                <a:gd name="connsiteX2" fmla="*/ 55878 w 55945"/>
                <a:gd name="connsiteY2" fmla="*/ 40431 h 83312"/>
                <a:gd name="connsiteX3" fmla="*/ 50448 w 55945"/>
                <a:gd name="connsiteY3" fmla="*/ 12999 h 83312"/>
                <a:gd name="connsiteX4" fmla="*/ 27779 w 55945"/>
                <a:gd name="connsiteY4" fmla="*/ 45 h 83312"/>
                <a:gd name="connsiteX5" fmla="*/ 3585 w 55945"/>
                <a:gd name="connsiteY5" fmla="*/ 18428 h 83312"/>
                <a:gd name="connsiteX6" fmla="*/ 61 w 55945"/>
                <a:gd name="connsiteY6" fmla="*/ 42145 h 83312"/>
                <a:gd name="connsiteX7" fmla="*/ 5967 w 55945"/>
                <a:gd name="connsiteY7" fmla="*/ 70720 h 83312"/>
                <a:gd name="connsiteX8" fmla="*/ 27684 w 55945"/>
                <a:gd name="connsiteY8" fmla="*/ 83293 h 83312"/>
                <a:gd name="connsiteX9" fmla="*/ 14920 w 55945"/>
                <a:gd name="connsiteY9" fmla="*/ 17666 h 83312"/>
                <a:gd name="connsiteX10" fmla="*/ 28065 w 55945"/>
                <a:gd name="connsiteY10" fmla="*/ 9189 h 83312"/>
                <a:gd name="connsiteX11" fmla="*/ 41209 w 55945"/>
                <a:gd name="connsiteY11" fmla="*/ 18047 h 83312"/>
                <a:gd name="connsiteX12" fmla="*/ 44638 w 55945"/>
                <a:gd name="connsiteY12" fmla="*/ 40812 h 83312"/>
                <a:gd name="connsiteX13" fmla="*/ 39971 w 55945"/>
                <a:gd name="connsiteY13" fmla="*/ 66910 h 83312"/>
                <a:gd name="connsiteX14" fmla="*/ 19947 w 55945"/>
                <a:gd name="connsiteY14" fmla="*/ 71185 h 83312"/>
                <a:gd name="connsiteX15" fmla="*/ 13682 w 55945"/>
                <a:gd name="connsiteY15" fmla="*/ 62148 h 83312"/>
                <a:gd name="connsiteX16" fmla="*/ 11015 w 55945"/>
                <a:gd name="connsiteY16" fmla="*/ 42145 h 83312"/>
                <a:gd name="connsiteX17" fmla="*/ 14920 w 55945"/>
                <a:gd name="connsiteY17" fmla="*/ 17666 h 83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5945" h="83312">
                  <a:moveTo>
                    <a:pt x="27684" y="83293"/>
                  </a:moveTo>
                  <a:cubicBezTo>
                    <a:pt x="37965" y="83581"/>
                    <a:pt x="47313" y="77362"/>
                    <a:pt x="51020" y="67767"/>
                  </a:cubicBezTo>
                  <a:cubicBezTo>
                    <a:pt x="54523" y="59092"/>
                    <a:pt x="56178" y="49782"/>
                    <a:pt x="55878" y="40431"/>
                  </a:cubicBezTo>
                  <a:cubicBezTo>
                    <a:pt x="56336" y="30980"/>
                    <a:pt x="54472" y="21562"/>
                    <a:pt x="50448" y="12999"/>
                  </a:cubicBezTo>
                  <a:cubicBezTo>
                    <a:pt x="46144" y="4554"/>
                    <a:pt x="37240" y="-534"/>
                    <a:pt x="27779" y="45"/>
                  </a:cubicBezTo>
                  <a:cubicBezTo>
                    <a:pt x="16415" y="-215"/>
                    <a:pt x="6380" y="7410"/>
                    <a:pt x="3585" y="18428"/>
                  </a:cubicBezTo>
                  <a:cubicBezTo>
                    <a:pt x="1068" y="26075"/>
                    <a:pt x="-124" y="34096"/>
                    <a:pt x="61" y="42145"/>
                  </a:cubicBezTo>
                  <a:cubicBezTo>
                    <a:pt x="-388" y="52014"/>
                    <a:pt x="1643" y="61838"/>
                    <a:pt x="5967" y="70720"/>
                  </a:cubicBezTo>
                  <a:cubicBezTo>
                    <a:pt x="10162" y="78761"/>
                    <a:pt x="18621" y="83658"/>
                    <a:pt x="27684" y="83293"/>
                  </a:cubicBezTo>
                  <a:close/>
                  <a:moveTo>
                    <a:pt x="14920" y="17666"/>
                  </a:moveTo>
                  <a:cubicBezTo>
                    <a:pt x="17081" y="12355"/>
                    <a:pt x="22336" y="8966"/>
                    <a:pt x="28065" y="9189"/>
                  </a:cubicBezTo>
                  <a:cubicBezTo>
                    <a:pt x="33961" y="8769"/>
                    <a:pt x="39385" y="12424"/>
                    <a:pt x="41209" y="18047"/>
                  </a:cubicBezTo>
                  <a:cubicBezTo>
                    <a:pt x="43710" y="25368"/>
                    <a:pt x="44872" y="33079"/>
                    <a:pt x="44638" y="40812"/>
                  </a:cubicBezTo>
                  <a:cubicBezTo>
                    <a:pt x="45435" y="49772"/>
                    <a:pt x="43824" y="58782"/>
                    <a:pt x="39971" y="66910"/>
                  </a:cubicBezTo>
                  <a:cubicBezTo>
                    <a:pt x="35622" y="73620"/>
                    <a:pt x="26657" y="75534"/>
                    <a:pt x="19947" y="71185"/>
                  </a:cubicBezTo>
                  <a:cubicBezTo>
                    <a:pt x="16751" y="69114"/>
                    <a:pt x="14500" y="65867"/>
                    <a:pt x="13682" y="62148"/>
                  </a:cubicBezTo>
                  <a:cubicBezTo>
                    <a:pt x="11684" y="55675"/>
                    <a:pt x="10783" y="48915"/>
                    <a:pt x="11015" y="42145"/>
                  </a:cubicBezTo>
                  <a:cubicBezTo>
                    <a:pt x="10544" y="33800"/>
                    <a:pt x="11875" y="25451"/>
                    <a:pt x="14920" y="1766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5" name="Freihandform: Form 1016">
              <a:extLst>
                <a:ext uri="{FF2B5EF4-FFF2-40B4-BE49-F238E27FC236}">
                  <a16:creationId xmlns:a16="http://schemas.microsoft.com/office/drawing/2014/main" id="{C104EC26-308A-4F04-8D5E-647E7DA6B138}"/>
                </a:ext>
              </a:extLst>
            </p:cNvPr>
            <p:cNvSpPr/>
            <p:nvPr/>
          </p:nvSpPr>
          <p:spPr>
            <a:xfrm>
              <a:off x="3799312" y="2320965"/>
              <a:ext cx="56047" cy="83308"/>
            </a:xfrm>
            <a:custGeom>
              <a:avLst/>
              <a:gdLst>
                <a:gd name="connsiteX0" fmla="*/ 27785 w 56047"/>
                <a:gd name="connsiteY0" fmla="*/ 83290 h 83308"/>
                <a:gd name="connsiteX1" fmla="*/ 51026 w 56047"/>
                <a:gd name="connsiteY1" fmla="*/ 67764 h 83308"/>
                <a:gd name="connsiteX2" fmla="*/ 55979 w 56047"/>
                <a:gd name="connsiteY2" fmla="*/ 40618 h 83308"/>
                <a:gd name="connsiteX3" fmla="*/ 50550 w 56047"/>
                <a:gd name="connsiteY3" fmla="*/ 13186 h 83308"/>
                <a:gd name="connsiteX4" fmla="*/ 27785 w 56047"/>
                <a:gd name="connsiteY4" fmla="*/ 41 h 83308"/>
                <a:gd name="connsiteX5" fmla="*/ 3687 w 56047"/>
                <a:gd name="connsiteY5" fmla="*/ 18520 h 83308"/>
                <a:gd name="connsiteX6" fmla="*/ 67 w 56047"/>
                <a:gd name="connsiteY6" fmla="*/ 42142 h 83308"/>
                <a:gd name="connsiteX7" fmla="*/ 6068 w 56047"/>
                <a:gd name="connsiteY7" fmla="*/ 70717 h 83308"/>
                <a:gd name="connsiteX8" fmla="*/ 27785 w 56047"/>
                <a:gd name="connsiteY8" fmla="*/ 83290 h 83308"/>
                <a:gd name="connsiteX9" fmla="*/ 15212 w 56047"/>
                <a:gd name="connsiteY9" fmla="*/ 17662 h 83308"/>
                <a:gd name="connsiteX10" fmla="*/ 28357 w 56047"/>
                <a:gd name="connsiteY10" fmla="*/ 9185 h 83308"/>
                <a:gd name="connsiteX11" fmla="*/ 41596 w 56047"/>
                <a:gd name="connsiteY11" fmla="*/ 18139 h 83308"/>
                <a:gd name="connsiteX12" fmla="*/ 45025 w 56047"/>
                <a:gd name="connsiteY12" fmla="*/ 40618 h 83308"/>
                <a:gd name="connsiteX13" fmla="*/ 40263 w 56047"/>
                <a:gd name="connsiteY13" fmla="*/ 66811 h 83308"/>
                <a:gd name="connsiteX14" fmla="*/ 27690 w 56047"/>
                <a:gd name="connsiteY14" fmla="*/ 73765 h 83308"/>
                <a:gd name="connsiteX15" fmla="*/ 13688 w 56047"/>
                <a:gd name="connsiteY15" fmla="*/ 62335 h 83308"/>
                <a:gd name="connsiteX16" fmla="*/ 11116 w 56047"/>
                <a:gd name="connsiteY16" fmla="*/ 42427 h 83308"/>
                <a:gd name="connsiteX17" fmla="*/ 15212 w 56047"/>
                <a:gd name="connsiteY17" fmla="*/ 17662 h 83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6047" h="83308">
                  <a:moveTo>
                    <a:pt x="27785" y="83290"/>
                  </a:moveTo>
                  <a:cubicBezTo>
                    <a:pt x="38057" y="83624"/>
                    <a:pt x="47402" y="77381"/>
                    <a:pt x="51026" y="67764"/>
                  </a:cubicBezTo>
                  <a:cubicBezTo>
                    <a:pt x="54594" y="59172"/>
                    <a:pt x="56282" y="49916"/>
                    <a:pt x="55979" y="40618"/>
                  </a:cubicBezTo>
                  <a:cubicBezTo>
                    <a:pt x="56437" y="31167"/>
                    <a:pt x="54573" y="21749"/>
                    <a:pt x="50550" y="13186"/>
                  </a:cubicBezTo>
                  <a:cubicBezTo>
                    <a:pt x="46267" y="4651"/>
                    <a:pt x="37317" y="-517"/>
                    <a:pt x="27785" y="41"/>
                  </a:cubicBezTo>
                  <a:cubicBezTo>
                    <a:pt x="16406" y="-235"/>
                    <a:pt x="6372" y="7458"/>
                    <a:pt x="3687" y="18520"/>
                  </a:cubicBezTo>
                  <a:cubicBezTo>
                    <a:pt x="1128" y="26126"/>
                    <a:pt x="-96" y="34118"/>
                    <a:pt x="67" y="42142"/>
                  </a:cubicBezTo>
                  <a:cubicBezTo>
                    <a:pt x="-410" y="52023"/>
                    <a:pt x="1656" y="61862"/>
                    <a:pt x="6068" y="70717"/>
                  </a:cubicBezTo>
                  <a:cubicBezTo>
                    <a:pt x="10264" y="78757"/>
                    <a:pt x="18723" y="83655"/>
                    <a:pt x="27785" y="83290"/>
                  </a:cubicBezTo>
                  <a:close/>
                  <a:moveTo>
                    <a:pt x="15212" y="17662"/>
                  </a:moveTo>
                  <a:cubicBezTo>
                    <a:pt x="17417" y="12389"/>
                    <a:pt x="22643" y="9018"/>
                    <a:pt x="28357" y="9185"/>
                  </a:cubicBezTo>
                  <a:cubicBezTo>
                    <a:pt x="34305" y="8767"/>
                    <a:pt x="39770" y="12463"/>
                    <a:pt x="41596" y="18139"/>
                  </a:cubicBezTo>
                  <a:cubicBezTo>
                    <a:pt x="44076" y="25366"/>
                    <a:pt x="45237" y="32980"/>
                    <a:pt x="45025" y="40618"/>
                  </a:cubicBezTo>
                  <a:cubicBezTo>
                    <a:pt x="45801" y="49617"/>
                    <a:pt x="44157" y="58661"/>
                    <a:pt x="40263" y="66811"/>
                  </a:cubicBezTo>
                  <a:cubicBezTo>
                    <a:pt x="37599" y="71192"/>
                    <a:pt x="32816" y="73836"/>
                    <a:pt x="27690" y="73765"/>
                  </a:cubicBezTo>
                  <a:cubicBezTo>
                    <a:pt x="20938" y="73658"/>
                    <a:pt x="15144" y="68928"/>
                    <a:pt x="13688" y="62335"/>
                  </a:cubicBezTo>
                  <a:cubicBezTo>
                    <a:pt x="11781" y="55877"/>
                    <a:pt x="10913" y="49157"/>
                    <a:pt x="11116" y="42427"/>
                  </a:cubicBezTo>
                  <a:cubicBezTo>
                    <a:pt x="10676" y="33973"/>
                    <a:pt x="12073" y="25524"/>
                    <a:pt x="15212" y="1766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6" name="Freihandform: Form 1017">
              <a:extLst>
                <a:ext uri="{FF2B5EF4-FFF2-40B4-BE49-F238E27FC236}">
                  <a16:creationId xmlns:a16="http://schemas.microsoft.com/office/drawing/2014/main" id="{1542D7D6-CFF4-44AC-BEF5-ACD144E416FC}"/>
                </a:ext>
              </a:extLst>
            </p:cNvPr>
            <p:cNvSpPr/>
            <p:nvPr/>
          </p:nvSpPr>
          <p:spPr>
            <a:xfrm>
              <a:off x="3871198" y="2321292"/>
              <a:ext cx="29908" cy="80772"/>
            </a:xfrm>
            <a:custGeom>
              <a:avLst/>
              <a:gdLst>
                <a:gd name="connsiteX0" fmla="*/ 19050 w 29908"/>
                <a:gd name="connsiteY0" fmla="*/ 80772 h 80772"/>
                <a:gd name="connsiteX1" fmla="*/ 29909 w 29908"/>
                <a:gd name="connsiteY1" fmla="*/ 80772 h 80772"/>
                <a:gd name="connsiteX2" fmla="*/ 29909 w 29908"/>
                <a:gd name="connsiteY2" fmla="*/ 0 h 80772"/>
                <a:gd name="connsiteX3" fmla="*/ 21622 w 29908"/>
                <a:gd name="connsiteY3" fmla="*/ 0 h 80772"/>
                <a:gd name="connsiteX4" fmla="*/ 15335 w 29908"/>
                <a:gd name="connsiteY4" fmla="*/ 11716 h 80772"/>
                <a:gd name="connsiteX5" fmla="*/ 0 w 29908"/>
                <a:gd name="connsiteY5" fmla="*/ 15240 h 80772"/>
                <a:gd name="connsiteX6" fmla="*/ 0 w 29908"/>
                <a:gd name="connsiteY6" fmla="*/ 23050 h 80772"/>
                <a:gd name="connsiteX7" fmla="*/ 19050 w 29908"/>
                <a:gd name="connsiteY7" fmla="*/ 23050 h 80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908" h="80772">
                  <a:moveTo>
                    <a:pt x="19050" y="80772"/>
                  </a:moveTo>
                  <a:lnTo>
                    <a:pt x="29909" y="80772"/>
                  </a:lnTo>
                  <a:lnTo>
                    <a:pt x="29909" y="0"/>
                  </a:lnTo>
                  <a:lnTo>
                    <a:pt x="21622" y="0"/>
                  </a:lnTo>
                  <a:cubicBezTo>
                    <a:pt x="21079" y="4559"/>
                    <a:pt x="18834" y="8744"/>
                    <a:pt x="15335" y="11716"/>
                  </a:cubicBezTo>
                  <a:cubicBezTo>
                    <a:pt x="10496" y="13859"/>
                    <a:pt x="5290" y="15056"/>
                    <a:pt x="0" y="15240"/>
                  </a:cubicBezTo>
                  <a:lnTo>
                    <a:pt x="0" y="23050"/>
                  </a:lnTo>
                  <a:lnTo>
                    <a:pt x="19050" y="23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7" name="Freihandform: Form 1036">
              <a:extLst>
                <a:ext uri="{FF2B5EF4-FFF2-40B4-BE49-F238E27FC236}">
                  <a16:creationId xmlns:a16="http://schemas.microsoft.com/office/drawing/2014/main" id="{D2F6E193-C42D-4809-A5AD-85717EA44A54}"/>
                </a:ext>
              </a:extLst>
            </p:cNvPr>
            <p:cNvSpPr/>
            <p:nvPr/>
          </p:nvSpPr>
          <p:spPr>
            <a:xfrm>
              <a:off x="3999690" y="2321292"/>
              <a:ext cx="29908" cy="80772"/>
            </a:xfrm>
            <a:custGeom>
              <a:avLst/>
              <a:gdLst>
                <a:gd name="connsiteX0" fmla="*/ 19050 w 29908"/>
                <a:gd name="connsiteY0" fmla="*/ 80772 h 80772"/>
                <a:gd name="connsiteX1" fmla="*/ 29909 w 29908"/>
                <a:gd name="connsiteY1" fmla="*/ 80772 h 80772"/>
                <a:gd name="connsiteX2" fmla="*/ 29909 w 29908"/>
                <a:gd name="connsiteY2" fmla="*/ 0 h 80772"/>
                <a:gd name="connsiteX3" fmla="*/ 21908 w 29908"/>
                <a:gd name="connsiteY3" fmla="*/ 0 h 80772"/>
                <a:gd name="connsiteX4" fmla="*/ 15431 w 29908"/>
                <a:gd name="connsiteY4" fmla="*/ 11716 h 80772"/>
                <a:gd name="connsiteX5" fmla="*/ 0 w 29908"/>
                <a:gd name="connsiteY5" fmla="*/ 15240 h 80772"/>
                <a:gd name="connsiteX6" fmla="*/ 0 w 29908"/>
                <a:gd name="connsiteY6" fmla="*/ 23050 h 80772"/>
                <a:gd name="connsiteX7" fmla="*/ 19050 w 29908"/>
                <a:gd name="connsiteY7" fmla="*/ 23050 h 80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908" h="80772">
                  <a:moveTo>
                    <a:pt x="19050" y="80772"/>
                  </a:moveTo>
                  <a:lnTo>
                    <a:pt x="29909" y="80772"/>
                  </a:lnTo>
                  <a:lnTo>
                    <a:pt x="29909" y="0"/>
                  </a:lnTo>
                  <a:lnTo>
                    <a:pt x="21908" y="0"/>
                  </a:lnTo>
                  <a:cubicBezTo>
                    <a:pt x="21316" y="4587"/>
                    <a:pt x="19000" y="8776"/>
                    <a:pt x="15431" y="11716"/>
                  </a:cubicBezTo>
                  <a:cubicBezTo>
                    <a:pt x="10552" y="13845"/>
                    <a:pt x="5319" y="15040"/>
                    <a:pt x="0" y="15240"/>
                  </a:cubicBezTo>
                  <a:lnTo>
                    <a:pt x="0" y="23050"/>
                  </a:lnTo>
                  <a:lnTo>
                    <a:pt x="19050" y="23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78" name="Grafik 8">
            <a:extLst>
              <a:ext uri="{FF2B5EF4-FFF2-40B4-BE49-F238E27FC236}">
                <a16:creationId xmlns:a16="http://schemas.microsoft.com/office/drawing/2014/main" id="{1FDB01C7-0101-49A5-BA9B-E7B663497517}"/>
              </a:ext>
            </a:extLst>
          </p:cNvPr>
          <p:cNvGrpSpPr/>
          <p:nvPr/>
        </p:nvGrpSpPr>
        <p:grpSpPr>
          <a:xfrm>
            <a:off x="8669649" y="4495869"/>
            <a:ext cx="542210" cy="328055"/>
            <a:chOff x="4638637" y="3590885"/>
            <a:chExt cx="462057" cy="279560"/>
          </a:xfrm>
          <a:solidFill>
            <a:srgbClr val="808080"/>
          </a:solidFill>
        </p:grpSpPr>
        <p:sp>
          <p:nvSpPr>
            <p:cNvPr id="379" name="Freihandform: Form 27">
              <a:extLst>
                <a:ext uri="{FF2B5EF4-FFF2-40B4-BE49-F238E27FC236}">
                  <a16:creationId xmlns:a16="http://schemas.microsoft.com/office/drawing/2014/main" id="{21009865-4DD2-497C-AA14-0F2CC2BE0ABC}"/>
                </a:ext>
              </a:extLst>
            </p:cNvPr>
            <p:cNvSpPr/>
            <p:nvPr/>
          </p:nvSpPr>
          <p:spPr>
            <a:xfrm>
              <a:off x="4687214" y="3590885"/>
              <a:ext cx="354425" cy="244127"/>
            </a:xfrm>
            <a:custGeom>
              <a:avLst/>
              <a:gdLst>
                <a:gd name="connsiteX0" fmla="*/ 354425 w 354425"/>
                <a:gd name="connsiteY0" fmla="*/ 29719 h 244127"/>
                <a:gd name="connsiteX1" fmla="*/ 324709 w 354425"/>
                <a:gd name="connsiteY1" fmla="*/ 0 h 244127"/>
                <a:gd name="connsiteX2" fmla="*/ 324422 w 354425"/>
                <a:gd name="connsiteY2" fmla="*/ 1 h 244127"/>
                <a:gd name="connsiteX3" fmla="*/ 29908 w 354425"/>
                <a:gd name="connsiteY3" fmla="*/ 1 h 244127"/>
                <a:gd name="connsiteX4" fmla="*/ 0 w 354425"/>
                <a:gd name="connsiteY4" fmla="*/ 29719 h 244127"/>
                <a:gd name="connsiteX5" fmla="*/ 0 w 354425"/>
                <a:gd name="connsiteY5" fmla="*/ 29719 h 244127"/>
                <a:gd name="connsiteX6" fmla="*/ 0 w 354425"/>
                <a:gd name="connsiteY6" fmla="*/ 244127 h 244127"/>
                <a:gd name="connsiteX7" fmla="*/ 354425 w 354425"/>
                <a:gd name="connsiteY7" fmla="*/ 244127 h 244127"/>
                <a:gd name="connsiteX8" fmla="*/ 329470 w 354425"/>
                <a:gd name="connsiteY8" fmla="*/ 217933 h 244127"/>
                <a:gd name="connsiteX9" fmla="*/ 24670 w 354425"/>
                <a:gd name="connsiteY9" fmla="*/ 217933 h 244127"/>
                <a:gd name="connsiteX10" fmla="*/ 24670 w 354425"/>
                <a:gd name="connsiteY10" fmla="*/ 26290 h 244127"/>
                <a:gd name="connsiteX11" fmla="*/ 329470 w 354425"/>
                <a:gd name="connsiteY11" fmla="*/ 26290 h 244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4425" h="244127">
                  <a:moveTo>
                    <a:pt x="354425" y="29719"/>
                  </a:moveTo>
                  <a:cubicBezTo>
                    <a:pt x="354426" y="13307"/>
                    <a:pt x="341121" y="1"/>
                    <a:pt x="324709" y="0"/>
                  </a:cubicBezTo>
                  <a:cubicBezTo>
                    <a:pt x="324613" y="0"/>
                    <a:pt x="324517" y="0"/>
                    <a:pt x="324422" y="1"/>
                  </a:cubicBezTo>
                  <a:lnTo>
                    <a:pt x="29908" y="1"/>
                  </a:lnTo>
                  <a:cubicBezTo>
                    <a:pt x="13443" y="-51"/>
                    <a:pt x="53" y="13254"/>
                    <a:pt x="0" y="29719"/>
                  </a:cubicBezTo>
                  <a:cubicBezTo>
                    <a:pt x="0" y="29719"/>
                    <a:pt x="0" y="29719"/>
                    <a:pt x="0" y="29719"/>
                  </a:cubicBezTo>
                  <a:lnTo>
                    <a:pt x="0" y="244127"/>
                  </a:lnTo>
                  <a:lnTo>
                    <a:pt x="354425" y="244127"/>
                  </a:lnTo>
                  <a:close/>
                  <a:moveTo>
                    <a:pt x="329470" y="217933"/>
                  </a:moveTo>
                  <a:lnTo>
                    <a:pt x="24670" y="217933"/>
                  </a:lnTo>
                  <a:lnTo>
                    <a:pt x="24670" y="26290"/>
                  </a:lnTo>
                  <a:lnTo>
                    <a:pt x="329470" y="2629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0" name="Freihandform: Form 28">
              <a:extLst>
                <a:ext uri="{FF2B5EF4-FFF2-40B4-BE49-F238E27FC236}">
                  <a16:creationId xmlns:a16="http://schemas.microsoft.com/office/drawing/2014/main" id="{85A2CCBD-7714-4232-9AA2-C6656B6995FC}"/>
                </a:ext>
              </a:extLst>
            </p:cNvPr>
            <p:cNvSpPr/>
            <p:nvPr/>
          </p:nvSpPr>
          <p:spPr>
            <a:xfrm>
              <a:off x="4638637" y="3840251"/>
              <a:ext cx="462057" cy="30194"/>
            </a:xfrm>
            <a:custGeom>
              <a:avLst/>
              <a:gdLst>
                <a:gd name="connsiteX0" fmla="*/ 0 w 462057"/>
                <a:gd name="connsiteY0" fmla="*/ 0 h 30194"/>
                <a:gd name="connsiteX1" fmla="*/ 0 w 462057"/>
                <a:gd name="connsiteY1" fmla="*/ 16573 h 30194"/>
                <a:gd name="connsiteX2" fmla="*/ 27146 w 462057"/>
                <a:gd name="connsiteY2" fmla="*/ 30194 h 30194"/>
                <a:gd name="connsiteX3" fmla="*/ 434912 w 462057"/>
                <a:gd name="connsiteY3" fmla="*/ 30194 h 30194"/>
                <a:gd name="connsiteX4" fmla="*/ 462058 w 462057"/>
                <a:gd name="connsiteY4" fmla="*/ 16573 h 30194"/>
                <a:gd name="connsiteX5" fmla="*/ 462058 w 462057"/>
                <a:gd name="connsiteY5" fmla="*/ 0 h 3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62057" h="30194">
                  <a:moveTo>
                    <a:pt x="0" y="0"/>
                  </a:moveTo>
                  <a:lnTo>
                    <a:pt x="0" y="16573"/>
                  </a:lnTo>
                  <a:cubicBezTo>
                    <a:pt x="0" y="20860"/>
                    <a:pt x="23146" y="30194"/>
                    <a:pt x="27146" y="30194"/>
                  </a:cubicBezTo>
                  <a:lnTo>
                    <a:pt x="434912" y="30194"/>
                  </a:lnTo>
                  <a:cubicBezTo>
                    <a:pt x="438912" y="30194"/>
                    <a:pt x="462058" y="20669"/>
                    <a:pt x="462058" y="16573"/>
                  </a:cubicBezTo>
                  <a:lnTo>
                    <a:pt x="46205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1" name="Freihandform: Form 29">
              <a:extLst>
                <a:ext uri="{FF2B5EF4-FFF2-40B4-BE49-F238E27FC236}">
                  <a16:creationId xmlns:a16="http://schemas.microsoft.com/office/drawing/2014/main" id="{C3E8CF9F-557E-4651-9D6A-5ABA48EAE613}"/>
                </a:ext>
              </a:extLst>
            </p:cNvPr>
            <p:cNvSpPr/>
            <p:nvPr/>
          </p:nvSpPr>
          <p:spPr>
            <a:xfrm>
              <a:off x="4750174" y="3731380"/>
              <a:ext cx="45910" cy="49911"/>
            </a:xfrm>
            <a:custGeom>
              <a:avLst/>
              <a:gdLst>
                <a:gd name="connsiteX0" fmla="*/ 0 w 45910"/>
                <a:gd name="connsiteY0" fmla="*/ 0 h 49911"/>
                <a:gd name="connsiteX1" fmla="*/ 45911 w 45910"/>
                <a:gd name="connsiteY1" fmla="*/ 0 h 49911"/>
                <a:gd name="connsiteX2" fmla="*/ 45911 w 45910"/>
                <a:gd name="connsiteY2" fmla="*/ 49911 h 49911"/>
                <a:gd name="connsiteX3" fmla="*/ 0 w 45910"/>
                <a:gd name="connsiteY3" fmla="*/ 49911 h 49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910" h="49911">
                  <a:moveTo>
                    <a:pt x="0" y="0"/>
                  </a:moveTo>
                  <a:lnTo>
                    <a:pt x="45911" y="0"/>
                  </a:lnTo>
                  <a:lnTo>
                    <a:pt x="45911" y="49911"/>
                  </a:lnTo>
                  <a:lnTo>
                    <a:pt x="0" y="499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2" name="Freihandform: Form 30">
              <a:extLst>
                <a:ext uri="{FF2B5EF4-FFF2-40B4-BE49-F238E27FC236}">
                  <a16:creationId xmlns:a16="http://schemas.microsoft.com/office/drawing/2014/main" id="{F0935579-B56C-4320-B6C0-752BB4072046}"/>
                </a:ext>
              </a:extLst>
            </p:cNvPr>
            <p:cNvSpPr/>
            <p:nvPr/>
          </p:nvSpPr>
          <p:spPr>
            <a:xfrm>
              <a:off x="4729219" y="3699852"/>
              <a:ext cx="279558" cy="87915"/>
            </a:xfrm>
            <a:custGeom>
              <a:avLst/>
              <a:gdLst>
                <a:gd name="connsiteX0" fmla="*/ 3239 w 279558"/>
                <a:gd name="connsiteY0" fmla="*/ 87916 h 87915"/>
                <a:gd name="connsiteX1" fmla="*/ 276320 w 279558"/>
                <a:gd name="connsiteY1" fmla="*/ 87916 h 87915"/>
                <a:gd name="connsiteX2" fmla="*/ 279559 w 279558"/>
                <a:gd name="connsiteY2" fmla="*/ 84677 h 87915"/>
                <a:gd name="connsiteX3" fmla="*/ 276320 w 279558"/>
                <a:gd name="connsiteY3" fmla="*/ 81344 h 87915"/>
                <a:gd name="connsiteX4" fmla="*/ 261176 w 279558"/>
                <a:gd name="connsiteY4" fmla="*/ 81344 h 87915"/>
                <a:gd name="connsiteX5" fmla="*/ 261176 w 279558"/>
                <a:gd name="connsiteY5" fmla="*/ 0 h 87915"/>
                <a:gd name="connsiteX6" fmla="*/ 215265 w 279558"/>
                <a:gd name="connsiteY6" fmla="*/ 0 h 87915"/>
                <a:gd name="connsiteX7" fmla="*/ 215265 w 279558"/>
                <a:gd name="connsiteY7" fmla="*/ 81534 h 87915"/>
                <a:gd name="connsiteX8" fmla="*/ 196882 w 279558"/>
                <a:gd name="connsiteY8" fmla="*/ 81534 h 87915"/>
                <a:gd name="connsiteX9" fmla="*/ 196882 w 279558"/>
                <a:gd name="connsiteY9" fmla="*/ 26194 h 87915"/>
                <a:gd name="connsiteX10" fmla="*/ 150971 w 279558"/>
                <a:gd name="connsiteY10" fmla="*/ 26194 h 87915"/>
                <a:gd name="connsiteX11" fmla="*/ 150971 w 279558"/>
                <a:gd name="connsiteY11" fmla="*/ 81534 h 87915"/>
                <a:gd name="connsiteX12" fmla="*/ 131255 w 279558"/>
                <a:gd name="connsiteY12" fmla="*/ 81534 h 87915"/>
                <a:gd name="connsiteX13" fmla="*/ 131255 w 279558"/>
                <a:gd name="connsiteY13" fmla="*/ 15716 h 87915"/>
                <a:gd name="connsiteX14" fmla="*/ 86582 w 279558"/>
                <a:gd name="connsiteY14" fmla="*/ 15716 h 87915"/>
                <a:gd name="connsiteX15" fmla="*/ 86582 w 279558"/>
                <a:gd name="connsiteY15" fmla="*/ 81534 h 87915"/>
                <a:gd name="connsiteX16" fmla="*/ 3239 w 279558"/>
                <a:gd name="connsiteY16" fmla="*/ 81534 h 87915"/>
                <a:gd name="connsiteX17" fmla="*/ 0 w 279558"/>
                <a:gd name="connsiteY17" fmla="*/ 84868 h 87915"/>
                <a:gd name="connsiteX18" fmla="*/ 3239 w 279558"/>
                <a:gd name="connsiteY18" fmla="*/ 87916 h 87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79558" h="87915">
                  <a:moveTo>
                    <a:pt x="3239" y="87916"/>
                  </a:moveTo>
                  <a:lnTo>
                    <a:pt x="276320" y="87916"/>
                  </a:lnTo>
                  <a:cubicBezTo>
                    <a:pt x="278109" y="87916"/>
                    <a:pt x="279559" y="86466"/>
                    <a:pt x="279559" y="84677"/>
                  </a:cubicBezTo>
                  <a:cubicBezTo>
                    <a:pt x="279559" y="82873"/>
                    <a:pt x="278124" y="81395"/>
                    <a:pt x="276320" y="81344"/>
                  </a:cubicBezTo>
                  <a:lnTo>
                    <a:pt x="261176" y="81344"/>
                  </a:lnTo>
                  <a:lnTo>
                    <a:pt x="261176" y="0"/>
                  </a:lnTo>
                  <a:lnTo>
                    <a:pt x="215265" y="0"/>
                  </a:lnTo>
                  <a:lnTo>
                    <a:pt x="215265" y="81534"/>
                  </a:lnTo>
                  <a:lnTo>
                    <a:pt x="196882" y="81534"/>
                  </a:lnTo>
                  <a:lnTo>
                    <a:pt x="196882" y="26194"/>
                  </a:lnTo>
                  <a:lnTo>
                    <a:pt x="150971" y="26194"/>
                  </a:lnTo>
                  <a:lnTo>
                    <a:pt x="150971" y="81534"/>
                  </a:lnTo>
                  <a:lnTo>
                    <a:pt x="131255" y="81534"/>
                  </a:lnTo>
                  <a:lnTo>
                    <a:pt x="131255" y="15716"/>
                  </a:lnTo>
                  <a:lnTo>
                    <a:pt x="86582" y="15716"/>
                  </a:lnTo>
                  <a:lnTo>
                    <a:pt x="86582" y="81534"/>
                  </a:lnTo>
                  <a:lnTo>
                    <a:pt x="3239" y="81534"/>
                  </a:lnTo>
                  <a:cubicBezTo>
                    <a:pt x="1435" y="81586"/>
                    <a:pt x="-1" y="83063"/>
                    <a:pt x="0" y="84868"/>
                  </a:cubicBezTo>
                  <a:cubicBezTo>
                    <a:pt x="101" y="86582"/>
                    <a:pt x="1522" y="87919"/>
                    <a:pt x="3239" y="879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3" name="Freihandform: Form 991">
              <a:extLst>
                <a:ext uri="{FF2B5EF4-FFF2-40B4-BE49-F238E27FC236}">
                  <a16:creationId xmlns:a16="http://schemas.microsoft.com/office/drawing/2014/main" id="{1650B199-6630-4793-BB7A-791704FB4242}"/>
                </a:ext>
              </a:extLst>
            </p:cNvPr>
            <p:cNvSpPr/>
            <p:nvPr/>
          </p:nvSpPr>
          <p:spPr>
            <a:xfrm>
              <a:off x="4753222" y="3633939"/>
              <a:ext cx="233457" cy="75056"/>
            </a:xfrm>
            <a:custGeom>
              <a:avLst/>
              <a:gdLst>
                <a:gd name="connsiteX0" fmla="*/ 19336 w 233457"/>
                <a:gd name="connsiteY0" fmla="*/ 75057 h 75056"/>
                <a:gd name="connsiteX1" fmla="*/ 37719 w 233457"/>
                <a:gd name="connsiteY1" fmla="*/ 56007 h 75056"/>
                <a:gd name="connsiteX2" fmla="*/ 37719 w 233457"/>
                <a:gd name="connsiteY2" fmla="*/ 54959 h 75056"/>
                <a:gd name="connsiteX3" fmla="*/ 67627 w 233457"/>
                <a:gd name="connsiteY3" fmla="*/ 46768 h 75056"/>
                <a:gd name="connsiteX4" fmla="*/ 93440 w 233457"/>
                <a:gd name="connsiteY4" fmla="*/ 54484 h 75056"/>
                <a:gd name="connsiteX5" fmla="*/ 101156 w 233457"/>
                <a:gd name="connsiteY5" fmla="*/ 46768 h 75056"/>
                <a:gd name="connsiteX6" fmla="*/ 131350 w 233457"/>
                <a:gd name="connsiteY6" fmla="*/ 52578 h 75056"/>
                <a:gd name="connsiteX7" fmla="*/ 152675 w 233457"/>
                <a:gd name="connsiteY7" fmla="*/ 67449 h 75056"/>
                <a:gd name="connsiteX8" fmla="*/ 167831 w 233457"/>
                <a:gd name="connsiteY8" fmla="*/ 49244 h 75056"/>
                <a:gd name="connsiteX9" fmla="*/ 167259 w 233457"/>
                <a:gd name="connsiteY9" fmla="*/ 44767 h 75056"/>
                <a:gd name="connsiteX10" fmla="*/ 198692 w 233457"/>
                <a:gd name="connsiteY10" fmla="*/ 29718 h 75056"/>
                <a:gd name="connsiteX11" fmla="*/ 225173 w 233457"/>
                <a:gd name="connsiteY11" fmla="*/ 34669 h 75056"/>
                <a:gd name="connsiteX12" fmla="*/ 233458 w 233457"/>
                <a:gd name="connsiteY12" fmla="*/ 19050 h 75056"/>
                <a:gd name="connsiteX13" fmla="*/ 214408 w 233457"/>
                <a:gd name="connsiteY13" fmla="*/ 0 h 75056"/>
                <a:gd name="connsiteX14" fmla="*/ 195358 w 233457"/>
                <a:gd name="connsiteY14" fmla="*/ 19050 h 75056"/>
                <a:gd name="connsiteX15" fmla="*/ 195358 w 233457"/>
                <a:gd name="connsiteY15" fmla="*/ 21812 h 75056"/>
                <a:gd name="connsiteX16" fmla="*/ 163449 w 233457"/>
                <a:gd name="connsiteY16" fmla="*/ 37529 h 75056"/>
                <a:gd name="connsiteX17" fmla="*/ 149257 w 233457"/>
                <a:gd name="connsiteY17" fmla="*/ 30480 h 75056"/>
                <a:gd name="connsiteX18" fmla="*/ 131636 w 233457"/>
                <a:gd name="connsiteY18" fmla="*/ 44387 h 75056"/>
                <a:gd name="connsiteX19" fmla="*/ 103061 w 233457"/>
                <a:gd name="connsiteY19" fmla="*/ 38957 h 75056"/>
                <a:gd name="connsiteX20" fmla="*/ 103061 w 233457"/>
                <a:gd name="connsiteY20" fmla="*/ 38291 h 75056"/>
                <a:gd name="connsiteX21" fmla="*/ 84011 w 233457"/>
                <a:gd name="connsiteY21" fmla="*/ 19241 h 75056"/>
                <a:gd name="connsiteX22" fmla="*/ 64961 w 233457"/>
                <a:gd name="connsiteY22" fmla="*/ 38291 h 75056"/>
                <a:gd name="connsiteX23" fmla="*/ 64961 w 233457"/>
                <a:gd name="connsiteY23" fmla="*/ 38291 h 75056"/>
                <a:gd name="connsiteX24" fmla="*/ 35052 w 233457"/>
                <a:gd name="connsiteY24" fmla="*/ 46482 h 75056"/>
                <a:gd name="connsiteX25" fmla="*/ 19050 w 233457"/>
                <a:gd name="connsiteY25" fmla="*/ 36957 h 75056"/>
                <a:gd name="connsiteX26" fmla="*/ 0 w 233457"/>
                <a:gd name="connsiteY26" fmla="*/ 56007 h 75056"/>
                <a:gd name="connsiteX27" fmla="*/ 19050 w 233457"/>
                <a:gd name="connsiteY27" fmla="*/ 75057 h 75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33457" h="75056">
                  <a:moveTo>
                    <a:pt x="19336" y="75057"/>
                  </a:moveTo>
                  <a:cubicBezTo>
                    <a:pt x="29596" y="74698"/>
                    <a:pt x="37725" y="66273"/>
                    <a:pt x="37719" y="56007"/>
                  </a:cubicBezTo>
                  <a:cubicBezTo>
                    <a:pt x="37756" y="55659"/>
                    <a:pt x="37756" y="55308"/>
                    <a:pt x="37719" y="54959"/>
                  </a:cubicBezTo>
                  <a:lnTo>
                    <a:pt x="67627" y="46768"/>
                  </a:lnTo>
                  <a:cubicBezTo>
                    <a:pt x="72625" y="56026"/>
                    <a:pt x="84181" y="59481"/>
                    <a:pt x="93440" y="54484"/>
                  </a:cubicBezTo>
                  <a:cubicBezTo>
                    <a:pt x="96709" y="52719"/>
                    <a:pt x="99391" y="50037"/>
                    <a:pt x="101156" y="46768"/>
                  </a:cubicBezTo>
                  <a:lnTo>
                    <a:pt x="131350" y="52578"/>
                  </a:lnTo>
                  <a:cubicBezTo>
                    <a:pt x="133132" y="62573"/>
                    <a:pt x="142679" y="69231"/>
                    <a:pt x="152675" y="67449"/>
                  </a:cubicBezTo>
                  <a:cubicBezTo>
                    <a:pt x="161484" y="65878"/>
                    <a:pt x="167883" y="58192"/>
                    <a:pt x="167831" y="49244"/>
                  </a:cubicBezTo>
                  <a:cubicBezTo>
                    <a:pt x="167840" y="47733"/>
                    <a:pt x="167648" y="46228"/>
                    <a:pt x="167259" y="44767"/>
                  </a:cubicBezTo>
                  <a:lnTo>
                    <a:pt x="198692" y="29718"/>
                  </a:lnTo>
                  <a:cubicBezTo>
                    <a:pt x="204637" y="38398"/>
                    <a:pt x="216493" y="40615"/>
                    <a:pt x="225173" y="34669"/>
                  </a:cubicBezTo>
                  <a:cubicBezTo>
                    <a:pt x="230330" y="31137"/>
                    <a:pt x="233426" y="25300"/>
                    <a:pt x="233458" y="19050"/>
                  </a:cubicBezTo>
                  <a:cubicBezTo>
                    <a:pt x="233458" y="8529"/>
                    <a:pt x="224929" y="0"/>
                    <a:pt x="214408" y="0"/>
                  </a:cubicBezTo>
                  <a:cubicBezTo>
                    <a:pt x="203887" y="0"/>
                    <a:pt x="195358" y="8529"/>
                    <a:pt x="195358" y="19050"/>
                  </a:cubicBezTo>
                  <a:cubicBezTo>
                    <a:pt x="195311" y="19970"/>
                    <a:pt x="195311" y="20892"/>
                    <a:pt x="195358" y="21812"/>
                  </a:cubicBezTo>
                  <a:lnTo>
                    <a:pt x="163449" y="37529"/>
                  </a:lnTo>
                  <a:cubicBezTo>
                    <a:pt x="160044" y="33134"/>
                    <a:pt x="154816" y="30538"/>
                    <a:pt x="149257" y="30480"/>
                  </a:cubicBezTo>
                  <a:cubicBezTo>
                    <a:pt x="140906" y="30575"/>
                    <a:pt x="133669" y="36287"/>
                    <a:pt x="131636" y="44387"/>
                  </a:cubicBezTo>
                  <a:lnTo>
                    <a:pt x="103061" y="38957"/>
                  </a:lnTo>
                  <a:cubicBezTo>
                    <a:pt x="103061" y="38957"/>
                    <a:pt x="103061" y="38957"/>
                    <a:pt x="103061" y="38291"/>
                  </a:cubicBezTo>
                  <a:cubicBezTo>
                    <a:pt x="103061" y="27769"/>
                    <a:pt x="94532" y="19241"/>
                    <a:pt x="84011" y="19241"/>
                  </a:cubicBezTo>
                  <a:cubicBezTo>
                    <a:pt x="73489" y="19241"/>
                    <a:pt x="64961" y="27769"/>
                    <a:pt x="64961" y="38291"/>
                  </a:cubicBezTo>
                  <a:lnTo>
                    <a:pt x="64961" y="38291"/>
                  </a:lnTo>
                  <a:lnTo>
                    <a:pt x="35052" y="46482"/>
                  </a:lnTo>
                  <a:cubicBezTo>
                    <a:pt x="31855" y="40626"/>
                    <a:pt x="25722" y="36975"/>
                    <a:pt x="19050" y="36957"/>
                  </a:cubicBezTo>
                  <a:cubicBezTo>
                    <a:pt x="8529" y="36957"/>
                    <a:pt x="0" y="45486"/>
                    <a:pt x="0" y="56007"/>
                  </a:cubicBezTo>
                  <a:cubicBezTo>
                    <a:pt x="0" y="66528"/>
                    <a:pt x="8529" y="75057"/>
                    <a:pt x="19050" y="750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84" name="Grafik 1003">
            <a:extLst>
              <a:ext uri="{FF2B5EF4-FFF2-40B4-BE49-F238E27FC236}">
                <a16:creationId xmlns:a16="http://schemas.microsoft.com/office/drawing/2014/main" id="{D172A919-AFEB-4B98-83B9-0C10901134D3}"/>
              </a:ext>
            </a:extLst>
          </p:cNvPr>
          <p:cNvGrpSpPr/>
          <p:nvPr/>
        </p:nvGrpSpPr>
        <p:grpSpPr>
          <a:xfrm>
            <a:off x="9490647" y="4477551"/>
            <a:ext cx="535615" cy="364692"/>
            <a:chOff x="4138009" y="2832667"/>
            <a:chExt cx="456437" cy="310781"/>
          </a:xfrm>
          <a:solidFill>
            <a:srgbClr val="808080"/>
          </a:solidFill>
        </p:grpSpPr>
        <p:sp>
          <p:nvSpPr>
            <p:cNvPr id="385" name="Freihandform: Form 1007">
              <a:extLst>
                <a:ext uri="{FF2B5EF4-FFF2-40B4-BE49-F238E27FC236}">
                  <a16:creationId xmlns:a16="http://schemas.microsoft.com/office/drawing/2014/main" id="{3D8C2AC2-B57B-4EF9-A054-600CDFFE3AE3}"/>
                </a:ext>
              </a:extLst>
            </p:cNvPr>
            <p:cNvSpPr/>
            <p:nvPr/>
          </p:nvSpPr>
          <p:spPr>
            <a:xfrm>
              <a:off x="4335066" y="3079520"/>
              <a:ext cx="62932" cy="63928"/>
            </a:xfrm>
            <a:custGeom>
              <a:avLst/>
              <a:gdLst>
                <a:gd name="connsiteX0" fmla="*/ 7634 w 62932"/>
                <a:gd name="connsiteY0" fmla="*/ 54233 h 63928"/>
                <a:gd name="connsiteX1" fmla="*/ 7634 w 62932"/>
                <a:gd name="connsiteY1" fmla="*/ 7656 h 63928"/>
                <a:gd name="connsiteX2" fmla="*/ 53450 w 62932"/>
                <a:gd name="connsiteY2" fmla="*/ 7656 h 63928"/>
                <a:gd name="connsiteX3" fmla="*/ 53450 w 62932"/>
                <a:gd name="connsiteY3" fmla="*/ 54233 h 63928"/>
                <a:gd name="connsiteX4" fmla="*/ 8329 w 62932"/>
                <a:gd name="connsiteY4" fmla="*/ 54928 h 63928"/>
                <a:gd name="connsiteX5" fmla="*/ 7634 w 62932"/>
                <a:gd name="connsiteY5" fmla="*/ 54233 h 63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932" h="63928">
                  <a:moveTo>
                    <a:pt x="7634" y="54233"/>
                  </a:moveTo>
                  <a:cubicBezTo>
                    <a:pt x="-2545" y="40376"/>
                    <a:pt x="-2545" y="21513"/>
                    <a:pt x="7634" y="7656"/>
                  </a:cubicBezTo>
                  <a:cubicBezTo>
                    <a:pt x="21200" y="-2552"/>
                    <a:pt x="39884" y="-2552"/>
                    <a:pt x="53450" y="7656"/>
                  </a:cubicBezTo>
                  <a:cubicBezTo>
                    <a:pt x="66094" y="20607"/>
                    <a:pt x="66094" y="41282"/>
                    <a:pt x="53450" y="54233"/>
                  </a:cubicBezTo>
                  <a:cubicBezTo>
                    <a:pt x="41182" y="66885"/>
                    <a:pt x="20981" y="67196"/>
                    <a:pt x="8329" y="54928"/>
                  </a:cubicBezTo>
                  <a:cubicBezTo>
                    <a:pt x="8094" y="54700"/>
                    <a:pt x="7862" y="54468"/>
                    <a:pt x="7634" y="54233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6" name="Freihandform: Form 1008">
              <a:extLst>
                <a:ext uri="{FF2B5EF4-FFF2-40B4-BE49-F238E27FC236}">
                  <a16:creationId xmlns:a16="http://schemas.microsoft.com/office/drawing/2014/main" id="{F126BE33-3E23-4C4F-ACDA-4442497235CD}"/>
                </a:ext>
              </a:extLst>
            </p:cNvPr>
            <p:cNvSpPr/>
            <p:nvPr/>
          </p:nvSpPr>
          <p:spPr>
            <a:xfrm>
              <a:off x="4256309" y="2997718"/>
              <a:ext cx="219932" cy="79074"/>
            </a:xfrm>
            <a:custGeom>
              <a:avLst/>
              <a:gdLst>
                <a:gd name="connsiteX0" fmla="*/ 0 w 219932"/>
                <a:gd name="connsiteY0" fmla="*/ 45071 h 79074"/>
                <a:gd name="connsiteX1" fmla="*/ 0 w 219932"/>
                <a:gd name="connsiteY1" fmla="*/ 47738 h 79074"/>
                <a:gd name="connsiteX2" fmla="*/ 31052 w 219932"/>
                <a:gd name="connsiteY2" fmla="*/ 79075 h 79074"/>
                <a:gd name="connsiteX3" fmla="*/ 31052 w 219932"/>
                <a:gd name="connsiteY3" fmla="*/ 76503 h 79074"/>
                <a:gd name="connsiteX4" fmla="*/ 186618 w 219932"/>
                <a:gd name="connsiteY4" fmla="*/ 74240 h 79074"/>
                <a:gd name="connsiteX5" fmla="*/ 188881 w 219932"/>
                <a:gd name="connsiteY5" fmla="*/ 76503 h 79074"/>
                <a:gd name="connsiteX6" fmla="*/ 219932 w 219932"/>
                <a:gd name="connsiteY6" fmla="*/ 45071 h 79074"/>
                <a:gd name="connsiteX7" fmla="*/ 0 w 219932"/>
                <a:gd name="connsiteY7" fmla="*/ 45071 h 79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9932" h="79074">
                  <a:moveTo>
                    <a:pt x="0" y="45071"/>
                  </a:moveTo>
                  <a:lnTo>
                    <a:pt x="0" y="47738"/>
                  </a:lnTo>
                  <a:lnTo>
                    <a:pt x="31052" y="79075"/>
                  </a:lnTo>
                  <a:lnTo>
                    <a:pt x="31052" y="76503"/>
                  </a:lnTo>
                  <a:cubicBezTo>
                    <a:pt x="73385" y="32920"/>
                    <a:pt x="143035" y="31907"/>
                    <a:pt x="186618" y="74240"/>
                  </a:cubicBezTo>
                  <a:cubicBezTo>
                    <a:pt x="187383" y="74984"/>
                    <a:pt x="188138" y="75738"/>
                    <a:pt x="188881" y="76503"/>
                  </a:cubicBezTo>
                  <a:lnTo>
                    <a:pt x="219932" y="45071"/>
                  </a:lnTo>
                  <a:cubicBezTo>
                    <a:pt x="158937" y="-15024"/>
                    <a:pt x="60996" y="-15024"/>
                    <a:pt x="0" y="4507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7" name="Freihandform: Form 1009">
              <a:extLst>
                <a:ext uri="{FF2B5EF4-FFF2-40B4-BE49-F238E27FC236}">
                  <a16:creationId xmlns:a16="http://schemas.microsoft.com/office/drawing/2014/main" id="{5FF56B37-2DF1-4CAC-8BB1-BE33E9D98114}"/>
                </a:ext>
              </a:extLst>
            </p:cNvPr>
            <p:cNvSpPr/>
            <p:nvPr/>
          </p:nvSpPr>
          <p:spPr>
            <a:xfrm>
              <a:off x="4197730" y="2916583"/>
              <a:ext cx="336994" cy="100488"/>
            </a:xfrm>
            <a:custGeom>
              <a:avLst/>
              <a:gdLst>
                <a:gd name="connsiteX0" fmla="*/ 2572 w 336994"/>
                <a:gd name="connsiteY0" fmla="*/ 69533 h 100488"/>
                <a:gd name="connsiteX1" fmla="*/ 0 w 336994"/>
                <a:gd name="connsiteY1" fmla="*/ 69533 h 100488"/>
                <a:gd name="connsiteX2" fmla="*/ 30861 w 336994"/>
                <a:gd name="connsiteY2" fmla="*/ 100489 h 100488"/>
                <a:gd name="connsiteX3" fmla="*/ 30861 w 336994"/>
                <a:gd name="connsiteY3" fmla="*/ 100489 h 100488"/>
                <a:gd name="connsiteX4" fmla="*/ 306134 w 336994"/>
                <a:gd name="connsiteY4" fmla="*/ 100489 h 100488"/>
                <a:gd name="connsiteX5" fmla="*/ 336995 w 336994"/>
                <a:gd name="connsiteY5" fmla="*/ 69533 h 100488"/>
                <a:gd name="connsiteX6" fmla="*/ 169831 w 336994"/>
                <a:gd name="connsiteY6" fmla="*/ 0 h 100488"/>
                <a:gd name="connsiteX7" fmla="*/ 2572 w 336994"/>
                <a:gd name="connsiteY7" fmla="*/ 69533 h 100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6994" h="100488">
                  <a:moveTo>
                    <a:pt x="2572" y="69533"/>
                  </a:moveTo>
                  <a:lnTo>
                    <a:pt x="0" y="69533"/>
                  </a:lnTo>
                  <a:lnTo>
                    <a:pt x="30861" y="100489"/>
                  </a:lnTo>
                  <a:lnTo>
                    <a:pt x="30861" y="100489"/>
                  </a:lnTo>
                  <a:cubicBezTo>
                    <a:pt x="107393" y="25736"/>
                    <a:pt x="229601" y="25736"/>
                    <a:pt x="306134" y="100489"/>
                  </a:cubicBezTo>
                  <a:lnTo>
                    <a:pt x="336995" y="69533"/>
                  </a:lnTo>
                  <a:cubicBezTo>
                    <a:pt x="292240" y="25794"/>
                    <a:pt x="232402" y="905"/>
                    <a:pt x="169831" y="0"/>
                  </a:cubicBezTo>
                  <a:cubicBezTo>
                    <a:pt x="107034" y="-63"/>
                    <a:pt x="46816" y="24970"/>
                    <a:pt x="2572" y="69533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8" name="Freihandform: Form 1010">
              <a:extLst>
                <a:ext uri="{FF2B5EF4-FFF2-40B4-BE49-F238E27FC236}">
                  <a16:creationId xmlns:a16="http://schemas.microsoft.com/office/drawing/2014/main" id="{39F4E6E3-BE12-4C3F-9708-E34F70E39EDE}"/>
                </a:ext>
              </a:extLst>
            </p:cNvPr>
            <p:cNvSpPr/>
            <p:nvPr/>
          </p:nvSpPr>
          <p:spPr>
            <a:xfrm>
              <a:off x="4138009" y="2832667"/>
              <a:ext cx="456437" cy="124587"/>
            </a:xfrm>
            <a:custGeom>
              <a:avLst/>
              <a:gdLst>
                <a:gd name="connsiteX0" fmla="*/ 229553 w 456437"/>
                <a:gd name="connsiteY0" fmla="*/ 1 h 124587"/>
                <a:gd name="connsiteX1" fmla="*/ 0 w 456437"/>
                <a:gd name="connsiteY1" fmla="*/ 93441 h 124587"/>
                <a:gd name="connsiteX2" fmla="*/ 30956 w 456437"/>
                <a:gd name="connsiteY2" fmla="*/ 124588 h 124587"/>
                <a:gd name="connsiteX3" fmla="*/ 425577 w 456437"/>
                <a:gd name="connsiteY3" fmla="*/ 122016 h 124587"/>
                <a:gd name="connsiteX4" fmla="*/ 456438 w 456437"/>
                <a:gd name="connsiteY4" fmla="*/ 93441 h 124587"/>
                <a:gd name="connsiteX5" fmla="*/ 229552 w 456437"/>
                <a:gd name="connsiteY5" fmla="*/ 1 h 124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6437" h="124587">
                  <a:moveTo>
                    <a:pt x="229553" y="1"/>
                  </a:moveTo>
                  <a:cubicBezTo>
                    <a:pt x="143738" y="-180"/>
                    <a:pt x="61292" y="33380"/>
                    <a:pt x="0" y="93441"/>
                  </a:cubicBezTo>
                  <a:lnTo>
                    <a:pt x="30956" y="124588"/>
                  </a:lnTo>
                  <a:cubicBezTo>
                    <a:pt x="140809" y="18744"/>
                    <a:pt x="314354" y="17613"/>
                    <a:pt x="425577" y="122016"/>
                  </a:cubicBezTo>
                  <a:lnTo>
                    <a:pt x="456438" y="93441"/>
                  </a:lnTo>
                  <a:cubicBezTo>
                    <a:pt x="395908" y="33870"/>
                    <a:pt x="314479" y="334"/>
                    <a:pt x="229552" y="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89" name="Grafik 1014">
            <a:extLst>
              <a:ext uri="{FF2B5EF4-FFF2-40B4-BE49-F238E27FC236}">
                <a16:creationId xmlns:a16="http://schemas.microsoft.com/office/drawing/2014/main" id="{95FA7AA9-1974-42EE-B06A-46CDEDA8116D}"/>
              </a:ext>
            </a:extLst>
          </p:cNvPr>
          <p:cNvGrpSpPr/>
          <p:nvPr/>
        </p:nvGrpSpPr>
        <p:grpSpPr>
          <a:xfrm>
            <a:off x="10305050" y="4392256"/>
            <a:ext cx="334763" cy="535280"/>
            <a:chOff x="6282379" y="2912036"/>
            <a:chExt cx="285276" cy="456152"/>
          </a:xfrm>
          <a:solidFill>
            <a:srgbClr val="808080"/>
          </a:solidFill>
        </p:grpSpPr>
        <p:sp>
          <p:nvSpPr>
            <p:cNvPr id="390" name="Freihandform: Form 1022">
              <a:extLst>
                <a:ext uri="{FF2B5EF4-FFF2-40B4-BE49-F238E27FC236}">
                  <a16:creationId xmlns:a16="http://schemas.microsoft.com/office/drawing/2014/main" id="{3AC1D4C1-334A-4E0F-98CA-B92BD8DCA8F8}"/>
                </a:ext>
              </a:extLst>
            </p:cNvPr>
            <p:cNvSpPr/>
            <p:nvPr/>
          </p:nvSpPr>
          <p:spPr>
            <a:xfrm>
              <a:off x="6344952" y="2944611"/>
              <a:ext cx="127955" cy="115538"/>
            </a:xfrm>
            <a:custGeom>
              <a:avLst/>
              <a:gdLst>
                <a:gd name="connsiteX0" fmla="*/ 63826 w 127955"/>
                <a:gd name="connsiteY0" fmla="*/ 0 h 115538"/>
                <a:gd name="connsiteX1" fmla="*/ 9 w 127955"/>
                <a:gd name="connsiteY1" fmla="*/ 63722 h 115538"/>
                <a:gd name="connsiteX2" fmla="*/ 24297 w 127955"/>
                <a:gd name="connsiteY2" fmla="*/ 115348 h 115538"/>
                <a:gd name="connsiteX3" fmla="*/ 24297 w 127955"/>
                <a:gd name="connsiteY3" fmla="*/ 91250 h 115538"/>
                <a:gd name="connsiteX4" fmla="*/ 14772 w 127955"/>
                <a:gd name="connsiteY4" fmla="*/ 63913 h 115538"/>
                <a:gd name="connsiteX5" fmla="*/ 63826 w 127955"/>
                <a:gd name="connsiteY5" fmla="*/ 15049 h 115538"/>
                <a:gd name="connsiteX6" fmla="*/ 112404 w 127955"/>
                <a:gd name="connsiteY6" fmla="*/ 66675 h 115538"/>
                <a:gd name="connsiteX7" fmla="*/ 106308 w 127955"/>
                <a:gd name="connsiteY7" fmla="*/ 91250 h 115538"/>
                <a:gd name="connsiteX8" fmla="*/ 106308 w 127955"/>
                <a:gd name="connsiteY8" fmla="*/ 115538 h 115538"/>
                <a:gd name="connsiteX9" fmla="*/ 127929 w 127955"/>
                <a:gd name="connsiteY9" fmla="*/ 66770 h 115538"/>
                <a:gd name="connsiteX10" fmla="*/ 64907 w 127955"/>
                <a:gd name="connsiteY10" fmla="*/ 113 h 115538"/>
                <a:gd name="connsiteX11" fmla="*/ 64112 w 127955"/>
                <a:gd name="connsiteY11" fmla="*/ 95 h 115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7955" h="115538">
                  <a:moveTo>
                    <a:pt x="63826" y="0"/>
                  </a:moveTo>
                  <a:cubicBezTo>
                    <a:pt x="29236" y="1451"/>
                    <a:pt x="1511" y="29134"/>
                    <a:pt x="9" y="63722"/>
                  </a:cubicBezTo>
                  <a:cubicBezTo>
                    <a:pt x="-319" y="83762"/>
                    <a:pt x="8650" y="102824"/>
                    <a:pt x="24297" y="115348"/>
                  </a:cubicBezTo>
                  <a:lnTo>
                    <a:pt x="24297" y="91250"/>
                  </a:lnTo>
                  <a:cubicBezTo>
                    <a:pt x="17991" y="83550"/>
                    <a:pt x="14616" y="73864"/>
                    <a:pt x="14772" y="63913"/>
                  </a:cubicBezTo>
                  <a:cubicBezTo>
                    <a:pt x="16455" y="37582"/>
                    <a:pt x="37489" y="16630"/>
                    <a:pt x="63826" y="15049"/>
                  </a:cubicBezTo>
                  <a:cubicBezTo>
                    <a:pt x="90908" y="17158"/>
                    <a:pt x="111945" y="39515"/>
                    <a:pt x="112404" y="66675"/>
                  </a:cubicBezTo>
                  <a:cubicBezTo>
                    <a:pt x="112254" y="75222"/>
                    <a:pt x="110170" y="83624"/>
                    <a:pt x="106308" y="91250"/>
                  </a:cubicBezTo>
                  <a:lnTo>
                    <a:pt x="106308" y="115538"/>
                  </a:lnTo>
                  <a:cubicBezTo>
                    <a:pt x="119558" y="102696"/>
                    <a:pt x="127310" y="85213"/>
                    <a:pt x="127929" y="66770"/>
                  </a:cubicBezTo>
                  <a:cubicBezTo>
                    <a:pt x="128933" y="30960"/>
                    <a:pt x="100717" y="1117"/>
                    <a:pt x="64907" y="113"/>
                  </a:cubicBezTo>
                  <a:cubicBezTo>
                    <a:pt x="64642" y="105"/>
                    <a:pt x="64377" y="99"/>
                    <a:pt x="64112" y="95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1" name="Freihandform: Form 1023">
              <a:extLst>
                <a:ext uri="{FF2B5EF4-FFF2-40B4-BE49-F238E27FC236}">
                  <a16:creationId xmlns:a16="http://schemas.microsoft.com/office/drawing/2014/main" id="{F61F7C78-2B52-48A4-B151-CE4AF205D64E}"/>
                </a:ext>
              </a:extLst>
            </p:cNvPr>
            <p:cNvSpPr/>
            <p:nvPr/>
          </p:nvSpPr>
          <p:spPr>
            <a:xfrm>
              <a:off x="6310957" y="2912036"/>
              <a:ext cx="194665" cy="185928"/>
            </a:xfrm>
            <a:custGeom>
              <a:avLst/>
              <a:gdLst>
                <a:gd name="connsiteX0" fmla="*/ 57721 w 194665"/>
                <a:gd name="connsiteY0" fmla="*/ 185928 h 185928"/>
                <a:gd name="connsiteX1" fmla="*/ 57721 w 194665"/>
                <a:gd name="connsiteY1" fmla="*/ 171450 h 185928"/>
                <a:gd name="connsiteX2" fmla="*/ 12192 w 194665"/>
                <a:gd name="connsiteY2" fmla="*/ 96488 h 185928"/>
                <a:gd name="connsiteX3" fmla="*/ 97155 w 194665"/>
                <a:gd name="connsiteY3" fmla="*/ 12001 h 185928"/>
                <a:gd name="connsiteX4" fmla="*/ 182046 w 194665"/>
                <a:gd name="connsiteY4" fmla="*/ 97036 h 185928"/>
                <a:gd name="connsiteX5" fmla="*/ 182023 w 194665"/>
                <a:gd name="connsiteY5" fmla="*/ 98965 h 185928"/>
                <a:gd name="connsiteX6" fmla="*/ 163830 w 194665"/>
                <a:gd name="connsiteY6" fmla="*/ 152971 h 185928"/>
                <a:gd name="connsiteX7" fmla="*/ 173355 w 194665"/>
                <a:gd name="connsiteY7" fmla="*/ 158972 h 185928"/>
                <a:gd name="connsiteX8" fmla="*/ 194596 w 194665"/>
                <a:gd name="connsiteY8" fmla="*/ 98965 h 185928"/>
                <a:gd name="connsiteX9" fmla="*/ 97924 w 194665"/>
                <a:gd name="connsiteY9" fmla="*/ 6 h 185928"/>
                <a:gd name="connsiteX10" fmla="*/ 97155 w 194665"/>
                <a:gd name="connsiteY10" fmla="*/ 0 h 185928"/>
                <a:gd name="connsiteX11" fmla="*/ 0 w 194665"/>
                <a:gd name="connsiteY11" fmla="*/ 96012 h 185928"/>
                <a:gd name="connsiteX12" fmla="*/ 57626 w 194665"/>
                <a:gd name="connsiteY12" fmla="*/ 185928 h 185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4665" h="185928">
                  <a:moveTo>
                    <a:pt x="57721" y="185928"/>
                  </a:moveTo>
                  <a:lnTo>
                    <a:pt x="57721" y="171450"/>
                  </a:lnTo>
                  <a:cubicBezTo>
                    <a:pt x="29748" y="156914"/>
                    <a:pt x="12195" y="128013"/>
                    <a:pt x="12192" y="96488"/>
                  </a:cubicBezTo>
                  <a:cubicBezTo>
                    <a:pt x="13161" y="50050"/>
                    <a:pt x="50712" y="12709"/>
                    <a:pt x="97155" y="12001"/>
                  </a:cubicBezTo>
                  <a:cubicBezTo>
                    <a:pt x="144079" y="12041"/>
                    <a:pt x="182086" y="50112"/>
                    <a:pt x="182046" y="97036"/>
                  </a:cubicBezTo>
                  <a:cubicBezTo>
                    <a:pt x="182046" y="97679"/>
                    <a:pt x="182038" y="98322"/>
                    <a:pt x="182023" y="98965"/>
                  </a:cubicBezTo>
                  <a:cubicBezTo>
                    <a:pt x="182059" y="118477"/>
                    <a:pt x="175665" y="137458"/>
                    <a:pt x="163830" y="152971"/>
                  </a:cubicBezTo>
                  <a:cubicBezTo>
                    <a:pt x="166878" y="152971"/>
                    <a:pt x="169926" y="156019"/>
                    <a:pt x="173355" y="158972"/>
                  </a:cubicBezTo>
                  <a:cubicBezTo>
                    <a:pt x="187875" y="142437"/>
                    <a:pt x="195480" y="120952"/>
                    <a:pt x="194596" y="98965"/>
                  </a:cubicBezTo>
                  <a:cubicBezTo>
                    <a:pt x="195227" y="44943"/>
                    <a:pt x="151946" y="638"/>
                    <a:pt x="97924" y="6"/>
                  </a:cubicBezTo>
                  <a:cubicBezTo>
                    <a:pt x="97668" y="3"/>
                    <a:pt x="97411" y="1"/>
                    <a:pt x="97155" y="0"/>
                  </a:cubicBezTo>
                  <a:cubicBezTo>
                    <a:pt x="44375" y="1039"/>
                    <a:pt x="1663" y="43248"/>
                    <a:pt x="0" y="96012"/>
                  </a:cubicBezTo>
                  <a:cubicBezTo>
                    <a:pt x="305" y="134576"/>
                    <a:pt x="22715" y="169543"/>
                    <a:pt x="57626" y="185928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2" name="Freihandform: Form 1024">
              <a:extLst>
                <a:ext uri="{FF2B5EF4-FFF2-40B4-BE49-F238E27FC236}">
                  <a16:creationId xmlns:a16="http://schemas.microsoft.com/office/drawing/2014/main" id="{D47A80AF-B299-43B8-A4C8-284F4FF57164}"/>
                </a:ext>
              </a:extLst>
            </p:cNvPr>
            <p:cNvSpPr/>
            <p:nvPr/>
          </p:nvSpPr>
          <p:spPr>
            <a:xfrm>
              <a:off x="6282379" y="2990661"/>
              <a:ext cx="285276" cy="377526"/>
            </a:xfrm>
            <a:custGeom>
              <a:avLst/>
              <a:gdLst>
                <a:gd name="connsiteX0" fmla="*/ 285181 w 285276"/>
                <a:gd name="connsiteY0" fmla="*/ 144069 h 377526"/>
                <a:gd name="connsiteX1" fmla="*/ 264131 w 285276"/>
                <a:gd name="connsiteY1" fmla="*/ 120066 h 377526"/>
                <a:gd name="connsiteX2" fmla="*/ 240033 w 285276"/>
                <a:gd name="connsiteY2" fmla="*/ 144069 h 377526"/>
                <a:gd name="connsiteX3" fmla="*/ 240033 w 285276"/>
                <a:gd name="connsiteY3" fmla="*/ 144069 h 377526"/>
                <a:gd name="connsiteX4" fmla="*/ 240033 w 285276"/>
                <a:gd name="connsiteY4" fmla="*/ 123114 h 377526"/>
                <a:gd name="connsiteX5" fmla="*/ 216798 w 285276"/>
                <a:gd name="connsiteY5" fmla="*/ 99111 h 377526"/>
                <a:gd name="connsiteX6" fmla="*/ 216030 w 285276"/>
                <a:gd name="connsiteY6" fmla="*/ 99111 h 377526"/>
                <a:gd name="connsiteX7" fmla="*/ 194979 w 285276"/>
                <a:gd name="connsiteY7" fmla="*/ 123114 h 377526"/>
                <a:gd name="connsiteX8" fmla="*/ 194979 w 285276"/>
                <a:gd name="connsiteY8" fmla="*/ 108160 h 377526"/>
                <a:gd name="connsiteX9" fmla="*/ 170881 w 285276"/>
                <a:gd name="connsiteY9" fmla="*/ 87205 h 377526"/>
                <a:gd name="connsiteX10" fmla="*/ 149833 w 285276"/>
                <a:gd name="connsiteY10" fmla="*/ 107098 h 377526"/>
                <a:gd name="connsiteX11" fmla="*/ 149831 w 285276"/>
                <a:gd name="connsiteY11" fmla="*/ 108160 h 377526"/>
                <a:gd name="connsiteX12" fmla="*/ 149831 w 285276"/>
                <a:gd name="connsiteY12" fmla="*/ 21292 h 377526"/>
                <a:gd name="connsiteX13" fmla="*/ 125733 w 285276"/>
                <a:gd name="connsiteY13" fmla="*/ 432 h 377526"/>
                <a:gd name="connsiteX14" fmla="*/ 104778 w 285276"/>
                <a:gd name="connsiteY14" fmla="*/ 21292 h 377526"/>
                <a:gd name="connsiteX15" fmla="*/ 101730 w 285276"/>
                <a:gd name="connsiteY15" fmla="*/ 194933 h 377526"/>
                <a:gd name="connsiteX16" fmla="*/ 89633 w 285276"/>
                <a:gd name="connsiteY16" fmla="*/ 197600 h 377526"/>
                <a:gd name="connsiteX17" fmla="*/ 11433 w 285276"/>
                <a:gd name="connsiteY17" fmla="*/ 153023 h 377526"/>
                <a:gd name="connsiteX18" fmla="*/ 11433 w 285276"/>
                <a:gd name="connsiteY18" fmla="*/ 188932 h 377526"/>
                <a:gd name="connsiteX19" fmla="*/ 71535 w 285276"/>
                <a:gd name="connsiteY19" fmla="*/ 260750 h 377526"/>
                <a:gd name="connsiteX20" fmla="*/ 134781 w 285276"/>
                <a:gd name="connsiteY20" fmla="*/ 338570 h 377526"/>
                <a:gd name="connsiteX21" fmla="*/ 134781 w 285276"/>
                <a:gd name="connsiteY21" fmla="*/ 377527 h 377526"/>
                <a:gd name="connsiteX22" fmla="*/ 276228 w 285276"/>
                <a:gd name="connsiteY22" fmla="*/ 377527 h 377526"/>
                <a:gd name="connsiteX23" fmla="*/ 273275 w 285276"/>
                <a:gd name="connsiteY23" fmla="*/ 335617 h 377526"/>
                <a:gd name="connsiteX24" fmla="*/ 285276 w 285276"/>
                <a:gd name="connsiteY24" fmla="*/ 296660 h 377526"/>
                <a:gd name="connsiteX25" fmla="*/ 285276 w 285276"/>
                <a:gd name="connsiteY25" fmla="*/ 144260 h 377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5276" h="377526">
                  <a:moveTo>
                    <a:pt x="285181" y="144069"/>
                  </a:moveTo>
                  <a:cubicBezTo>
                    <a:pt x="285639" y="131752"/>
                    <a:pt x="276402" y="121219"/>
                    <a:pt x="264131" y="120066"/>
                  </a:cubicBezTo>
                  <a:cubicBezTo>
                    <a:pt x="251235" y="120936"/>
                    <a:pt x="240954" y="131177"/>
                    <a:pt x="240033" y="144069"/>
                  </a:cubicBezTo>
                  <a:lnTo>
                    <a:pt x="240033" y="144069"/>
                  </a:lnTo>
                  <a:lnTo>
                    <a:pt x="240033" y="123114"/>
                  </a:lnTo>
                  <a:cubicBezTo>
                    <a:pt x="240245" y="110070"/>
                    <a:pt x="229842" y="99323"/>
                    <a:pt x="216798" y="99111"/>
                  </a:cubicBezTo>
                  <a:cubicBezTo>
                    <a:pt x="216542" y="99107"/>
                    <a:pt x="216286" y="99107"/>
                    <a:pt x="216030" y="99111"/>
                  </a:cubicBezTo>
                  <a:cubicBezTo>
                    <a:pt x="203735" y="100218"/>
                    <a:pt x="194472" y="110780"/>
                    <a:pt x="194979" y="123114"/>
                  </a:cubicBezTo>
                  <a:lnTo>
                    <a:pt x="194979" y="108160"/>
                  </a:lnTo>
                  <a:cubicBezTo>
                    <a:pt x="193777" y="95888"/>
                    <a:pt x="183201" y="86691"/>
                    <a:pt x="170881" y="87205"/>
                  </a:cubicBezTo>
                  <a:cubicBezTo>
                    <a:pt x="159575" y="86886"/>
                    <a:pt x="150152" y="95793"/>
                    <a:pt x="149833" y="107098"/>
                  </a:cubicBezTo>
                  <a:cubicBezTo>
                    <a:pt x="149823" y="107452"/>
                    <a:pt x="149822" y="107806"/>
                    <a:pt x="149831" y="108160"/>
                  </a:cubicBezTo>
                  <a:lnTo>
                    <a:pt x="149831" y="21292"/>
                  </a:lnTo>
                  <a:cubicBezTo>
                    <a:pt x="148582" y="9058"/>
                    <a:pt x="138019" y="-85"/>
                    <a:pt x="125733" y="432"/>
                  </a:cubicBezTo>
                  <a:cubicBezTo>
                    <a:pt x="113731" y="-2425"/>
                    <a:pt x="104778" y="9386"/>
                    <a:pt x="104778" y="21292"/>
                  </a:cubicBezTo>
                  <a:lnTo>
                    <a:pt x="101730" y="194933"/>
                  </a:lnTo>
                  <a:lnTo>
                    <a:pt x="89633" y="197600"/>
                  </a:lnTo>
                  <a:cubicBezTo>
                    <a:pt x="47628" y="144069"/>
                    <a:pt x="23434" y="149975"/>
                    <a:pt x="11433" y="153023"/>
                  </a:cubicBezTo>
                  <a:cubicBezTo>
                    <a:pt x="-664" y="159023"/>
                    <a:pt x="-6665" y="176930"/>
                    <a:pt x="11433" y="188932"/>
                  </a:cubicBezTo>
                  <a:cubicBezTo>
                    <a:pt x="47532" y="209887"/>
                    <a:pt x="71535" y="260750"/>
                    <a:pt x="71535" y="260750"/>
                  </a:cubicBezTo>
                  <a:lnTo>
                    <a:pt x="134781" y="338570"/>
                  </a:lnTo>
                  <a:lnTo>
                    <a:pt x="134781" y="377527"/>
                  </a:lnTo>
                  <a:lnTo>
                    <a:pt x="276228" y="377527"/>
                  </a:lnTo>
                  <a:lnTo>
                    <a:pt x="273275" y="335617"/>
                  </a:lnTo>
                  <a:lnTo>
                    <a:pt x="285276" y="296660"/>
                  </a:lnTo>
                  <a:lnTo>
                    <a:pt x="285276" y="1442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393" name="Grafik 5">
            <a:extLst>
              <a:ext uri="{FF2B5EF4-FFF2-40B4-BE49-F238E27FC236}">
                <a16:creationId xmlns:a16="http://schemas.microsoft.com/office/drawing/2014/main" id="{47D307AC-6378-44A9-A808-72D0CAF68B8D}"/>
              </a:ext>
            </a:extLst>
          </p:cNvPr>
          <p:cNvSpPr/>
          <p:nvPr/>
        </p:nvSpPr>
        <p:spPr>
          <a:xfrm>
            <a:off x="10918605" y="4426123"/>
            <a:ext cx="333630" cy="467545"/>
          </a:xfrm>
          <a:custGeom>
            <a:avLst/>
            <a:gdLst>
              <a:gd name="connsiteX0" fmla="*/ 271653 w 284311"/>
              <a:gd name="connsiteY0" fmla="*/ 222314 h 398430"/>
              <a:gd name="connsiteX1" fmla="*/ 246602 w 284311"/>
              <a:gd name="connsiteY1" fmla="*/ 197549 h 398430"/>
              <a:gd name="connsiteX2" fmla="*/ 218504 w 284311"/>
              <a:gd name="connsiteY2" fmla="*/ 188024 h 398430"/>
              <a:gd name="connsiteX3" fmla="*/ 237554 w 284311"/>
              <a:gd name="connsiteY3" fmla="*/ 175736 h 398430"/>
              <a:gd name="connsiteX4" fmla="*/ 259461 w 284311"/>
              <a:gd name="connsiteY4" fmla="*/ 154114 h 398430"/>
              <a:gd name="connsiteX5" fmla="*/ 265367 w 284311"/>
              <a:gd name="connsiteY5" fmla="*/ 123825 h 398430"/>
              <a:gd name="connsiteX6" fmla="*/ 255842 w 284311"/>
              <a:gd name="connsiteY6" fmla="*/ 92869 h 398430"/>
              <a:gd name="connsiteX7" fmla="*/ 227743 w 284311"/>
              <a:gd name="connsiteY7" fmla="*/ 71247 h 398430"/>
              <a:gd name="connsiteX8" fmla="*/ 196501 w 284311"/>
              <a:gd name="connsiteY8" fmla="*/ 61722 h 398430"/>
              <a:gd name="connsiteX9" fmla="*/ 174688 w 284311"/>
              <a:gd name="connsiteY9" fmla="*/ 58674 h 398430"/>
              <a:gd name="connsiteX10" fmla="*/ 174689 w 284311"/>
              <a:gd name="connsiteY10" fmla="*/ 0 h 398430"/>
              <a:gd name="connsiteX11" fmla="*/ 143637 w 284311"/>
              <a:gd name="connsiteY11" fmla="*/ 3048 h 398430"/>
              <a:gd name="connsiteX12" fmla="*/ 143637 w 284311"/>
              <a:gd name="connsiteY12" fmla="*/ 58674 h 398430"/>
              <a:gd name="connsiteX13" fmla="*/ 109252 w 284311"/>
              <a:gd name="connsiteY13" fmla="*/ 58674 h 398430"/>
              <a:gd name="connsiteX14" fmla="*/ 106109 w 284311"/>
              <a:gd name="connsiteY14" fmla="*/ 3048 h 398430"/>
              <a:gd name="connsiteX15" fmla="*/ 71819 w 284311"/>
              <a:gd name="connsiteY15" fmla="*/ 3048 h 398430"/>
              <a:gd name="connsiteX16" fmla="*/ 71819 w 284311"/>
              <a:gd name="connsiteY16" fmla="*/ 58674 h 398430"/>
              <a:gd name="connsiteX17" fmla="*/ 0 w 284311"/>
              <a:gd name="connsiteY17" fmla="*/ 58674 h 398430"/>
              <a:gd name="connsiteX18" fmla="*/ 0 w 284311"/>
              <a:gd name="connsiteY18" fmla="*/ 92583 h 398430"/>
              <a:gd name="connsiteX19" fmla="*/ 12478 w 284311"/>
              <a:gd name="connsiteY19" fmla="*/ 95726 h 398430"/>
              <a:gd name="connsiteX20" fmla="*/ 24955 w 284311"/>
              <a:gd name="connsiteY20" fmla="*/ 95726 h 398430"/>
              <a:gd name="connsiteX21" fmla="*/ 37433 w 284311"/>
              <a:gd name="connsiteY21" fmla="*/ 98774 h 398430"/>
              <a:gd name="connsiteX22" fmla="*/ 40577 w 284311"/>
              <a:gd name="connsiteY22" fmla="*/ 101918 h 398430"/>
              <a:gd name="connsiteX23" fmla="*/ 43720 w 284311"/>
              <a:gd name="connsiteY23" fmla="*/ 108014 h 398430"/>
              <a:gd name="connsiteX24" fmla="*/ 43720 w 284311"/>
              <a:gd name="connsiteY24" fmla="*/ 296418 h 398430"/>
              <a:gd name="connsiteX25" fmla="*/ 40577 w 284311"/>
              <a:gd name="connsiteY25" fmla="*/ 302514 h 398430"/>
              <a:gd name="connsiteX26" fmla="*/ 37433 w 284311"/>
              <a:gd name="connsiteY26" fmla="*/ 305657 h 398430"/>
              <a:gd name="connsiteX27" fmla="*/ 24955 w 284311"/>
              <a:gd name="connsiteY27" fmla="*/ 305657 h 398430"/>
              <a:gd name="connsiteX28" fmla="*/ 9525 w 284311"/>
              <a:gd name="connsiteY28" fmla="*/ 308705 h 398430"/>
              <a:gd name="connsiteX29" fmla="*/ 0 w 284311"/>
              <a:gd name="connsiteY29" fmla="*/ 308705 h 398430"/>
              <a:gd name="connsiteX30" fmla="*/ 0 w 284311"/>
              <a:gd name="connsiteY30" fmla="*/ 342900 h 398430"/>
              <a:gd name="connsiteX31" fmla="*/ 71819 w 284311"/>
              <a:gd name="connsiteY31" fmla="*/ 342900 h 398430"/>
              <a:gd name="connsiteX32" fmla="*/ 71819 w 284311"/>
              <a:gd name="connsiteY32" fmla="*/ 398431 h 398430"/>
              <a:gd name="connsiteX33" fmla="*/ 106109 w 284311"/>
              <a:gd name="connsiteY33" fmla="*/ 398431 h 398430"/>
              <a:gd name="connsiteX34" fmla="*/ 106109 w 284311"/>
              <a:gd name="connsiteY34" fmla="*/ 342900 h 398430"/>
              <a:gd name="connsiteX35" fmla="*/ 140494 w 284311"/>
              <a:gd name="connsiteY35" fmla="*/ 342900 h 398430"/>
              <a:gd name="connsiteX36" fmla="*/ 140494 w 284311"/>
              <a:gd name="connsiteY36" fmla="*/ 398431 h 398430"/>
              <a:gd name="connsiteX37" fmla="*/ 174879 w 284311"/>
              <a:gd name="connsiteY37" fmla="*/ 398431 h 398430"/>
              <a:gd name="connsiteX38" fmla="*/ 174879 w 284311"/>
              <a:gd name="connsiteY38" fmla="*/ 339566 h 398430"/>
              <a:gd name="connsiteX39" fmla="*/ 202978 w 284311"/>
              <a:gd name="connsiteY39" fmla="*/ 336518 h 398430"/>
              <a:gd name="connsiteX40" fmla="*/ 243554 w 284311"/>
              <a:gd name="connsiteY40" fmla="*/ 321088 h 398430"/>
              <a:gd name="connsiteX41" fmla="*/ 271653 w 284311"/>
              <a:gd name="connsiteY41" fmla="*/ 296418 h 398430"/>
              <a:gd name="connsiteX42" fmla="*/ 284131 w 284311"/>
              <a:gd name="connsiteY42" fmla="*/ 259366 h 398430"/>
              <a:gd name="connsiteX43" fmla="*/ 271653 w 284311"/>
              <a:gd name="connsiteY43" fmla="*/ 222314 h 398430"/>
              <a:gd name="connsiteX44" fmla="*/ 114776 w 284311"/>
              <a:gd name="connsiteY44" fmla="*/ 91916 h 398430"/>
              <a:gd name="connsiteX45" fmla="*/ 149638 w 284311"/>
              <a:gd name="connsiteY45" fmla="*/ 88773 h 398430"/>
              <a:gd name="connsiteX46" fmla="*/ 187738 w 284311"/>
              <a:gd name="connsiteY46" fmla="*/ 126206 h 398430"/>
              <a:gd name="connsiteX47" fmla="*/ 149638 w 284311"/>
              <a:gd name="connsiteY47" fmla="*/ 163640 h 398430"/>
              <a:gd name="connsiteX48" fmla="*/ 111538 w 284311"/>
              <a:gd name="connsiteY48" fmla="*/ 163640 h 398430"/>
              <a:gd name="connsiteX49" fmla="*/ 152876 w 284311"/>
              <a:gd name="connsiteY49" fmla="*/ 302609 h 398430"/>
              <a:gd name="connsiteX50" fmla="*/ 108490 w 284311"/>
              <a:gd name="connsiteY50" fmla="*/ 302609 h 398430"/>
              <a:gd name="connsiteX51" fmla="*/ 105251 w 284311"/>
              <a:gd name="connsiteY51" fmla="*/ 215646 h 398430"/>
              <a:gd name="connsiteX52" fmla="*/ 149638 w 284311"/>
              <a:gd name="connsiteY52" fmla="*/ 215646 h 398430"/>
              <a:gd name="connsiteX53" fmla="*/ 194024 w 284311"/>
              <a:gd name="connsiteY53" fmla="*/ 259080 h 398430"/>
              <a:gd name="connsiteX54" fmla="*/ 152876 w 284311"/>
              <a:gd name="connsiteY54" fmla="*/ 302609 h 398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284311" h="398430">
                <a:moveTo>
                  <a:pt x="271653" y="222314"/>
                </a:moveTo>
                <a:cubicBezTo>
                  <a:pt x="264939" y="212552"/>
                  <a:pt x="256440" y="204150"/>
                  <a:pt x="246602" y="197549"/>
                </a:cubicBezTo>
                <a:lnTo>
                  <a:pt x="218504" y="188024"/>
                </a:lnTo>
                <a:cubicBezTo>
                  <a:pt x="226276" y="186729"/>
                  <a:pt x="233169" y="182283"/>
                  <a:pt x="237554" y="175736"/>
                </a:cubicBezTo>
                <a:cubicBezTo>
                  <a:pt x="246289" y="170142"/>
                  <a:pt x="253752" y="162776"/>
                  <a:pt x="259461" y="154114"/>
                </a:cubicBezTo>
                <a:cubicBezTo>
                  <a:pt x="263103" y="144418"/>
                  <a:pt x="265099" y="134180"/>
                  <a:pt x="265367" y="123825"/>
                </a:cubicBezTo>
                <a:cubicBezTo>
                  <a:pt x="265541" y="112759"/>
                  <a:pt x="262207" y="101922"/>
                  <a:pt x="255842" y="92869"/>
                </a:cubicBezTo>
                <a:cubicBezTo>
                  <a:pt x="248532" y="83323"/>
                  <a:pt x="238842" y="75867"/>
                  <a:pt x="227743" y="71247"/>
                </a:cubicBezTo>
                <a:cubicBezTo>
                  <a:pt x="218564" y="64918"/>
                  <a:pt x="207649" y="61590"/>
                  <a:pt x="196501" y="61722"/>
                </a:cubicBezTo>
                <a:cubicBezTo>
                  <a:pt x="189568" y="59016"/>
                  <a:pt x="182098" y="57972"/>
                  <a:pt x="174688" y="58674"/>
                </a:cubicBezTo>
                <a:lnTo>
                  <a:pt x="174689" y="0"/>
                </a:lnTo>
                <a:lnTo>
                  <a:pt x="143637" y="3048"/>
                </a:lnTo>
                <a:lnTo>
                  <a:pt x="143637" y="58674"/>
                </a:lnTo>
                <a:lnTo>
                  <a:pt x="109252" y="58674"/>
                </a:lnTo>
                <a:lnTo>
                  <a:pt x="106109" y="3048"/>
                </a:lnTo>
                <a:lnTo>
                  <a:pt x="71819" y="3048"/>
                </a:lnTo>
                <a:lnTo>
                  <a:pt x="71819" y="58674"/>
                </a:lnTo>
                <a:lnTo>
                  <a:pt x="0" y="58674"/>
                </a:lnTo>
                <a:lnTo>
                  <a:pt x="0" y="92583"/>
                </a:lnTo>
                <a:lnTo>
                  <a:pt x="12478" y="95726"/>
                </a:lnTo>
                <a:lnTo>
                  <a:pt x="24955" y="95726"/>
                </a:lnTo>
                <a:cubicBezTo>
                  <a:pt x="28636" y="98156"/>
                  <a:pt x="33047" y="99233"/>
                  <a:pt x="37433" y="98774"/>
                </a:cubicBezTo>
                <a:lnTo>
                  <a:pt x="40577" y="101918"/>
                </a:lnTo>
                <a:cubicBezTo>
                  <a:pt x="43720" y="104966"/>
                  <a:pt x="43720" y="104966"/>
                  <a:pt x="43720" y="108014"/>
                </a:cubicBezTo>
                <a:lnTo>
                  <a:pt x="43720" y="296418"/>
                </a:lnTo>
                <a:cubicBezTo>
                  <a:pt x="43720" y="299466"/>
                  <a:pt x="40577" y="299466"/>
                  <a:pt x="40577" y="302514"/>
                </a:cubicBezTo>
                <a:lnTo>
                  <a:pt x="37433" y="305657"/>
                </a:lnTo>
                <a:cubicBezTo>
                  <a:pt x="37433" y="302514"/>
                  <a:pt x="34385" y="305657"/>
                  <a:pt x="24955" y="305657"/>
                </a:cubicBezTo>
                <a:cubicBezTo>
                  <a:pt x="19760" y="306387"/>
                  <a:pt x="14608" y="307405"/>
                  <a:pt x="9525" y="308705"/>
                </a:cubicBezTo>
                <a:lnTo>
                  <a:pt x="0" y="308705"/>
                </a:lnTo>
                <a:lnTo>
                  <a:pt x="0" y="342900"/>
                </a:lnTo>
                <a:lnTo>
                  <a:pt x="71819" y="342900"/>
                </a:lnTo>
                <a:lnTo>
                  <a:pt x="71819" y="398431"/>
                </a:lnTo>
                <a:lnTo>
                  <a:pt x="106109" y="398431"/>
                </a:lnTo>
                <a:lnTo>
                  <a:pt x="106109" y="342900"/>
                </a:lnTo>
                <a:lnTo>
                  <a:pt x="140494" y="342900"/>
                </a:lnTo>
                <a:lnTo>
                  <a:pt x="140494" y="398431"/>
                </a:lnTo>
                <a:lnTo>
                  <a:pt x="174879" y="398431"/>
                </a:lnTo>
                <a:lnTo>
                  <a:pt x="174879" y="339566"/>
                </a:lnTo>
                <a:cubicBezTo>
                  <a:pt x="184348" y="340057"/>
                  <a:pt x="193834" y="339028"/>
                  <a:pt x="202978" y="336518"/>
                </a:cubicBezTo>
                <a:cubicBezTo>
                  <a:pt x="217153" y="333281"/>
                  <a:pt x="230810" y="328088"/>
                  <a:pt x="243554" y="321088"/>
                </a:cubicBezTo>
                <a:cubicBezTo>
                  <a:pt x="253637" y="313718"/>
                  <a:pt x="263041" y="305462"/>
                  <a:pt x="271653" y="296418"/>
                </a:cubicBezTo>
                <a:cubicBezTo>
                  <a:pt x="278529" y="285155"/>
                  <a:pt x="282793" y="272494"/>
                  <a:pt x="284131" y="259366"/>
                </a:cubicBezTo>
                <a:cubicBezTo>
                  <a:pt x="285297" y="245818"/>
                  <a:pt x="280777" y="232396"/>
                  <a:pt x="271653" y="222314"/>
                </a:cubicBezTo>
                <a:close/>
                <a:moveTo>
                  <a:pt x="114776" y="91916"/>
                </a:moveTo>
                <a:lnTo>
                  <a:pt x="149638" y="88773"/>
                </a:lnTo>
                <a:cubicBezTo>
                  <a:pt x="170422" y="88770"/>
                  <a:pt x="187374" y="105425"/>
                  <a:pt x="187738" y="126206"/>
                </a:cubicBezTo>
                <a:cubicBezTo>
                  <a:pt x="187374" y="146987"/>
                  <a:pt x="170422" y="163643"/>
                  <a:pt x="149638" y="163640"/>
                </a:cubicBezTo>
                <a:lnTo>
                  <a:pt x="111538" y="163640"/>
                </a:lnTo>
                <a:close/>
                <a:moveTo>
                  <a:pt x="152876" y="302609"/>
                </a:moveTo>
                <a:lnTo>
                  <a:pt x="108490" y="302609"/>
                </a:lnTo>
                <a:lnTo>
                  <a:pt x="105251" y="215646"/>
                </a:lnTo>
                <a:lnTo>
                  <a:pt x="149638" y="215646"/>
                </a:lnTo>
                <a:cubicBezTo>
                  <a:pt x="173703" y="215840"/>
                  <a:pt x="193308" y="235025"/>
                  <a:pt x="194024" y="259080"/>
                </a:cubicBezTo>
                <a:cubicBezTo>
                  <a:pt x="194024" y="283940"/>
                  <a:pt x="175069" y="305657"/>
                  <a:pt x="152876" y="302609"/>
                </a:cubicBezTo>
                <a:close/>
              </a:path>
            </a:pathLst>
          </a:custGeom>
          <a:solidFill>
            <a:srgbClr val="8080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394" name="Grafik 3">
            <a:extLst>
              <a:ext uri="{FF2B5EF4-FFF2-40B4-BE49-F238E27FC236}">
                <a16:creationId xmlns:a16="http://schemas.microsoft.com/office/drawing/2014/main" id="{AA9F4487-68BB-4F3D-B91A-1623EBAAE421}"/>
              </a:ext>
            </a:extLst>
          </p:cNvPr>
          <p:cNvGrpSpPr/>
          <p:nvPr/>
        </p:nvGrpSpPr>
        <p:grpSpPr>
          <a:xfrm>
            <a:off x="1028735" y="5327377"/>
            <a:ext cx="476264" cy="470675"/>
            <a:chOff x="4367116" y="3228975"/>
            <a:chExt cx="405860" cy="401097"/>
          </a:xfrm>
          <a:solidFill>
            <a:srgbClr val="808080"/>
          </a:solidFill>
        </p:grpSpPr>
        <p:sp>
          <p:nvSpPr>
            <p:cNvPr id="395" name="Freihandform: Form 13">
              <a:extLst>
                <a:ext uri="{FF2B5EF4-FFF2-40B4-BE49-F238E27FC236}">
                  <a16:creationId xmlns:a16="http://schemas.microsoft.com/office/drawing/2014/main" id="{90F1634D-DDB4-4166-B044-1D7A2E0D4489}"/>
                </a:ext>
              </a:extLst>
            </p:cNvPr>
            <p:cNvSpPr/>
            <p:nvPr/>
          </p:nvSpPr>
          <p:spPr>
            <a:xfrm>
              <a:off x="4563903" y="3228975"/>
              <a:ext cx="209073" cy="198786"/>
            </a:xfrm>
            <a:custGeom>
              <a:avLst/>
              <a:gdLst>
                <a:gd name="connsiteX0" fmla="*/ 104584 w 209073"/>
                <a:gd name="connsiteY0" fmla="*/ 0 h 198786"/>
                <a:gd name="connsiteX1" fmla="*/ 136874 w 209073"/>
                <a:gd name="connsiteY1" fmla="*/ 65437 h 198786"/>
                <a:gd name="connsiteX2" fmla="*/ 209074 w 209073"/>
                <a:gd name="connsiteY2" fmla="*/ 75914 h 198786"/>
                <a:gd name="connsiteX3" fmla="*/ 156782 w 209073"/>
                <a:gd name="connsiteY3" fmla="*/ 126873 h 198786"/>
                <a:gd name="connsiteX4" fmla="*/ 169164 w 209073"/>
                <a:gd name="connsiteY4" fmla="*/ 198787 h 198786"/>
                <a:gd name="connsiteX5" fmla="*/ 104584 w 209073"/>
                <a:gd name="connsiteY5" fmla="*/ 164878 h 198786"/>
                <a:gd name="connsiteX6" fmla="*/ 39910 w 209073"/>
                <a:gd name="connsiteY6" fmla="*/ 198787 h 198786"/>
                <a:gd name="connsiteX7" fmla="*/ 52292 w 209073"/>
                <a:gd name="connsiteY7" fmla="*/ 126873 h 198786"/>
                <a:gd name="connsiteX8" fmla="*/ 0 w 209073"/>
                <a:gd name="connsiteY8" fmla="*/ 75914 h 198786"/>
                <a:gd name="connsiteX9" fmla="*/ 72295 w 209073"/>
                <a:gd name="connsiteY9" fmla="*/ 65437 h 198786"/>
                <a:gd name="connsiteX10" fmla="*/ 104584 w 209073"/>
                <a:gd name="connsiteY10" fmla="*/ 0 h 198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9073" h="198786">
                  <a:moveTo>
                    <a:pt x="104584" y="0"/>
                  </a:moveTo>
                  <a:lnTo>
                    <a:pt x="136874" y="65437"/>
                  </a:lnTo>
                  <a:lnTo>
                    <a:pt x="209074" y="75914"/>
                  </a:lnTo>
                  <a:lnTo>
                    <a:pt x="156782" y="126873"/>
                  </a:lnTo>
                  <a:lnTo>
                    <a:pt x="169164" y="198787"/>
                  </a:lnTo>
                  <a:lnTo>
                    <a:pt x="104584" y="164878"/>
                  </a:lnTo>
                  <a:lnTo>
                    <a:pt x="39910" y="198787"/>
                  </a:lnTo>
                  <a:lnTo>
                    <a:pt x="52292" y="126873"/>
                  </a:lnTo>
                  <a:lnTo>
                    <a:pt x="0" y="75914"/>
                  </a:lnTo>
                  <a:lnTo>
                    <a:pt x="72295" y="65437"/>
                  </a:lnTo>
                  <a:lnTo>
                    <a:pt x="104584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6" name="Freihandform: Form 14">
              <a:extLst>
                <a:ext uri="{FF2B5EF4-FFF2-40B4-BE49-F238E27FC236}">
                  <a16:creationId xmlns:a16="http://schemas.microsoft.com/office/drawing/2014/main" id="{19315035-58B4-48CF-9815-4A31ADDC3A1B}"/>
                </a:ext>
              </a:extLst>
            </p:cNvPr>
            <p:cNvSpPr/>
            <p:nvPr/>
          </p:nvSpPr>
          <p:spPr>
            <a:xfrm>
              <a:off x="4367116" y="3234118"/>
              <a:ext cx="188404" cy="188404"/>
            </a:xfrm>
            <a:custGeom>
              <a:avLst/>
              <a:gdLst>
                <a:gd name="connsiteX0" fmla="*/ 94202 w 188404"/>
                <a:gd name="connsiteY0" fmla="*/ 188405 h 188404"/>
                <a:gd name="connsiteX1" fmla="*/ 0 w 188404"/>
                <a:gd name="connsiteY1" fmla="*/ 94202 h 188404"/>
                <a:gd name="connsiteX2" fmla="*/ 94202 w 188404"/>
                <a:gd name="connsiteY2" fmla="*/ 0 h 188404"/>
                <a:gd name="connsiteX3" fmla="*/ 188405 w 188404"/>
                <a:gd name="connsiteY3" fmla="*/ 94202 h 188404"/>
                <a:gd name="connsiteX4" fmla="*/ 188404 w 188404"/>
                <a:gd name="connsiteY4" fmla="*/ 94298 h 188404"/>
                <a:gd name="connsiteX5" fmla="*/ 94202 w 188404"/>
                <a:gd name="connsiteY5" fmla="*/ 188405 h 188404"/>
                <a:gd name="connsiteX6" fmla="*/ 94202 w 188404"/>
                <a:gd name="connsiteY6" fmla="*/ 18098 h 188404"/>
                <a:gd name="connsiteX7" fmla="*/ 18002 w 188404"/>
                <a:gd name="connsiteY7" fmla="*/ 94298 h 188404"/>
                <a:gd name="connsiteX8" fmla="*/ 94202 w 188404"/>
                <a:gd name="connsiteY8" fmla="*/ 170498 h 188404"/>
                <a:gd name="connsiteX9" fmla="*/ 170402 w 188404"/>
                <a:gd name="connsiteY9" fmla="*/ 94298 h 188404"/>
                <a:gd name="connsiteX10" fmla="*/ 94202 w 188404"/>
                <a:gd name="connsiteY10" fmla="*/ 18098 h 18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8404" h="188404">
                  <a:moveTo>
                    <a:pt x="94202" y="188405"/>
                  </a:moveTo>
                  <a:cubicBezTo>
                    <a:pt x="42176" y="188404"/>
                    <a:pt x="0" y="146229"/>
                    <a:pt x="0" y="94202"/>
                  </a:cubicBezTo>
                  <a:cubicBezTo>
                    <a:pt x="0" y="42176"/>
                    <a:pt x="42176" y="0"/>
                    <a:pt x="94202" y="0"/>
                  </a:cubicBezTo>
                  <a:cubicBezTo>
                    <a:pt x="146229" y="0"/>
                    <a:pt x="188405" y="42176"/>
                    <a:pt x="188405" y="94202"/>
                  </a:cubicBezTo>
                  <a:cubicBezTo>
                    <a:pt x="188405" y="94234"/>
                    <a:pt x="188404" y="94266"/>
                    <a:pt x="188404" y="94298"/>
                  </a:cubicBezTo>
                  <a:cubicBezTo>
                    <a:pt x="188352" y="146287"/>
                    <a:pt x="146192" y="188405"/>
                    <a:pt x="94202" y="188405"/>
                  </a:cubicBezTo>
                  <a:close/>
                  <a:moveTo>
                    <a:pt x="94202" y="18098"/>
                  </a:moveTo>
                  <a:cubicBezTo>
                    <a:pt x="52118" y="18098"/>
                    <a:pt x="18002" y="52213"/>
                    <a:pt x="18002" y="94298"/>
                  </a:cubicBezTo>
                  <a:cubicBezTo>
                    <a:pt x="18002" y="136382"/>
                    <a:pt x="52118" y="170498"/>
                    <a:pt x="94202" y="170498"/>
                  </a:cubicBezTo>
                  <a:cubicBezTo>
                    <a:pt x="136286" y="170498"/>
                    <a:pt x="170402" y="136382"/>
                    <a:pt x="170402" y="94298"/>
                  </a:cubicBezTo>
                  <a:cubicBezTo>
                    <a:pt x="170402" y="52213"/>
                    <a:pt x="136286" y="18098"/>
                    <a:pt x="94202" y="1809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7" name="Freihandform: Form 15">
              <a:extLst>
                <a:ext uri="{FF2B5EF4-FFF2-40B4-BE49-F238E27FC236}">
                  <a16:creationId xmlns:a16="http://schemas.microsoft.com/office/drawing/2014/main" id="{89793F09-6F3C-40C5-A89C-CE1DC8EE4786}"/>
                </a:ext>
              </a:extLst>
            </p:cNvPr>
            <p:cNvSpPr/>
            <p:nvPr/>
          </p:nvSpPr>
          <p:spPr>
            <a:xfrm>
              <a:off x="4368164" y="3441668"/>
              <a:ext cx="188404" cy="188404"/>
            </a:xfrm>
            <a:custGeom>
              <a:avLst/>
              <a:gdLst>
                <a:gd name="connsiteX0" fmla="*/ 94297 w 188404"/>
                <a:gd name="connsiteY0" fmla="*/ 188404 h 188404"/>
                <a:gd name="connsiteX1" fmla="*/ 0 w 188404"/>
                <a:gd name="connsiteY1" fmla="*/ 94297 h 188404"/>
                <a:gd name="connsiteX2" fmla="*/ 94107 w 188404"/>
                <a:gd name="connsiteY2" fmla="*/ 0 h 188404"/>
                <a:gd name="connsiteX3" fmla="*/ 188404 w 188404"/>
                <a:gd name="connsiteY3" fmla="*/ 94107 h 188404"/>
                <a:gd name="connsiteX4" fmla="*/ 188404 w 188404"/>
                <a:gd name="connsiteY4" fmla="*/ 94297 h 188404"/>
                <a:gd name="connsiteX5" fmla="*/ 94297 w 188404"/>
                <a:gd name="connsiteY5" fmla="*/ 188404 h 188404"/>
                <a:gd name="connsiteX6" fmla="*/ 94297 w 188404"/>
                <a:gd name="connsiteY6" fmla="*/ 18002 h 188404"/>
                <a:gd name="connsiteX7" fmla="*/ 18097 w 188404"/>
                <a:gd name="connsiteY7" fmla="*/ 94202 h 188404"/>
                <a:gd name="connsiteX8" fmla="*/ 94297 w 188404"/>
                <a:gd name="connsiteY8" fmla="*/ 170402 h 188404"/>
                <a:gd name="connsiteX9" fmla="*/ 170497 w 188404"/>
                <a:gd name="connsiteY9" fmla="*/ 94202 h 188404"/>
                <a:gd name="connsiteX10" fmla="*/ 94297 w 188404"/>
                <a:gd name="connsiteY10" fmla="*/ 18002 h 18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8404" h="188404">
                  <a:moveTo>
                    <a:pt x="94297" y="188404"/>
                  </a:moveTo>
                  <a:cubicBezTo>
                    <a:pt x="42271" y="188457"/>
                    <a:pt x="53" y="146324"/>
                    <a:pt x="0" y="94297"/>
                  </a:cubicBezTo>
                  <a:cubicBezTo>
                    <a:pt x="-53" y="42271"/>
                    <a:pt x="42081" y="53"/>
                    <a:pt x="94107" y="0"/>
                  </a:cubicBezTo>
                  <a:cubicBezTo>
                    <a:pt x="146133" y="-53"/>
                    <a:pt x="188352" y="42081"/>
                    <a:pt x="188404" y="94107"/>
                  </a:cubicBezTo>
                  <a:cubicBezTo>
                    <a:pt x="188405" y="94171"/>
                    <a:pt x="188405" y="94234"/>
                    <a:pt x="188404" y="94297"/>
                  </a:cubicBezTo>
                  <a:cubicBezTo>
                    <a:pt x="188352" y="146250"/>
                    <a:pt x="146250" y="188352"/>
                    <a:pt x="94297" y="188404"/>
                  </a:cubicBezTo>
                  <a:close/>
                  <a:moveTo>
                    <a:pt x="94297" y="18002"/>
                  </a:moveTo>
                  <a:cubicBezTo>
                    <a:pt x="52213" y="18002"/>
                    <a:pt x="18097" y="52118"/>
                    <a:pt x="18097" y="94202"/>
                  </a:cubicBezTo>
                  <a:cubicBezTo>
                    <a:pt x="18097" y="136286"/>
                    <a:pt x="52213" y="170402"/>
                    <a:pt x="94297" y="170402"/>
                  </a:cubicBezTo>
                  <a:cubicBezTo>
                    <a:pt x="136382" y="170402"/>
                    <a:pt x="170497" y="136286"/>
                    <a:pt x="170497" y="94202"/>
                  </a:cubicBezTo>
                  <a:cubicBezTo>
                    <a:pt x="170497" y="52118"/>
                    <a:pt x="136382" y="18002"/>
                    <a:pt x="94297" y="1800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8" name="Freihandform: Form 16">
              <a:extLst>
                <a:ext uri="{FF2B5EF4-FFF2-40B4-BE49-F238E27FC236}">
                  <a16:creationId xmlns:a16="http://schemas.microsoft.com/office/drawing/2014/main" id="{A15B25D4-0773-425E-9BD6-8210C1BD5A57}"/>
                </a:ext>
              </a:extLst>
            </p:cNvPr>
            <p:cNvSpPr/>
            <p:nvPr/>
          </p:nvSpPr>
          <p:spPr>
            <a:xfrm>
              <a:off x="4572190" y="3441668"/>
              <a:ext cx="188404" cy="188404"/>
            </a:xfrm>
            <a:custGeom>
              <a:avLst/>
              <a:gdLst>
                <a:gd name="connsiteX0" fmla="*/ 94297 w 188404"/>
                <a:gd name="connsiteY0" fmla="*/ 188404 h 188404"/>
                <a:gd name="connsiteX1" fmla="*/ 0 w 188404"/>
                <a:gd name="connsiteY1" fmla="*/ 94297 h 188404"/>
                <a:gd name="connsiteX2" fmla="*/ 94107 w 188404"/>
                <a:gd name="connsiteY2" fmla="*/ 0 h 188404"/>
                <a:gd name="connsiteX3" fmla="*/ 188404 w 188404"/>
                <a:gd name="connsiteY3" fmla="*/ 94107 h 188404"/>
                <a:gd name="connsiteX4" fmla="*/ 188404 w 188404"/>
                <a:gd name="connsiteY4" fmla="*/ 94297 h 188404"/>
                <a:gd name="connsiteX5" fmla="*/ 94297 w 188404"/>
                <a:gd name="connsiteY5" fmla="*/ 188404 h 188404"/>
                <a:gd name="connsiteX6" fmla="*/ 94297 w 188404"/>
                <a:gd name="connsiteY6" fmla="*/ 18002 h 188404"/>
                <a:gd name="connsiteX7" fmla="*/ 18097 w 188404"/>
                <a:gd name="connsiteY7" fmla="*/ 94202 h 188404"/>
                <a:gd name="connsiteX8" fmla="*/ 94297 w 188404"/>
                <a:gd name="connsiteY8" fmla="*/ 170402 h 188404"/>
                <a:gd name="connsiteX9" fmla="*/ 170497 w 188404"/>
                <a:gd name="connsiteY9" fmla="*/ 94202 h 188404"/>
                <a:gd name="connsiteX10" fmla="*/ 94297 w 188404"/>
                <a:gd name="connsiteY10" fmla="*/ 18002 h 18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8404" h="188404">
                  <a:moveTo>
                    <a:pt x="94297" y="188404"/>
                  </a:moveTo>
                  <a:cubicBezTo>
                    <a:pt x="42271" y="188457"/>
                    <a:pt x="53" y="146324"/>
                    <a:pt x="0" y="94297"/>
                  </a:cubicBezTo>
                  <a:cubicBezTo>
                    <a:pt x="-53" y="42271"/>
                    <a:pt x="42081" y="53"/>
                    <a:pt x="94107" y="0"/>
                  </a:cubicBezTo>
                  <a:cubicBezTo>
                    <a:pt x="146133" y="-53"/>
                    <a:pt x="188352" y="42081"/>
                    <a:pt x="188404" y="94107"/>
                  </a:cubicBezTo>
                  <a:cubicBezTo>
                    <a:pt x="188405" y="94171"/>
                    <a:pt x="188405" y="94234"/>
                    <a:pt x="188404" y="94297"/>
                  </a:cubicBezTo>
                  <a:cubicBezTo>
                    <a:pt x="188300" y="146228"/>
                    <a:pt x="146228" y="188300"/>
                    <a:pt x="94297" y="188404"/>
                  </a:cubicBezTo>
                  <a:close/>
                  <a:moveTo>
                    <a:pt x="94297" y="18002"/>
                  </a:moveTo>
                  <a:cubicBezTo>
                    <a:pt x="52213" y="18002"/>
                    <a:pt x="18097" y="52118"/>
                    <a:pt x="18097" y="94202"/>
                  </a:cubicBezTo>
                  <a:cubicBezTo>
                    <a:pt x="18097" y="136286"/>
                    <a:pt x="52213" y="170402"/>
                    <a:pt x="94297" y="170402"/>
                  </a:cubicBezTo>
                  <a:cubicBezTo>
                    <a:pt x="136382" y="170402"/>
                    <a:pt x="170497" y="136286"/>
                    <a:pt x="170497" y="94202"/>
                  </a:cubicBezTo>
                  <a:cubicBezTo>
                    <a:pt x="170497" y="52118"/>
                    <a:pt x="136382" y="18002"/>
                    <a:pt x="94297" y="1800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99" name="Grafik 1862">
            <a:extLst>
              <a:ext uri="{FF2B5EF4-FFF2-40B4-BE49-F238E27FC236}">
                <a16:creationId xmlns:a16="http://schemas.microsoft.com/office/drawing/2014/main" id="{9C93833A-F30E-4FC3-8AE4-E1ED30501A2B}"/>
              </a:ext>
            </a:extLst>
          </p:cNvPr>
          <p:cNvGrpSpPr/>
          <p:nvPr/>
        </p:nvGrpSpPr>
        <p:grpSpPr>
          <a:xfrm>
            <a:off x="1662593" y="5290365"/>
            <a:ext cx="440512" cy="554257"/>
            <a:chOff x="4386241" y="3190817"/>
            <a:chExt cx="375393" cy="472323"/>
          </a:xfrm>
          <a:solidFill>
            <a:srgbClr val="808080"/>
          </a:solidFill>
        </p:grpSpPr>
        <p:sp>
          <p:nvSpPr>
            <p:cNvPr id="400" name="Freihandform: Form 1870">
              <a:extLst>
                <a:ext uri="{FF2B5EF4-FFF2-40B4-BE49-F238E27FC236}">
                  <a16:creationId xmlns:a16="http://schemas.microsoft.com/office/drawing/2014/main" id="{41D16662-4953-4F07-B170-16DD733FAB89}"/>
                </a:ext>
              </a:extLst>
            </p:cNvPr>
            <p:cNvSpPr/>
            <p:nvPr/>
          </p:nvSpPr>
          <p:spPr>
            <a:xfrm>
              <a:off x="4386241" y="3190817"/>
              <a:ext cx="375393" cy="472323"/>
            </a:xfrm>
            <a:custGeom>
              <a:avLst/>
              <a:gdLst>
                <a:gd name="connsiteX0" fmla="*/ 259006 w 375393"/>
                <a:gd name="connsiteY0" fmla="*/ 71019 h 472323"/>
                <a:gd name="connsiteX1" fmla="*/ 259006 w 375393"/>
                <a:gd name="connsiteY1" fmla="*/ 71019 h 472323"/>
                <a:gd name="connsiteX2" fmla="*/ 239956 w 375393"/>
                <a:gd name="connsiteY2" fmla="*/ 52445 h 472323"/>
                <a:gd name="connsiteX3" fmla="*/ 212333 w 375393"/>
                <a:gd name="connsiteY3" fmla="*/ 32443 h 472323"/>
                <a:gd name="connsiteX4" fmla="*/ 159850 w 375393"/>
                <a:gd name="connsiteY4" fmla="*/ 8916 h 472323"/>
                <a:gd name="connsiteX5" fmla="*/ 132228 w 375393"/>
                <a:gd name="connsiteY5" fmla="*/ 534 h 472323"/>
                <a:gd name="connsiteX6" fmla="*/ 115940 w 375393"/>
                <a:gd name="connsiteY6" fmla="*/ 7487 h 472323"/>
                <a:gd name="connsiteX7" fmla="*/ 100033 w 375393"/>
                <a:gd name="connsiteY7" fmla="*/ 34824 h 472323"/>
                <a:gd name="connsiteX8" fmla="*/ 101557 w 375393"/>
                <a:gd name="connsiteY8" fmla="*/ 64542 h 472323"/>
                <a:gd name="connsiteX9" fmla="*/ 102415 w 375393"/>
                <a:gd name="connsiteY9" fmla="*/ 65685 h 472323"/>
                <a:gd name="connsiteX10" fmla="*/ 106510 w 375393"/>
                <a:gd name="connsiteY10" fmla="*/ 69400 h 472323"/>
                <a:gd name="connsiteX11" fmla="*/ 123846 w 375393"/>
                <a:gd name="connsiteY11" fmla="*/ 75019 h 472323"/>
                <a:gd name="connsiteX12" fmla="*/ 127561 w 375393"/>
                <a:gd name="connsiteY12" fmla="*/ 78829 h 472323"/>
                <a:gd name="connsiteX13" fmla="*/ 147754 w 375393"/>
                <a:gd name="connsiteY13" fmla="*/ 82449 h 472323"/>
                <a:gd name="connsiteX14" fmla="*/ 180996 w 375393"/>
                <a:gd name="connsiteY14" fmla="*/ 79877 h 472323"/>
                <a:gd name="connsiteX15" fmla="*/ 190521 w 375393"/>
                <a:gd name="connsiteY15" fmla="*/ 77020 h 472323"/>
                <a:gd name="connsiteX16" fmla="*/ 192140 w 375393"/>
                <a:gd name="connsiteY16" fmla="*/ 70257 h 472323"/>
                <a:gd name="connsiteX17" fmla="*/ 177757 w 375393"/>
                <a:gd name="connsiteY17" fmla="*/ 67971 h 472323"/>
                <a:gd name="connsiteX18" fmla="*/ 176710 w 375393"/>
                <a:gd name="connsiteY18" fmla="*/ 66733 h 472323"/>
                <a:gd name="connsiteX19" fmla="*/ 177376 w 375393"/>
                <a:gd name="connsiteY19" fmla="*/ 64828 h 472323"/>
                <a:gd name="connsiteX20" fmla="*/ 185092 w 375393"/>
                <a:gd name="connsiteY20" fmla="*/ 45016 h 472323"/>
                <a:gd name="connsiteX21" fmla="*/ 186616 w 375393"/>
                <a:gd name="connsiteY21" fmla="*/ 43587 h 472323"/>
                <a:gd name="connsiteX22" fmla="*/ 186616 w 375393"/>
                <a:gd name="connsiteY22" fmla="*/ 43587 h 472323"/>
                <a:gd name="connsiteX23" fmla="*/ 187949 w 375393"/>
                <a:gd name="connsiteY23" fmla="*/ 45206 h 472323"/>
                <a:gd name="connsiteX24" fmla="*/ 182806 w 375393"/>
                <a:gd name="connsiteY24" fmla="*/ 63399 h 472323"/>
                <a:gd name="connsiteX25" fmla="*/ 195569 w 375393"/>
                <a:gd name="connsiteY25" fmla="*/ 68828 h 472323"/>
                <a:gd name="connsiteX26" fmla="*/ 193855 w 375393"/>
                <a:gd name="connsiteY26" fmla="*/ 78353 h 472323"/>
                <a:gd name="connsiteX27" fmla="*/ 198617 w 375393"/>
                <a:gd name="connsiteY27" fmla="*/ 80734 h 472323"/>
                <a:gd name="connsiteX28" fmla="*/ 208142 w 375393"/>
                <a:gd name="connsiteY28" fmla="*/ 97403 h 472323"/>
                <a:gd name="connsiteX29" fmla="*/ 208142 w 375393"/>
                <a:gd name="connsiteY29" fmla="*/ 97403 h 472323"/>
                <a:gd name="connsiteX30" fmla="*/ 208142 w 375393"/>
                <a:gd name="connsiteY30" fmla="*/ 99118 h 472323"/>
                <a:gd name="connsiteX31" fmla="*/ 237193 w 375393"/>
                <a:gd name="connsiteY31" fmla="*/ 210560 h 472323"/>
                <a:gd name="connsiteX32" fmla="*/ 119179 w 375393"/>
                <a:gd name="connsiteY32" fmla="*/ 249613 h 472323"/>
                <a:gd name="connsiteX33" fmla="*/ 21928 w 375393"/>
                <a:gd name="connsiteY33" fmla="*/ 245612 h 472323"/>
                <a:gd name="connsiteX34" fmla="*/ 21 w 375393"/>
                <a:gd name="connsiteY34" fmla="*/ 291046 h 472323"/>
                <a:gd name="connsiteX35" fmla="*/ 21 w 375393"/>
                <a:gd name="connsiteY35" fmla="*/ 429159 h 472323"/>
                <a:gd name="connsiteX36" fmla="*/ 51932 w 375393"/>
                <a:gd name="connsiteY36" fmla="*/ 467259 h 472323"/>
                <a:gd name="connsiteX37" fmla="*/ 124417 w 375393"/>
                <a:gd name="connsiteY37" fmla="*/ 351911 h 472323"/>
                <a:gd name="connsiteX38" fmla="*/ 327586 w 375393"/>
                <a:gd name="connsiteY38" fmla="*/ 309620 h 472323"/>
                <a:gd name="connsiteX39" fmla="*/ 373496 w 375393"/>
                <a:gd name="connsiteY39" fmla="*/ 262471 h 472323"/>
                <a:gd name="connsiteX40" fmla="*/ 259006 w 375393"/>
                <a:gd name="connsiteY40" fmla="*/ 71019 h 472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75393" h="472323">
                  <a:moveTo>
                    <a:pt x="259006" y="71019"/>
                  </a:moveTo>
                  <a:lnTo>
                    <a:pt x="259006" y="71019"/>
                  </a:lnTo>
                  <a:cubicBezTo>
                    <a:pt x="253100" y="64923"/>
                    <a:pt x="245575" y="58541"/>
                    <a:pt x="239956" y="52445"/>
                  </a:cubicBezTo>
                  <a:cubicBezTo>
                    <a:pt x="231879" y="44341"/>
                    <a:pt x="222553" y="37587"/>
                    <a:pt x="212333" y="32443"/>
                  </a:cubicBezTo>
                  <a:cubicBezTo>
                    <a:pt x="195379" y="23584"/>
                    <a:pt x="177567" y="16250"/>
                    <a:pt x="159850" y="8916"/>
                  </a:cubicBezTo>
                  <a:cubicBezTo>
                    <a:pt x="150899" y="5339"/>
                    <a:pt x="141658" y="2534"/>
                    <a:pt x="132228" y="534"/>
                  </a:cubicBezTo>
                  <a:cubicBezTo>
                    <a:pt x="125839" y="-1274"/>
                    <a:pt x="119054" y="1623"/>
                    <a:pt x="115940" y="7487"/>
                  </a:cubicBezTo>
                  <a:cubicBezTo>
                    <a:pt x="110701" y="17012"/>
                    <a:pt x="105177" y="25585"/>
                    <a:pt x="100033" y="34824"/>
                  </a:cubicBezTo>
                  <a:cubicBezTo>
                    <a:pt x="91747" y="49683"/>
                    <a:pt x="91842" y="53017"/>
                    <a:pt x="101557" y="64542"/>
                  </a:cubicBezTo>
                  <a:cubicBezTo>
                    <a:pt x="101902" y="64875"/>
                    <a:pt x="102192" y="65260"/>
                    <a:pt x="102415" y="65685"/>
                  </a:cubicBezTo>
                  <a:cubicBezTo>
                    <a:pt x="103656" y="67053"/>
                    <a:pt x="105028" y="68297"/>
                    <a:pt x="106510" y="69400"/>
                  </a:cubicBezTo>
                  <a:cubicBezTo>
                    <a:pt x="111696" y="72760"/>
                    <a:pt x="117675" y="74698"/>
                    <a:pt x="123846" y="75019"/>
                  </a:cubicBezTo>
                  <a:cubicBezTo>
                    <a:pt x="123846" y="75019"/>
                    <a:pt x="126608" y="77686"/>
                    <a:pt x="127561" y="78829"/>
                  </a:cubicBezTo>
                  <a:cubicBezTo>
                    <a:pt x="130894" y="82735"/>
                    <a:pt x="141753" y="82830"/>
                    <a:pt x="147754" y="82449"/>
                  </a:cubicBezTo>
                  <a:cubicBezTo>
                    <a:pt x="158879" y="82333"/>
                    <a:pt x="169985" y="81473"/>
                    <a:pt x="180996" y="79877"/>
                  </a:cubicBezTo>
                  <a:cubicBezTo>
                    <a:pt x="184242" y="79182"/>
                    <a:pt x="187428" y="78227"/>
                    <a:pt x="190521" y="77020"/>
                  </a:cubicBezTo>
                  <a:cubicBezTo>
                    <a:pt x="192528" y="75391"/>
                    <a:pt x="193192" y="72618"/>
                    <a:pt x="192140" y="70257"/>
                  </a:cubicBezTo>
                  <a:cubicBezTo>
                    <a:pt x="190521" y="66161"/>
                    <a:pt x="185282" y="65304"/>
                    <a:pt x="177757" y="67971"/>
                  </a:cubicBezTo>
                  <a:cubicBezTo>
                    <a:pt x="177185" y="67816"/>
                    <a:pt x="176768" y="67323"/>
                    <a:pt x="176710" y="66733"/>
                  </a:cubicBezTo>
                  <a:cubicBezTo>
                    <a:pt x="176369" y="66022"/>
                    <a:pt x="176667" y="65170"/>
                    <a:pt x="177376" y="64828"/>
                  </a:cubicBezTo>
                  <a:cubicBezTo>
                    <a:pt x="177376" y="64828"/>
                    <a:pt x="184234" y="60922"/>
                    <a:pt x="185092" y="45016"/>
                  </a:cubicBezTo>
                  <a:cubicBezTo>
                    <a:pt x="185142" y="44211"/>
                    <a:pt x="185810" y="43585"/>
                    <a:pt x="186616" y="43587"/>
                  </a:cubicBezTo>
                  <a:lnTo>
                    <a:pt x="186616" y="43587"/>
                  </a:lnTo>
                  <a:cubicBezTo>
                    <a:pt x="187420" y="43686"/>
                    <a:pt x="188006" y="44398"/>
                    <a:pt x="187949" y="45206"/>
                  </a:cubicBezTo>
                  <a:cubicBezTo>
                    <a:pt x="187948" y="51629"/>
                    <a:pt x="186168" y="57926"/>
                    <a:pt x="182806" y="63399"/>
                  </a:cubicBezTo>
                  <a:cubicBezTo>
                    <a:pt x="192331" y="61875"/>
                    <a:pt x="194902" y="67018"/>
                    <a:pt x="195569" y="68828"/>
                  </a:cubicBezTo>
                  <a:cubicBezTo>
                    <a:pt x="196936" y="72062"/>
                    <a:pt x="196263" y="75799"/>
                    <a:pt x="193855" y="78353"/>
                  </a:cubicBezTo>
                  <a:cubicBezTo>
                    <a:pt x="195636" y="78678"/>
                    <a:pt x="197288" y="79504"/>
                    <a:pt x="198617" y="80734"/>
                  </a:cubicBezTo>
                  <a:cubicBezTo>
                    <a:pt x="203254" y="85317"/>
                    <a:pt x="206548" y="91082"/>
                    <a:pt x="208142" y="97403"/>
                  </a:cubicBezTo>
                  <a:lnTo>
                    <a:pt x="208142" y="97403"/>
                  </a:lnTo>
                  <a:cubicBezTo>
                    <a:pt x="208142" y="97975"/>
                    <a:pt x="208142" y="98641"/>
                    <a:pt x="208142" y="99118"/>
                  </a:cubicBezTo>
                  <a:cubicBezTo>
                    <a:pt x="210619" y="107404"/>
                    <a:pt x="211476" y="176461"/>
                    <a:pt x="237193" y="210560"/>
                  </a:cubicBezTo>
                  <a:cubicBezTo>
                    <a:pt x="237193" y="210560"/>
                    <a:pt x="145753" y="168079"/>
                    <a:pt x="119179" y="249613"/>
                  </a:cubicBezTo>
                  <a:cubicBezTo>
                    <a:pt x="91947" y="225052"/>
                    <a:pt x="51085" y="223371"/>
                    <a:pt x="21928" y="245612"/>
                  </a:cubicBezTo>
                  <a:cubicBezTo>
                    <a:pt x="7697" y="256314"/>
                    <a:pt x="-468" y="273247"/>
                    <a:pt x="21" y="291046"/>
                  </a:cubicBezTo>
                  <a:lnTo>
                    <a:pt x="21" y="429159"/>
                  </a:lnTo>
                  <a:cubicBezTo>
                    <a:pt x="21" y="453829"/>
                    <a:pt x="16404" y="484594"/>
                    <a:pt x="51932" y="467259"/>
                  </a:cubicBezTo>
                  <a:cubicBezTo>
                    <a:pt x="74983" y="455829"/>
                    <a:pt x="118607" y="399631"/>
                    <a:pt x="124417" y="351911"/>
                  </a:cubicBezTo>
                  <a:cubicBezTo>
                    <a:pt x="124417" y="351911"/>
                    <a:pt x="264816" y="364389"/>
                    <a:pt x="327586" y="309620"/>
                  </a:cubicBezTo>
                  <a:cubicBezTo>
                    <a:pt x="327586" y="309620"/>
                    <a:pt x="384736" y="311525"/>
                    <a:pt x="373496" y="262471"/>
                  </a:cubicBezTo>
                  <a:cubicBezTo>
                    <a:pt x="373496" y="262186"/>
                    <a:pt x="399499" y="179985"/>
                    <a:pt x="259006" y="7101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1" name="Freihandform: Form 1871">
              <a:extLst>
                <a:ext uri="{FF2B5EF4-FFF2-40B4-BE49-F238E27FC236}">
                  <a16:creationId xmlns:a16="http://schemas.microsoft.com/office/drawing/2014/main" id="{C160ED90-DCA1-4C68-93FA-830F2E4BBB32}"/>
                </a:ext>
              </a:extLst>
            </p:cNvPr>
            <p:cNvSpPr/>
            <p:nvPr/>
          </p:nvSpPr>
          <p:spPr>
            <a:xfrm>
              <a:off x="4481433" y="3258593"/>
              <a:ext cx="38749" cy="20488"/>
            </a:xfrm>
            <a:custGeom>
              <a:avLst/>
              <a:gdLst>
                <a:gd name="connsiteX0" fmla="*/ 1507 w 38749"/>
                <a:gd name="connsiteY0" fmla="*/ 15816 h 20488"/>
                <a:gd name="connsiteX1" fmla="*/ 17985 w 38749"/>
                <a:gd name="connsiteY1" fmla="*/ 19530 h 20488"/>
                <a:gd name="connsiteX2" fmla="*/ 38750 w 38749"/>
                <a:gd name="connsiteY2" fmla="*/ 16959 h 20488"/>
                <a:gd name="connsiteX3" fmla="*/ 30463 w 38749"/>
                <a:gd name="connsiteY3" fmla="*/ 12958 h 20488"/>
                <a:gd name="connsiteX4" fmla="*/ 29129 w 38749"/>
                <a:gd name="connsiteY4" fmla="*/ 10291 h 20488"/>
                <a:gd name="connsiteX5" fmla="*/ 7889 w 38749"/>
                <a:gd name="connsiteY5" fmla="*/ 2195 h 20488"/>
                <a:gd name="connsiteX6" fmla="*/ 6555 w 38749"/>
                <a:gd name="connsiteY6" fmla="*/ 4 h 20488"/>
                <a:gd name="connsiteX7" fmla="*/ 1507 w 38749"/>
                <a:gd name="connsiteY7" fmla="*/ 15816 h 20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49" h="20488">
                  <a:moveTo>
                    <a:pt x="1507" y="15816"/>
                  </a:moveTo>
                  <a:cubicBezTo>
                    <a:pt x="5222" y="22102"/>
                    <a:pt x="11794" y="20578"/>
                    <a:pt x="17985" y="19530"/>
                  </a:cubicBezTo>
                  <a:lnTo>
                    <a:pt x="38750" y="16959"/>
                  </a:lnTo>
                  <a:cubicBezTo>
                    <a:pt x="35626" y="16562"/>
                    <a:pt x="32717" y="15157"/>
                    <a:pt x="30463" y="12958"/>
                  </a:cubicBezTo>
                  <a:cubicBezTo>
                    <a:pt x="29833" y="12174"/>
                    <a:pt x="29379" y="11265"/>
                    <a:pt x="29129" y="10291"/>
                  </a:cubicBezTo>
                  <a:cubicBezTo>
                    <a:pt x="21326" y="10132"/>
                    <a:pt x="13818" y="7271"/>
                    <a:pt x="7889" y="2195"/>
                  </a:cubicBezTo>
                  <a:cubicBezTo>
                    <a:pt x="7317" y="1528"/>
                    <a:pt x="6650" y="-91"/>
                    <a:pt x="6555" y="4"/>
                  </a:cubicBezTo>
                  <a:cubicBezTo>
                    <a:pt x="1507" y="4195"/>
                    <a:pt x="-2208" y="9434"/>
                    <a:pt x="1507" y="158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402" name="Grafik 131">
            <a:extLst>
              <a:ext uri="{FF2B5EF4-FFF2-40B4-BE49-F238E27FC236}">
                <a16:creationId xmlns:a16="http://schemas.microsoft.com/office/drawing/2014/main" id="{794EDCD8-B944-43AB-B278-7F2609917413}"/>
              </a:ext>
            </a:extLst>
          </p:cNvPr>
          <p:cNvGrpSpPr/>
          <p:nvPr/>
        </p:nvGrpSpPr>
        <p:grpSpPr>
          <a:xfrm>
            <a:off x="2410042" y="5381919"/>
            <a:ext cx="511712" cy="372992"/>
            <a:chOff x="4352815" y="3271837"/>
            <a:chExt cx="436068" cy="317854"/>
          </a:xfrm>
          <a:solidFill>
            <a:srgbClr val="808080"/>
          </a:solidFill>
        </p:grpSpPr>
        <p:sp>
          <p:nvSpPr>
            <p:cNvPr id="403" name="Freihandform: Form 141">
              <a:extLst>
                <a:ext uri="{FF2B5EF4-FFF2-40B4-BE49-F238E27FC236}">
                  <a16:creationId xmlns:a16="http://schemas.microsoft.com/office/drawing/2014/main" id="{ADAFABFA-659E-41E2-9EA4-F419E70C9B19}"/>
                </a:ext>
              </a:extLst>
            </p:cNvPr>
            <p:cNvSpPr/>
            <p:nvPr/>
          </p:nvSpPr>
          <p:spPr>
            <a:xfrm>
              <a:off x="4459604" y="3440905"/>
              <a:ext cx="138207" cy="148785"/>
            </a:xfrm>
            <a:custGeom>
              <a:avLst/>
              <a:gdLst>
                <a:gd name="connsiteX0" fmla="*/ 99155 w 138207"/>
                <a:gd name="connsiteY0" fmla="*/ 130778 h 148785"/>
                <a:gd name="connsiteX1" fmla="*/ 99155 w 138207"/>
                <a:gd name="connsiteY1" fmla="*/ 130778 h 148785"/>
                <a:gd name="connsiteX2" fmla="*/ 63246 w 138207"/>
                <a:gd name="connsiteY2" fmla="*/ 148780 h 148785"/>
                <a:gd name="connsiteX3" fmla="*/ 0 w 138207"/>
                <a:gd name="connsiteY3" fmla="*/ 85725 h 148785"/>
                <a:gd name="connsiteX4" fmla="*/ 77819 w 138207"/>
                <a:gd name="connsiteY4" fmla="*/ 0 h 148785"/>
                <a:gd name="connsiteX5" fmla="*/ 138208 w 138207"/>
                <a:gd name="connsiteY5" fmla="*/ 50387 h 148785"/>
                <a:gd name="connsiteX6" fmla="*/ 106489 w 138207"/>
                <a:gd name="connsiteY6" fmla="*/ 50387 h 148785"/>
                <a:gd name="connsiteX7" fmla="*/ 77914 w 138207"/>
                <a:gd name="connsiteY7" fmla="*/ 26289 h 148785"/>
                <a:gd name="connsiteX8" fmla="*/ 31242 w 138207"/>
                <a:gd name="connsiteY8" fmla="*/ 86106 h 148785"/>
                <a:gd name="connsiteX9" fmla="*/ 63532 w 138207"/>
                <a:gd name="connsiteY9" fmla="*/ 122777 h 148785"/>
                <a:gd name="connsiteX10" fmla="*/ 102870 w 138207"/>
                <a:gd name="connsiteY10" fmla="*/ 91726 h 148785"/>
                <a:gd name="connsiteX11" fmla="*/ 69818 w 138207"/>
                <a:gd name="connsiteY11" fmla="*/ 91726 h 148785"/>
                <a:gd name="connsiteX12" fmla="*/ 74771 w 138207"/>
                <a:gd name="connsiteY12" fmla="*/ 68390 h 148785"/>
                <a:gd name="connsiteX13" fmla="*/ 135255 w 138207"/>
                <a:gd name="connsiteY13" fmla="*/ 68390 h 148785"/>
                <a:gd name="connsiteX14" fmla="*/ 118872 w 138207"/>
                <a:gd name="connsiteY14" fmla="*/ 145256 h 148785"/>
                <a:gd name="connsiteX15" fmla="*/ 99155 w 138207"/>
                <a:gd name="connsiteY15" fmla="*/ 145256 h 148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8207" h="148785">
                  <a:moveTo>
                    <a:pt x="99155" y="130778"/>
                  </a:moveTo>
                  <a:lnTo>
                    <a:pt x="99155" y="130778"/>
                  </a:lnTo>
                  <a:cubicBezTo>
                    <a:pt x="90835" y="142273"/>
                    <a:pt x="77435" y="148991"/>
                    <a:pt x="63246" y="148780"/>
                  </a:cubicBezTo>
                  <a:cubicBezTo>
                    <a:pt x="23336" y="148780"/>
                    <a:pt x="0" y="125825"/>
                    <a:pt x="0" y="85725"/>
                  </a:cubicBezTo>
                  <a:cubicBezTo>
                    <a:pt x="0" y="39719"/>
                    <a:pt x="29718" y="0"/>
                    <a:pt x="77819" y="0"/>
                  </a:cubicBezTo>
                  <a:cubicBezTo>
                    <a:pt x="111062" y="0"/>
                    <a:pt x="138208" y="15526"/>
                    <a:pt x="138208" y="50387"/>
                  </a:cubicBezTo>
                  <a:lnTo>
                    <a:pt x="106489" y="50387"/>
                  </a:lnTo>
                  <a:cubicBezTo>
                    <a:pt x="105727" y="33242"/>
                    <a:pt x="94964" y="26289"/>
                    <a:pt x="77914" y="26289"/>
                  </a:cubicBezTo>
                  <a:cubicBezTo>
                    <a:pt x="45815" y="26289"/>
                    <a:pt x="31242" y="58769"/>
                    <a:pt x="31242" y="86106"/>
                  </a:cubicBezTo>
                  <a:cubicBezTo>
                    <a:pt x="31242" y="105632"/>
                    <a:pt x="40767" y="122777"/>
                    <a:pt x="63532" y="122777"/>
                  </a:cubicBezTo>
                  <a:cubicBezTo>
                    <a:pt x="82661" y="124026"/>
                    <a:pt x="99643" y="110622"/>
                    <a:pt x="102870" y="91726"/>
                  </a:cubicBezTo>
                  <a:lnTo>
                    <a:pt x="69818" y="91726"/>
                  </a:lnTo>
                  <a:lnTo>
                    <a:pt x="74771" y="68390"/>
                  </a:lnTo>
                  <a:lnTo>
                    <a:pt x="135255" y="68390"/>
                  </a:lnTo>
                  <a:lnTo>
                    <a:pt x="118872" y="145256"/>
                  </a:lnTo>
                  <a:lnTo>
                    <a:pt x="99155" y="14525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4" name="Freihandform: Form 142">
              <a:extLst>
                <a:ext uri="{FF2B5EF4-FFF2-40B4-BE49-F238E27FC236}">
                  <a16:creationId xmlns:a16="http://schemas.microsoft.com/office/drawing/2014/main" id="{EFE3B125-1CAD-4B9F-B351-44BB06320B2A}"/>
                </a:ext>
              </a:extLst>
            </p:cNvPr>
            <p:cNvSpPr/>
            <p:nvPr/>
          </p:nvSpPr>
          <p:spPr>
            <a:xfrm>
              <a:off x="4610671" y="3440524"/>
              <a:ext cx="140970" cy="149161"/>
            </a:xfrm>
            <a:custGeom>
              <a:avLst/>
              <a:gdLst>
                <a:gd name="connsiteX0" fmla="*/ 77819 w 140970"/>
                <a:gd name="connsiteY0" fmla="*/ 0 h 149161"/>
                <a:gd name="connsiteX1" fmla="*/ 140970 w 140970"/>
                <a:gd name="connsiteY1" fmla="*/ 60960 h 149161"/>
                <a:gd name="connsiteX2" fmla="*/ 63246 w 140970"/>
                <a:gd name="connsiteY2" fmla="*/ 149162 h 149161"/>
                <a:gd name="connsiteX3" fmla="*/ 0 w 140970"/>
                <a:gd name="connsiteY3" fmla="*/ 86106 h 149161"/>
                <a:gd name="connsiteX4" fmla="*/ 77819 w 140970"/>
                <a:gd name="connsiteY4" fmla="*/ 0 h 149161"/>
                <a:gd name="connsiteX5" fmla="*/ 63627 w 140970"/>
                <a:gd name="connsiteY5" fmla="*/ 122777 h 149161"/>
                <a:gd name="connsiteX6" fmla="*/ 109728 w 140970"/>
                <a:gd name="connsiteY6" fmla="*/ 63151 h 149161"/>
                <a:gd name="connsiteX7" fmla="*/ 78010 w 140970"/>
                <a:gd name="connsiteY7" fmla="*/ 26289 h 149161"/>
                <a:gd name="connsiteX8" fmla="*/ 31337 w 140970"/>
                <a:gd name="connsiteY8" fmla="*/ 86106 h 149161"/>
                <a:gd name="connsiteX9" fmla="*/ 63627 w 140970"/>
                <a:gd name="connsiteY9" fmla="*/ 122777 h 149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0970" h="149161">
                  <a:moveTo>
                    <a:pt x="77819" y="0"/>
                  </a:moveTo>
                  <a:cubicBezTo>
                    <a:pt x="115919" y="0"/>
                    <a:pt x="140970" y="21146"/>
                    <a:pt x="140970" y="60960"/>
                  </a:cubicBezTo>
                  <a:cubicBezTo>
                    <a:pt x="140970" y="107823"/>
                    <a:pt x="113062" y="149162"/>
                    <a:pt x="63246" y="149162"/>
                  </a:cubicBezTo>
                  <a:cubicBezTo>
                    <a:pt x="23336" y="149162"/>
                    <a:pt x="0" y="126206"/>
                    <a:pt x="0" y="86106"/>
                  </a:cubicBezTo>
                  <a:cubicBezTo>
                    <a:pt x="0" y="40100"/>
                    <a:pt x="29718" y="0"/>
                    <a:pt x="77819" y="0"/>
                  </a:cubicBezTo>
                  <a:close/>
                  <a:moveTo>
                    <a:pt x="63627" y="122777"/>
                  </a:moveTo>
                  <a:cubicBezTo>
                    <a:pt x="94298" y="122777"/>
                    <a:pt x="109728" y="90107"/>
                    <a:pt x="109728" y="63151"/>
                  </a:cubicBezTo>
                  <a:cubicBezTo>
                    <a:pt x="109728" y="43244"/>
                    <a:pt x="100870" y="26289"/>
                    <a:pt x="78010" y="26289"/>
                  </a:cubicBezTo>
                  <a:cubicBezTo>
                    <a:pt x="45910" y="26289"/>
                    <a:pt x="31337" y="58769"/>
                    <a:pt x="31337" y="86106"/>
                  </a:cubicBezTo>
                  <a:cubicBezTo>
                    <a:pt x="31337" y="105632"/>
                    <a:pt x="40862" y="122777"/>
                    <a:pt x="63627" y="12277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5" name="Freihandform: Form 143">
              <a:extLst>
                <a:ext uri="{FF2B5EF4-FFF2-40B4-BE49-F238E27FC236}">
                  <a16:creationId xmlns:a16="http://schemas.microsoft.com/office/drawing/2014/main" id="{A7EB28C6-1A61-4B67-A225-9A524EA87643}"/>
                </a:ext>
              </a:extLst>
            </p:cNvPr>
            <p:cNvSpPr/>
            <p:nvPr/>
          </p:nvSpPr>
          <p:spPr>
            <a:xfrm>
              <a:off x="4352815" y="3271837"/>
              <a:ext cx="436068" cy="260889"/>
            </a:xfrm>
            <a:custGeom>
              <a:avLst/>
              <a:gdLst>
                <a:gd name="connsiteX0" fmla="*/ 436069 w 436068"/>
                <a:gd name="connsiteY0" fmla="*/ 42005 h 260889"/>
                <a:gd name="connsiteX1" fmla="*/ 289098 w 436068"/>
                <a:gd name="connsiteY1" fmla="*/ 0 h 260889"/>
                <a:gd name="connsiteX2" fmla="*/ 312720 w 436068"/>
                <a:gd name="connsiteY2" fmla="*/ 41053 h 260889"/>
                <a:gd name="connsiteX3" fmla="*/ 1348 w 436068"/>
                <a:gd name="connsiteY3" fmla="*/ 171450 h 260889"/>
                <a:gd name="connsiteX4" fmla="*/ 50497 w 436068"/>
                <a:gd name="connsiteY4" fmla="*/ 258509 h 260889"/>
                <a:gd name="connsiteX5" fmla="*/ 58879 w 436068"/>
                <a:gd name="connsiteY5" fmla="*/ 260890 h 260889"/>
                <a:gd name="connsiteX6" fmla="*/ 74780 w 436068"/>
                <a:gd name="connsiteY6" fmla="*/ 244599 h 260889"/>
                <a:gd name="connsiteX7" fmla="*/ 67261 w 436068"/>
                <a:gd name="connsiteY7" fmla="*/ 231172 h 260889"/>
                <a:gd name="connsiteX8" fmla="*/ 32780 w 436068"/>
                <a:gd name="connsiteY8" fmla="*/ 178403 h 260889"/>
                <a:gd name="connsiteX9" fmla="*/ 316435 w 436068"/>
                <a:gd name="connsiteY9" fmla="*/ 72866 h 260889"/>
                <a:gd name="connsiteX10" fmla="*/ 303386 w 436068"/>
                <a:gd name="connsiteY10" fmla="*/ 117920 h 260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36068" h="260889">
                  <a:moveTo>
                    <a:pt x="436069" y="42005"/>
                  </a:moveTo>
                  <a:lnTo>
                    <a:pt x="289098" y="0"/>
                  </a:lnTo>
                  <a:lnTo>
                    <a:pt x="312720" y="41053"/>
                  </a:lnTo>
                  <a:cubicBezTo>
                    <a:pt x="115934" y="70104"/>
                    <a:pt x="13826" y="112871"/>
                    <a:pt x="1348" y="171450"/>
                  </a:cubicBezTo>
                  <a:cubicBezTo>
                    <a:pt x="-9415" y="221361"/>
                    <a:pt x="47735" y="257175"/>
                    <a:pt x="50497" y="258509"/>
                  </a:cubicBezTo>
                  <a:cubicBezTo>
                    <a:pt x="53013" y="260072"/>
                    <a:pt x="55917" y="260897"/>
                    <a:pt x="58879" y="260890"/>
                  </a:cubicBezTo>
                  <a:cubicBezTo>
                    <a:pt x="67768" y="260782"/>
                    <a:pt x="74888" y="253488"/>
                    <a:pt x="74780" y="244599"/>
                  </a:cubicBezTo>
                  <a:cubicBezTo>
                    <a:pt x="74714" y="239137"/>
                    <a:pt x="71883" y="234082"/>
                    <a:pt x="67261" y="231172"/>
                  </a:cubicBezTo>
                  <a:cubicBezTo>
                    <a:pt x="57260" y="224790"/>
                    <a:pt x="27923" y="201263"/>
                    <a:pt x="32780" y="178403"/>
                  </a:cubicBezTo>
                  <a:cubicBezTo>
                    <a:pt x="37067" y="158306"/>
                    <a:pt x="73643" y="108871"/>
                    <a:pt x="316435" y="72866"/>
                  </a:cubicBezTo>
                  <a:lnTo>
                    <a:pt x="303386" y="11792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3" name="Gráfico 2">
            <a:extLst>
              <a:ext uri="{FF2B5EF4-FFF2-40B4-BE49-F238E27FC236}">
                <a16:creationId xmlns:a16="http://schemas.microsoft.com/office/drawing/2014/main" id="{61400DF2-6C61-4C43-9C4A-BDD4A428A07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637787" y="2320788"/>
            <a:ext cx="469900" cy="482600"/>
          </a:xfrm>
          <a:prstGeom prst="rect">
            <a:avLst/>
          </a:prstGeom>
        </p:spPr>
      </p:pic>
      <p:sp>
        <p:nvSpPr>
          <p:cNvPr id="4" name="Título 3">
            <a:extLst>
              <a:ext uri="{FF2B5EF4-FFF2-40B4-BE49-F238E27FC236}">
                <a16:creationId xmlns:a16="http://schemas.microsoft.com/office/drawing/2014/main" id="{80D7CDA2-B5CD-614F-BBC6-101F7FD2D1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1"/>
              <a:t>Iconos editables</a:t>
            </a:r>
          </a:p>
        </p:txBody>
      </p:sp>
    </p:spTree>
    <p:extLst>
      <p:ext uri="{BB962C8B-B14F-4D97-AF65-F5344CB8AC3E}">
        <p14:creationId xmlns:p14="http://schemas.microsoft.com/office/powerpoint/2010/main" val="105944592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52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áfico 2">
            <a:extLst>
              <a:ext uri="{FF2B5EF4-FFF2-40B4-BE49-F238E27FC236}">
                <a16:creationId xmlns:a16="http://schemas.microsoft.com/office/drawing/2014/main" id="{EEAD37BF-0F85-FF46-8B66-4A8E2EB0AE0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70861" y="1427946"/>
            <a:ext cx="243058" cy="464510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E8338E30-4398-924B-BC4F-2BC7B711DDA9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405360" y="1480200"/>
            <a:ext cx="454741" cy="360003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99631887-FE16-6E48-8D92-79A2FD95DC41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437106" y="1451778"/>
            <a:ext cx="416846" cy="416846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32013AB8-A5CC-3F4A-9E0C-E9549BD87A2F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390924" y="1451778"/>
            <a:ext cx="437430" cy="416846"/>
          </a:xfrm>
          <a:prstGeom prst="rect">
            <a:avLst/>
          </a:prstGeom>
        </p:spPr>
      </p:pic>
      <p:pic>
        <p:nvPicPr>
          <p:cNvPr id="12" name="Gráfico 11">
            <a:extLst>
              <a:ext uri="{FF2B5EF4-FFF2-40B4-BE49-F238E27FC236}">
                <a16:creationId xmlns:a16="http://schemas.microsoft.com/office/drawing/2014/main" id="{9F3FEA52-50F8-D944-A969-459C3D38FFD7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430957" y="1486153"/>
            <a:ext cx="462473" cy="348098"/>
          </a:xfrm>
          <a:prstGeom prst="rect">
            <a:avLst/>
          </a:prstGeom>
        </p:spPr>
      </p:pic>
      <p:pic>
        <p:nvPicPr>
          <p:cNvPr id="14" name="Gráfico 13">
            <a:extLst>
              <a:ext uri="{FF2B5EF4-FFF2-40B4-BE49-F238E27FC236}">
                <a16:creationId xmlns:a16="http://schemas.microsoft.com/office/drawing/2014/main" id="{D01F5381-777E-AC45-93FB-700B8FFAE5B2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470435" y="1480200"/>
            <a:ext cx="365458" cy="360003"/>
          </a:xfrm>
          <a:prstGeom prst="rect">
            <a:avLst/>
          </a:prstGeom>
        </p:spPr>
      </p:pic>
      <p:pic>
        <p:nvPicPr>
          <p:cNvPr id="16" name="Gráfico 15">
            <a:extLst>
              <a:ext uri="{FF2B5EF4-FFF2-40B4-BE49-F238E27FC236}">
                <a16:creationId xmlns:a16="http://schemas.microsoft.com/office/drawing/2014/main" id="{0AB2A60B-9EA8-5841-A41E-5E3D1690099A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412898" y="1438450"/>
            <a:ext cx="443504" cy="443504"/>
          </a:xfrm>
          <a:prstGeom prst="rect">
            <a:avLst/>
          </a:prstGeom>
        </p:spPr>
      </p:pic>
      <p:pic>
        <p:nvPicPr>
          <p:cNvPr id="42" name="Gráfico 41">
            <a:extLst>
              <a:ext uri="{FF2B5EF4-FFF2-40B4-BE49-F238E27FC236}">
                <a16:creationId xmlns:a16="http://schemas.microsoft.com/office/drawing/2014/main" id="{92804150-05F4-4547-99D8-7864BE01B268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3550700" y="2351716"/>
            <a:ext cx="519489" cy="490628"/>
          </a:xfrm>
          <a:prstGeom prst="rect">
            <a:avLst/>
          </a:prstGeom>
        </p:spPr>
      </p:pic>
      <p:pic>
        <p:nvPicPr>
          <p:cNvPr id="44" name="Gráfico 43">
            <a:extLst>
              <a:ext uri="{FF2B5EF4-FFF2-40B4-BE49-F238E27FC236}">
                <a16:creationId xmlns:a16="http://schemas.microsoft.com/office/drawing/2014/main" id="{3301FFE1-8C7A-954B-A231-A7134F74E213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2534640" y="2337286"/>
            <a:ext cx="519489" cy="519489"/>
          </a:xfrm>
          <a:prstGeom prst="rect">
            <a:avLst/>
          </a:prstGeom>
        </p:spPr>
      </p:pic>
      <p:pic>
        <p:nvPicPr>
          <p:cNvPr id="46" name="Gráfico 45">
            <a:extLst>
              <a:ext uri="{FF2B5EF4-FFF2-40B4-BE49-F238E27FC236}">
                <a16:creationId xmlns:a16="http://schemas.microsoft.com/office/drawing/2014/main" id="{E29E824C-C24E-E145-8A10-C3C0300B4C2A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4566760" y="2308425"/>
            <a:ext cx="394427" cy="577210"/>
          </a:xfrm>
          <a:prstGeom prst="rect">
            <a:avLst/>
          </a:prstGeom>
        </p:spPr>
      </p:pic>
      <p:pic>
        <p:nvPicPr>
          <p:cNvPr id="48" name="Gráfico 47">
            <a:extLst>
              <a:ext uri="{FF2B5EF4-FFF2-40B4-BE49-F238E27FC236}">
                <a16:creationId xmlns:a16="http://schemas.microsoft.com/office/drawing/2014/main" id="{4C29E5F9-0648-1B43-BBB1-253703905DA3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7384055" y="2409437"/>
            <a:ext cx="663791" cy="375187"/>
          </a:xfrm>
          <a:prstGeom prst="rect">
            <a:avLst/>
          </a:prstGeom>
        </p:spPr>
      </p:pic>
      <p:pic>
        <p:nvPicPr>
          <p:cNvPr id="50" name="Gráfico 49">
            <a:extLst>
              <a:ext uri="{FF2B5EF4-FFF2-40B4-BE49-F238E27FC236}">
                <a16:creationId xmlns:a16="http://schemas.microsoft.com/office/drawing/2014/main" id="{8779F252-D724-2849-BD12-011336AEEA24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5457758" y="2356526"/>
            <a:ext cx="471388" cy="481008"/>
          </a:xfrm>
          <a:prstGeom prst="rect">
            <a:avLst/>
          </a:prstGeom>
        </p:spPr>
      </p:pic>
      <p:pic>
        <p:nvPicPr>
          <p:cNvPr id="52" name="Gráfico 51">
            <a:extLst>
              <a:ext uri="{FF2B5EF4-FFF2-40B4-BE49-F238E27FC236}">
                <a16:creationId xmlns:a16="http://schemas.microsoft.com/office/drawing/2014/main" id="{837BF1AD-3EC7-CA4D-BD53-F0D3B406591E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6425716" y="2361337"/>
            <a:ext cx="461768" cy="471388"/>
          </a:xfrm>
          <a:prstGeom prst="rect">
            <a:avLst/>
          </a:prstGeom>
        </p:spPr>
      </p:pic>
      <p:pic>
        <p:nvPicPr>
          <p:cNvPr id="56" name="Gráfico 55">
            <a:extLst>
              <a:ext uri="{FF2B5EF4-FFF2-40B4-BE49-F238E27FC236}">
                <a16:creationId xmlns:a16="http://schemas.microsoft.com/office/drawing/2014/main" id="{F0EFEDE1-540B-7E4B-9F1D-4B43B943095E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8549142" y="1434127"/>
            <a:ext cx="355946" cy="452149"/>
          </a:xfrm>
          <a:prstGeom prst="rect">
            <a:avLst/>
          </a:prstGeom>
        </p:spPr>
      </p:pic>
      <p:pic>
        <p:nvPicPr>
          <p:cNvPr id="58" name="Gráfico 57">
            <a:extLst>
              <a:ext uri="{FF2B5EF4-FFF2-40B4-BE49-F238E27FC236}">
                <a16:creationId xmlns:a16="http://schemas.microsoft.com/office/drawing/2014/main" id="{D3C6A549-F826-8944-86D8-E0224FA1DC8E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1537820" y="2342096"/>
            <a:ext cx="500249" cy="509869"/>
          </a:xfrm>
          <a:prstGeom prst="rect">
            <a:avLst/>
          </a:prstGeom>
        </p:spPr>
      </p:pic>
      <p:pic>
        <p:nvPicPr>
          <p:cNvPr id="60" name="Gráfico 59">
            <a:extLst>
              <a:ext uri="{FF2B5EF4-FFF2-40B4-BE49-F238E27FC236}">
                <a16:creationId xmlns:a16="http://schemas.microsoft.com/office/drawing/2014/main" id="{49676C76-CEBA-D740-951C-EF53DB4E2C5D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502520" y="2327666"/>
            <a:ext cx="538730" cy="538730"/>
          </a:xfrm>
          <a:prstGeom prst="rect">
            <a:avLst/>
          </a:prstGeom>
        </p:spPr>
      </p:pic>
      <p:pic>
        <p:nvPicPr>
          <p:cNvPr id="62" name="Gráfico 61">
            <a:extLst>
              <a:ext uri="{FF2B5EF4-FFF2-40B4-BE49-F238E27FC236}">
                <a16:creationId xmlns:a16="http://schemas.microsoft.com/office/drawing/2014/main" id="{36897F84-50C3-E749-8A81-ED61AEEFE2A3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5364986" y="3271258"/>
            <a:ext cx="432907" cy="490628"/>
          </a:xfrm>
          <a:prstGeom prst="rect">
            <a:avLst/>
          </a:prstGeom>
        </p:spPr>
      </p:pic>
      <p:pic>
        <p:nvPicPr>
          <p:cNvPr id="64" name="Gráfico 63">
            <a:extLst>
              <a:ext uri="{FF2B5EF4-FFF2-40B4-BE49-F238E27FC236}">
                <a16:creationId xmlns:a16="http://schemas.microsoft.com/office/drawing/2014/main" id="{1E3294FB-589F-2145-B8AE-31460A8B2523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8638412" y="3256827"/>
            <a:ext cx="519489" cy="519489"/>
          </a:xfrm>
          <a:prstGeom prst="rect">
            <a:avLst/>
          </a:prstGeom>
        </p:spPr>
      </p:pic>
      <p:pic>
        <p:nvPicPr>
          <p:cNvPr id="68" name="Gráfico 67">
            <a:extLst>
              <a:ext uri="{FF2B5EF4-FFF2-40B4-BE49-F238E27FC236}">
                <a16:creationId xmlns:a16="http://schemas.microsoft.com/office/drawing/2014/main" id="{28809DC0-DF06-D540-B0A0-61F944AEE816}"/>
              </a:ext>
            </a:extLst>
          </p:cNvPr>
          <p:cNvPicPr>
            <a:picLocks noChangeAspect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>
            <a:off x="6347099" y="3247207"/>
            <a:ext cx="606071" cy="538730"/>
          </a:xfrm>
          <a:prstGeom prst="rect">
            <a:avLst/>
          </a:prstGeom>
        </p:spPr>
      </p:pic>
      <p:pic>
        <p:nvPicPr>
          <p:cNvPr id="71" name="Gráfico 70">
            <a:extLst>
              <a:ext uri="{FF2B5EF4-FFF2-40B4-BE49-F238E27FC236}">
                <a16:creationId xmlns:a16="http://schemas.microsoft.com/office/drawing/2014/main" id="{F8500B75-4B7A-824E-BAA1-3CB8A212A691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7433407" y="1400457"/>
            <a:ext cx="538730" cy="519489"/>
          </a:xfrm>
          <a:prstGeom prst="rect">
            <a:avLst/>
          </a:prstGeom>
        </p:spPr>
      </p:pic>
      <p:pic>
        <p:nvPicPr>
          <p:cNvPr id="73" name="Gráfico 72">
            <a:extLst>
              <a:ext uri="{FF2B5EF4-FFF2-40B4-BE49-F238E27FC236}">
                <a16:creationId xmlns:a16="http://schemas.microsoft.com/office/drawing/2014/main" id="{976CA42B-68C6-7C4F-9882-0E8DF39DD61D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9707107" y="3280878"/>
            <a:ext cx="413667" cy="471388"/>
          </a:xfrm>
          <a:prstGeom prst="rect">
            <a:avLst/>
          </a:prstGeom>
        </p:spPr>
      </p:pic>
      <p:pic>
        <p:nvPicPr>
          <p:cNvPr id="77" name="Gráfico 76">
            <a:extLst>
              <a:ext uri="{FF2B5EF4-FFF2-40B4-BE49-F238E27FC236}">
                <a16:creationId xmlns:a16="http://schemas.microsoft.com/office/drawing/2014/main" id="{2A756FD6-9C68-6F47-9C8B-85711D806DCB}"/>
              </a:ext>
            </a:extLst>
          </p:cNvPr>
          <p:cNvPicPr>
            <a:picLocks noChangeAspect="1"/>
          </p:cNvPicPr>
          <p:nvPr/>
        </p:nvPicPr>
        <p:blipFill>
          <a:blip r:embed="rId4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4440594" y="3285687"/>
            <a:ext cx="375187" cy="461769"/>
          </a:xfrm>
          <a:prstGeom prst="rect">
            <a:avLst/>
          </a:prstGeom>
        </p:spPr>
      </p:pic>
      <p:pic>
        <p:nvPicPr>
          <p:cNvPr id="83" name="Gráfico 82">
            <a:extLst>
              <a:ext uri="{FF2B5EF4-FFF2-40B4-BE49-F238E27FC236}">
                <a16:creationId xmlns:a16="http://schemas.microsoft.com/office/drawing/2014/main" id="{3C56075C-71BF-7446-BB72-E137A3B14428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3516202" y="3285687"/>
            <a:ext cx="375187" cy="461769"/>
          </a:xfrm>
          <a:prstGeom prst="rect">
            <a:avLst/>
          </a:prstGeom>
        </p:spPr>
      </p:pic>
      <p:pic>
        <p:nvPicPr>
          <p:cNvPr id="88" name="Gráfico 87">
            <a:extLst>
              <a:ext uri="{FF2B5EF4-FFF2-40B4-BE49-F238E27FC236}">
                <a16:creationId xmlns:a16="http://schemas.microsoft.com/office/drawing/2014/main" id="{6C707093-7D83-9F4C-BA86-EBA02B75C78B}"/>
              </a:ext>
            </a:extLst>
          </p:cNvPr>
          <p:cNvPicPr>
            <a:picLocks noChangeAspect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>
          <a:xfrm>
            <a:off x="2466747" y="3333788"/>
            <a:ext cx="500249" cy="365567"/>
          </a:xfrm>
          <a:prstGeom prst="rect">
            <a:avLst/>
          </a:prstGeom>
        </p:spPr>
      </p:pic>
      <p:pic>
        <p:nvPicPr>
          <p:cNvPr id="91" name="Gráfico 90">
            <a:extLst>
              <a:ext uri="{FF2B5EF4-FFF2-40B4-BE49-F238E27FC236}">
                <a16:creationId xmlns:a16="http://schemas.microsoft.com/office/drawing/2014/main" id="{393AE07D-6993-FC46-8FA7-F30646744B49}"/>
              </a:ext>
            </a:extLst>
          </p:cNvPr>
          <p:cNvPicPr>
            <a:picLocks noChangeAspect="1"/>
          </p:cNvPicPr>
          <p:nvPr/>
        </p:nvPicPr>
        <p:blipFill>
          <a:blip r:embed="rId5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6"/>
              </a:ext>
            </a:extLst>
          </a:blip>
          <a:stretch>
            <a:fillRect/>
          </a:stretch>
        </p:blipFill>
        <p:spPr>
          <a:xfrm>
            <a:off x="1571216" y="3300117"/>
            <a:ext cx="346326" cy="432908"/>
          </a:xfrm>
          <a:prstGeom prst="rect">
            <a:avLst/>
          </a:prstGeom>
        </p:spPr>
      </p:pic>
      <p:pic>
        <p:nvPicPr>
          <p:cNvPr id="93" name="Gráfico 92">
            <a:extLst>
              <a:ext uri="{FF2B5EF4-FFF2-40B4-BE49-F238E27FC236}">
                <a16:creationId xmlns:a16="http://schemas.microsoft.com/office/drawing/2014/main" id="{72A19760-4B36-8B4E-95E1-8950783C1B12}"/>
              </a:ext>
            </a:extLst>
          </p:cNvPr>
          <p:cNvPicPr>
            <a:picLocks noChangeAspect="1"/>
          </p:cNvPicPr>
          <p:nvPr/>
        </p:nvPicPr>
        <p:blipFill>
          <a:blip r:embed="rId5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521761" y="3348219"/>
            <a:ext cx="500249" cy="336706"/>
          </a:xfrm>
          <a:prstGeom prst="rect">
            <a:avLst/>
          </a:prstGeom>
        </p:spPr>
      </p:pic>
      <p:pic>
        <p:nvPicPr>
          <p:cNvPr id="95" name="Gráfico 94">
            <a:extLst>
              <a:ext uri="{FF2B5EF4-FFF2-40B4-BE49-F238E27FC236}">
                <a16:creationId xmlns:a16="http://schemas.microsoft.com/office/drawing/2014/main" id="{27A2AFCA-C2F8-1B45-AC03-1A9FC1351B50}"/>
              </a:ext>
            </a:extLst>
          </p:cNvPr>
          <p:cNvPicPr>
            <a:picLocks noChangeAspect="1"/>
          </p:cNvPicPr>
          <p:nvPr/>
        </p:nvPicPr>
        <p:blipFill>
          <a:blip r:embed="rId5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0"/>
              </a:ext>
            </a:extLst>
          </a:blip>
          <a:stretch>
            <a:fillRect/>
          </a:stretch>
        </p:blipFill>
        <p:spPr>
          <a:xfrm>
            <a:off x="9592464" y="4136749"/>
            <a:ext cx="529109" cy="548350"/>
          </a:xfrm>
          <a:prstGeom prst="rect">
            <a:avLst/>
          </a:prstGeom>
        </p:spPr>
      </p:pic>
      <p:pic>
        <p:nvPicPr>
          <p:cNvPr id="97" name="Gráfico 96">
            <a:extLst>
              <a:ext uri="{FF2B5EF4-FFF2-40B4-BE49-F238E27FC236}">
                <a16:creationId xmlns:a16="http://schemas.microsoft.com/office/drawing/2014/main" id="{2406D5C8-9CE1-5A48-9E24-EE2903A65439}"/>
              </a:ext>
            </a:extLst>
          </p:cNvPr>
          <p:cNvPicPr>
            <a:picLocks noChangeAspect="1"/>
          </p:cNvPicPr>
          <p:nvPr/>
        </p:nvPicPr>
        <p:blipFill>
          <a:blip r:embed="rId6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2"/>
              </a:ext>
            </a:extLst>
          </a:blip>
          <a:stretch>
            <a:fillRect/>
          </a:stretch>
        </p:blipFill>
        <p:spPr>
          <a:xfrm>
            <a:off x="8502563" y="4151179"/>
            <a:ext cx="519489" cy="519489"/>
          </a:xfrm>
          <a:prstGeom prst="rect">
            <a:avLst/>
          </a:prstGeom>
        </p:spPr>
      </p:pic>
      <p:pic>
        <p:nvPicPr>
          <p:cNvPr id="99" name="Gráfico 98">
            <a:extLst>
              <a:ext uri="{FF2B5EF4-FFF2-40B4-BE49-F238E27FC236}">
                <a16:creationId xmlns:a16="http://schemas.microsoft.com/office/drawing/2014/main" id="{88269F05-326F-9E46-A7FC-39A13D9F7161}"/>
              </a:ext>
            </a:extLst>
          </p:cNvPr>
          <p:cNvPicPr>
            <a:picLocks noChangeAspect="1"/>
          </p:cNvPicPr>
          <p:nvPr/>
        </p:nvPicPr>
        <p:blipFill>
          <a:blip r:embed="rId6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4"/>
              </a:ext>
            </a:extLst>
          </a:blip>
          <a:stretch>
            <a:fillRect/>
          </a:stretch>
        </p:blipFill>
        <p:spPr>
          <a:xfrm>
            <a:off x="7614685" y="4136749"/>
            <a:ext cx="317465" cy="548350"/>
          </a:xfrm>
          <a:prstGeom prst="rect">
            <a:avLst/>
          </a:prstGeom>
        </p:spPr>
      </p:pic>
      <p:pic>
        <p:nvPicPr>
          <p:cNvPr id="105" name="Gráfico 104">
            <a:extLst>
              <a:ext uri="{FF2B5EF4-FFF2-40B4-BE49-F238E27FC236}">
                <a16:creationId xmlns:a16="http://schemas.microsoft.com/office/drawing/2014/main" id="{11839EDC-FA4C-0540-A413-E548FD312F24}"/>
              </a:ext>
            </a:extLst>
          </p:cNvPr>
          <p:cNvPicPr>
            <a:picLocks noChangeAspect="1"/>
          </p:cNvPicPr>
          <p:nvPr/>
        </p:nvPicPr>
        <p:blipFill>
          <a:blip r:embed="rId6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6"/>
              </a:ext>
            </a:extLst>
          </a:blip>
          <a:stretch>
            <a:fillRect/>
          </a:stretch>
        </p:blipFill>
        <p:spPr>
          <a:xfrm>
            <a:off x="6534404" y="4155990"/>
            <a:ext cx="509869" cy="509869"/>
          </a:xfrm>
          <a:prstGeom prst="rect">
            <a:avLst/>
          </a:prstGeom>
        </p:spPr>
      </p:pic>
      <p:pic>
        <p:nvPicPr>
          <p:cNvPr id="107" name="Gráfico 106">
            <a:extLst>
              <a:ext uri="{FF2B5EF4-FFF2-40B4-BE49-F238E27FC236}">
                <a16:creationId xmlns:a16="http://schemas.microsoft.com/office/drawing/2014/main" id="{EA7CEFEA-F03A-C143-867E-40C854B5515F}"/>
              </a:ext>
            </a:extLst>
          </p:cNvPr>
          <p:cNvPicPr>
            <a:picLocks noChangeAspect="1"/>
          </p:cNvPicPr>
          <p:nvPr/>
        </p:nvPicPr>
        <p:blipFill>
          <a:blip r:embed="rId6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8"/>
              </a:ext>
            </a:extLst>
          </a:blip>
          <a:stretch>
            <a:fillRect/>
          </a:stretch>
        </p:blipFill>
        <p:spPr>
          <a:xfrm>
            <a:off x="5569564" y="4122319"/>
            <a:ext cx="394427" cy="577210"/>
          </a:xfrm>
          <a:prstGeom prst="rect">
            <a:avLst/>
          </a:prstGeom>
        </p:spPr>
      </p:pic>
      <p:pic>
        <p:nvPicPr>
          <p:cNvPr id="109" name="Gráfico 108">
            <a:extLst>
              <a:ext uri="{FF2B5EF4-FFF2-40B4-BE49-F238E27FC236}">
                <a16:creationId xmlns:a16="http://schemas.microsoft.com/office/drawing/2014/main" id="{E1F2FB3D-669D-6B45-B83A-9D1BEC7752BB}"/>
              </a:ext>
            </a:extLst>
          </p:cNvPr>
          <p:cNvPicPr>
            <a:picLocks noChangeAspect="1"/>
          </p:cNvPicPr>
          <p:nvPr/>
        </p:nvPicPr>
        <p:blipFill>
          <a:blip r:embed="rId6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0"/>
              </a:ext>
            </a:extLst>
          </a:blip>
          <a:stretch>
            <a:fillRect/>
          </a:stretch>
        </p:blipFill>
        <p:spPr>
          <a:xfrm>
            <a:off x="4566244" y="4136749"/>
            <a:ext cx="432908" cy="548350"/>
          </a:xfrm>
          <a:prstGeom prst="rect">
            <a:avLst/>
          </a:prstGeom>
        </p:spPr>
      </p:pic>
      <p:pic>
        <p:nvPicPr>
          <p:cNvPr id="111" name="Gráfico 110">
            <a:extLst>
              <a:ext uri="{FF2B5EF4-FFF2-40B4-BE49-F238E27FC236}">
                <a16:creationId xmlns:a16="http://schemas.microsoft.com/office/drawing/2014/main" id="{8C9A5479-FCE9-9D4E-B50A-BBDC7C5F1CFA}"/>
              </a:ext>
            </a:extLst>
          </p:cNvPr>
          <p:cNvPicPr>
            <a:picLocks noChangeAspect="1"/>
          </p:cNvPicPr>
          <p:nvPr/>
        </p:nvPicPr>
        <p:blipFill>
          <a:blip r:embed="rId7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2"/>
              </a:ext>
            </a:extLst>
          </a:blip>
          <a:stretch>
            <a:fillRect/>
          </a:stretch>
        </p:blipFill>
        <p:spPr>
          <a:xfrm>
            <a:off x="3572544" y="4199280"/>
            <a:ext cx="423288" cy="423288"/>
          </a:xfrm>
          <a:prstGeom prst="rect">
            <a:avLst/>
          </a:prstGeom>
        </p:spPr>
      </p:pic>
      <p:pic>
        <p:nvPicPr>
          <p:cNvPr id="115" name="Gráfico 114">
            <a:extLst>
              <a:ext uri="{FF2B5EF4-FFF2-40B4-BE49-F238E27FC236}">
                <a16:creationId xmlns:a16="http://schemas.microsoft.com/office/drawing/2014/main" id="{4E00CC6E-AE7B-CD48-9502-44D3F4494949}"/>
              </a:ext>
            </a:extLst>
          </p:cNvPr>
          <p:cNvPicPr>
            <a:picLocks noChangeAspect="1"/>
          </p:cNvPicPr>
          <p:nvPr/>
        </p:nvPicPr>
        <p:blipFill>
          <a:blip r:embed="rId7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4"/>
              </a:ext>
            </a:extLst>
          </a:blip>
          <a:stretch>
            <a:fillRect/>
          </a:stretch>
        </p:blipFill>
        <p:spPr>
          <a:xfrm>
            <a:off x="2549983" y="4189659"/>
            <a:ext cx="452149" cy="442528"/>
          </a:xfrm>
          <a:prstGeom prst="rect">
            <a:avLst/>
          </a:prstGeom>
        </p:spPr>
      </p:pic>
      <p:pic>
        <p:nvPicPr>
          <p:cNvPr id="407" name="Gráfico 406">
            <a:extLst>
              <a:ext uri="{FF2B5EF4-FFF2-40B4-BE49-F238E27FC236}">
                <a16:creationId xmlns:a16="http://schemas.microsoft.com/office/drawing/2014/main" id="{B3E135F2-518D-8042-9BC7-CD4344F0B2FA}"/>
              </a:ext>
            </a:extLst>
          </p:cNvPr>
          <p:cNvPicPr>
            <a:picLocks noChangeAspect="1"/>
          </p:cNvPicPr>
          <p:nvPr/>
        </p:nvPicPr>
        <p:blipFill>
          <a:blip r:embed="rId7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6"/>
              </a:ext>
            </a:extLst>
          </a:blip>
          <a:stretch>
            <a:fillRect/>
          </a:stretch>
        </p:blipFill>
        <p:spPr>
          <a:xfrm>
            <a:off x="620305" y="4141559"/>
            <a:ext cx="394427" cy="538730"/>
          </a:xfrm>
          <a:prstGeom prst="rect">
            <a:avLst/>
          </a:prstGeom>
        </p:spPr>
      </p:pic>
      <p:pic>
        <p:nvPicPr>
          <p:cNvPr id="409" name="Gráfico 408">
            <a:extLst>
              <a:ext uri="{FF2B5EF4-FFF2-40B4-BE49-F238E27FC236}">
                <a16:creationId xmlns:a16="http://schemas.microsoft.com/office/drawing/2014/main" id="{BD4CAE90-724A-1A4E-9F0E-BC55FA5C962A}"/>
              </a:ext>
            </a:extLst>
          </p:cNvPr>
          <p:cNvPicPr>
            <a:picLocks noChangeAspect="1"/>
          </p:cNvPicPr>
          <p:nvPr/>
        </p:nvPicPr>
        <p:blipFill>
          <a:blip r:embed="rId7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8"/>
              </a:ext>
            </a:extLst>
          </a:blip>
          <a:stretch>
            <a:fillRect/>
          </a:stretch>
        </p:blipFill>
        <p:spPr>
          <a:xfrm>
            <a:off x="1585144" y="4141559"/>
            <a:ext cx="394427" cy="538730"/>
          </a:xfrm>
          <a:prstGeom prst="rect">
            <a:avLst/>
          </a:prstGeom>
        </p:spPr>
      </p:pic>
      <p:pic>
        <p:nvPicPr>
          <p:cNvPr id="411" name="Gráfico 410">
            <a:extLst>
              <a:ext uri="{FF2B5EF4-FFF2-40B4-BE49-F238E27FC236}">
                <a16:creationId xmlns:a16="http://schemas.microsoft.com/office/drawing/2014/main" id="{F846F922-8336-A942-94C4-8C818D3012AD}"/>
              </a:ext>
            </a:extLst>
          </p:cNvPr>
          <p:cNvPicPr>
            <a:picLocks noChangeAspect="1"/>
          </p:cNvPicPr>
          <p:nvPr/>
        </p:nvPicPr>
        <p:blipFill>
          <a:blip r:embed="rId7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0"/>
              </a:ext>
            </a:extLst>
          </a:blip>
          <a:stretch>
            <a:fillRect/>
          </a:stretch>
        </p:blipFill>
        <p:spPr>
          <a:xfrm>
            <a:off x="3423654" y="5058340"/>
            <a:ext cx="490628" cy="481008"/>
          </a:xfrm>
          <a:prstGeom prst="rect">
            <a:avLst/>
          </a:prstGeom>
        </p:spPr>
      </p:pic>
      <p:pic>
        <p:nvPicPr>
          <p:cNvPr id="413" name="Gráfico 412">
            <a:extLst>
              <a:ext uri="{FF2B5EF4-FFF2-40B4-BE49-F238E27FC236}">
                <a16:creationId xmlns:a16="http://schemas.microsoft.com/office/drawing/2014/main" id="{D2B06DB0-C12B-2B42-892A-FDF35D591BF8}"/>
              </a:ext>
            </a:extLst>
          </p:cNvPr>
          <p:cNvPicPr>
            <a:picLocks noChangeAspect="1"/>
          </p:cNvPicPr>
          <p:nvPr/>
        </p:nvPicPr>
        <p:blipFill>
          <a:blip r:embed="rId8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2"/>
              </a:ext>
            </a:extLst>
          </a:blip>
          <a:stretch>
            <a:fillRect/>
          </a:stretch>
        </p:blipFill>
        <p:spPr>
          <a:xfrm>
            <a:off x="6682221" y="5082390"/>
            <a:ext cx="336706" cy="432908"/>
          </a:xfrm>
          <a:prstGeom prst="rect">
            <a:avLst/>
          </a:prstGeom>
        </p:spPr>
      </p:pic>
      <p:pic>
        <p:nvPicPr>
          <p:cNvPr id="415" name="Gráfico 414">
            <a:extLst>
              <a:ext uri="{FF2B5EF4-FFF2-40B4-BE49-F238E27FC236}">
                <a16:creationId xmlns:a16="http://schemas.microsoft.com/office/drawing/2014/main" id="{876A455A-1454-7B4C-B631-2FA7D92ECD62}"/>
              </a:ext>
            </a:extLst>
          </p:cNvPr>
          <p:cNvPicPr>
            <a:picLocks noChangeAspect="1"/>
          </p:cNvPicPr>
          <p:nvPr/>
        </p:nvPicPr>
        <p:blipFill>
          <a:blip r:embed="rId8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4"/>
              </a:ext>
            </a:extLst>
          </a:blip>
          <a:stretch>
            <a:fillRect/>
          </a:stretch>
        </p:blipFill>
        <p:spPr>
          <a:xfrm>
            <a:off x="5605651" y="5096820"/>
            <a:ext cx="577210" cy="404047"/>
          </a:xfrm>
          <a:prstGeom prst="rect">
            <a:avLst/>
          </a:prstGeom>
        </p:spPr>
      </p:pic>
      <p:pic>
        <p:nvPicPr>
          <p:cNvPr id="417" name="Gráfico 416">
            <a:extLst>
              <a:ext uri="{FF2B5EF4-FFF2-40B4-BE49-F238E27FC236}">
                <a16:creationId xmlns:a16="http://schemas.microsoft.com/office/drawing/2014/main" id="{0257E3C0-52C4-3742-BC49-45A25565B39A}"/>
              </a:ext>
            </a:extLst>
          </p:cNvPr>
          <p:cNvPicPr>
            <a:picLocks noChangeAspect="1"/>
          </p:cNvPicPr>
          <p:nvPr/>
        </p:nvPicPr>
        <p:blipFill>
          <a:blip r:embed="rId8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8585234" y="5039100"/>
            <a:ext cx="577210" cy="519489"/>
          </a:xfrm>
          <a:prstGeom prst="rect">
            <a:avLst/>
          </a:prstGeom>
        </p:spPr>
      </p:pic>
      <p:pic>
        <p:nvPicPr>
          <p:cNvPr id="419" name="Gráfico 418">
            <a:extLst>
              <a:ext uri="{FF2B5EF4-FFF2-40B4-BE49-F238E27FC236}">
                <a16:creationId xmlns:a16="http://schemas.microsoft.com/office/drawing/2014/main" id="{6D02B525-7483-C14B-9D85-54A15DAF4280}"/>
              </a:ext>
            </a:extLst>
          </p:cNvPr>
          <p:cNvPicPr>
            <a:picLocks noChangeAspect="1"/>
          </p:cNvPicPr>
          <p:nvPr/>
        </p:nvPicPr>
        <p:blipFill>
          <a:blip r:embed="rId8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8"/>
              </a:ext>
            </a:extLst>
          </a:blip>
          <a:stretch>
            <a:fillRect/>
          </a:stretch>
        </p:blipFill>
        <p:spPr>
          <a:xfrm>
            <a:off x="2433666" y="5082390"/>
            <a:ext cx="490629" cy="432908"/>
          </a:xfrm>
          <a:prstGeom prst="rect">
            <a:avLst/>
          </a:prstGeom>
        </p:spPr>
      </p:pic>
      <p:pic>
        <p:nvPicPr>
          <p:cNvPr id="421" name="Gráfico 420">
            <a:extLst>
              <a:ext uri="{FF2B5EF4-FFF2-40B4-BE49-F238E27FC236}">
                <a16:creationId xmlns:a16="http://schemas.microsoft.com/office/drawing/2014/main" id="{C8E8BF8B-6BCA-0248-9101-9532817E5E21}"/>
              </a:ext>
            </a:extLst>
          </p:cNvPr>
          <p:cNvPicPr>
            <a:picLocks noChangeAspect="1"/>
          </p:cNvPicPr>
          <p:nvPr/>
        </p:nvPicPr>
        <p:blipFill>
          <a:blip r:embed="rId8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0"/>
              </a:ext>
            </a:extLst>
          </a:blip>
          <a:stretch>
            <a:fillRect/>
          </a:stretch>
        </p:blipFill>
        <p:spPr>
          <a:xfrm>
            <a:off x="569134" y="5048720"/>
            <a:ext cx="432907" cy="500249"/>
          </a:xfrm>
          <a:prstGeom prst="rect">
            <a:avLst/>
          </a:prstGeom>
        </p:spPr>
      </p:pic>
      <p:pic>
        <p:nvPicPr>
          <p:cNvPr id="423" name="Gráfico 422">
            <a:extLst>
              <a:ext uri="{FF2B5EF4-FFF2-40B4-BE49-F238E27FC236}">
                <a16:creationId xmlns:a16="http://schemas.microsoft.com/office/drawing/2014/main" id="{3B08F2BF-9651-9F4E-AB5C-25E738F83EFE}"/>
              </a:ext>
            </a:extLst>
          </p:cNvPr>
          <p:cNvPicPr>
            <a:picLocks noChangeAspect="1"/>
          </p:cNvPicPr>
          <p:nvPr/>
        </p:nvPicPr>
        <p:blipFill>
          <a:blip r:embed="rId9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2"/>
              </a:ext>
            </a:extLst>
          </a:blip>
          <a:stretch>
            <a:fillRect/>
          </a:stretch>
        </p:blipFill>
        <p:spPr>
          <a:xfrm>
            <a:off x="1501400" y="5053530"/>
            <a:ext cx="432907" cy="490628"/>
          </a:xfrm>
          <a:prstGeom prst="rect">
            <a:avLst/>
          </a:prstGeom>
        </p:spPr>
      </p:pic>
      <p:pic>
        <p:nvPicPr>
          <p:cNvPr id="425" name="Gráfico 424">
            <a:extLst>
              <a:ext uri="{FF2B5EF4-FFF2-40B4-BE49-F238E27FC236}">
                <a16:creationId xmlns:a16="http://schemas.microsoft.com/office/drawing/2014/main" id="{057E0F98-9F3E-A04A-9A5F-7AD805C4C499}"/>
              </a:ext>
            </a:extLst>
          </p:cNvPr>
          <p:cNvPicPr>
            <a:picLocks noChangeAspect="1"/>
          </p:cNvPicPr>
          <p:nvPr/>
        </p:nvPicPr>
        <p:blipFill>
          <a:blip r:embed="rId9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4"/>
              </a:ext>
            </a:extLst>
          </a:blip>
          <a:stretch>
            <a:fillRect/>
          </a:stretch>
        </p:blipFill>
        <p:spPr>
          <a:xfrm>
            <a:off x="7502376" y="3314548"/>
            <a:ext cx="586831" cy="404047"/>
          </a:xfrm>
          <a:prstGeom prst="rect">
            <a:avLst/>
          </a:prstGeom>
        </p:spPr>
      </p:pic>
      <p:pic>
        <p:nvPicPr>
          <p:cNvPr id="427" name="Gráfico 426">
            <a:extLst>
              <a:ext uri="{FF2B5EF4-FFF2-40B4-BE49-F238E27FC236}">
                <a16:creationId xmlns:a16="http://schemas.microsoft.com/office/drawing/2014/main" id="{5805FA9D-EAD9-D348-A243-8AC3E0869FB4}"/>
              </a:ext>
            </a:extLst>
          </p:cNvPr>
          <p:cNvPicPr>
            <a:picLocks noChangeAspect="1"/>
          </p:cNvPicPr>
          <p:nvPr/>
        </p:nvPicPr>
        <p:blipFill>
          <a:blip r:embed="rId9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6"/>
              </a:ext>
            </a:extLst>
          </a:blip>
          <a:stretch>
            <a:fillRect/>
          </a:stretch>
        </p:blipFill>
        <p:spPr>
          <a:xfrm>
            <a:off x="9661803" y="5077580"/>
            <a:ext cx="529110" cy="442528"/>
          </a:xfrm>
          <a:prstGeom prst="rect">
            <a:avLst/>
          </a:prstGeom>
        </p:spPr>
      </p:pic>
      <p:pic>
        <p:nvPicPr>
          <p:cNvPr id="429" name="Gráfico 428">
            <a:extLst>
              <a:ext uri="{FF2B5EF4-FFF2-40B4-BE49-F238E27FC236}">
                <a16:creationId xmlns:a16="http://schemas.microsoft.com/office/drawing/2014/main" id="{FC72D03A-232C-0F4F-BEE2-B96811A5EF77}"/>
              </a:ext>
            </a:extLst>
          </p:cNvPr>
          <p:cNvPicPr>
            <a:picLocks noChangeAspect="1"/>
          </p:cNvPicPr>
          <p:nvPr/>
        </p:nvPicPr>
        <p:blipFill>
          <a:blip r:embed="rId9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8"/>
              </a:ext>
            </a:extLst>
          </a:blip>
          <a:stretch>
            <a:fillRect/>
          </a:stretch>
        </p:blipFill>
        <p:spPr>
          <a:xfrm>
            <a:off x="10586160" y="2318046"/>
            <a:ext cx="673412" cy="557970"/>
          </a:xfrm>
          <a:prstGeom prst="rect">
            <a:avLst/>
          </a:prstGeom>
        </p:spPr>
      </p:pic>
      <p:pic>
        <p:nvPicPr>
          <p:cNvPr id="431" name="Gráfico 430">
            <a:extLst>
              <a:ext uri="{FF2B5EF4-FFF2-40B4-BE49-F238E27FC236}">
                <a16:creationId xmlns:a16="http://schemas.microsoft.com/office/drawing/2014/main" id="{11DD5390-5F09-8F4C-8B60-F00DD269BD44}"/>
              </a:ext>
            </a:extLst>
          </p:cNvPr>
          <p:cNvPicPr>
            <a:picLocks noChangeAspect="1"/>
          </p:cNvPicPr>
          <p:nvPr/>
        </p:nvPicPr>
        <p:blipFill>
          <a:blip r:embed="rId9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0"/>
              </a:ext>
            </a:extLst>
          </a:blip>
          <a:stretch>
            <a:fillRect/>
          </a:stretch>
        </p:blipFill>
        <p:spPr>
          <a:xfrm>
            <a:off x="4413641" y="5120871"/>
            <a:ext cx="692652" cy="355946"/>
          </a:xfrm>
          <a:prstGeom prst="rect">
            <a:avLst/>
          </a:prstGeom>
        </p:spPr>
      </p:pic>
      <p:pic>
        <p:nvPicPr>
          <p:cNvPr id="433" name="Gráfico 432">
            <a:extLst>
              <a:ext uri="{FF2B5EF4-FFF2-40B4-BE49-F238E27FC236}">
                <a16:creationId xmlns:a16="http://schemas.microsoft.com/office/drawing/2014/main" id="{9A752E81-103B-8949-AF4E-520C3B8ADCB9}"/>
              </a:ext>
            </a:extLst>
          </p:cNvPr>
          <p:cNvPicPr>
            <a:picLocks noChangeAspect="1"/>
          </p:cNvPicPr>
          <p:nvPr/>
        </p:nvPicPr>
        <p:blipFill>
          <a:blip r:embed="rId10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2"/>
              </a:ext>
            </a:extLst>
          </a:blip>
          <a:stretch>
            <a:fillRect/>
          </a:stretch>
        </p:blipFill>
        <p:spPr>
          <a:xfrm>
            <a:off x="7518285" y="5111251"/>
            <a:ext cx="567590" cy="375187"/>
          </a:xfrm>
          <a:prstGeom prst="rect">
            <a:avLst/>
          </a:prstGeom>
        </p:spPr>
      </p:pic>
      <p:pic>
        <p:nvPicPr>
          <p:cNvPr id="435" name="Gráfico 434">
            <a:extLst>
              <a:ext uri="{FF2B5EF4-FFF2-40B4-BE49-F238E27FC236}">
                <a16:creationId xmlns:a16="http://schemas.microsoft.com/office/drawing/2014/main" id="{18FEA8C3-B02E-8D48-B064-1510D1CE6977}"/>
              </a:ext>
            </a:extLst>
          </p:cNvPr>
          <p:cNvPicPr>
            <a:picLocks noChangeAspect="1"/>
          </p:cNvPicPr>
          <p:nvPr/>
        </p:nvPicPr>
        <p:blipFill>
          <a:blip r:embed="rId10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4"/>
              </a:ext>
            </a:extLst>
          </a:blip>
          <a:stretch>
            <a:fillRect/>
          </a:stretch>
        </p:blipFill>
        <p:spPr>
          <a:xfrm>
            <a:off x="9589338" y="2409437"/>
            <a:ext cx="500249" cy="375187"/>
          </a:xfrm>
          <a:prstGeom prst="rect">
            <a:avLst/>
          </a:prstGeom>
        </p:spPr>
      </p:pic>
      <p:pic>
        <p:nvPicPr>
          <p:cNvPr id="437" name="Gráfico 436">
            <a:extLst>
              <a:ext uri="{FF2B5EF4-FFF2-40B4-BE49-F238E27FC236}">
                <a16:creationId xmlns:a16="http://schemas.microsoft.com/office/drawing/2014/main" id="{05F490E7-857B-EC41-9499-D0F489B88157}"/>
              </a:ext>
            </a:extLst>
          </p:cNvPr>
          <p:cNvPicPr>
            <a:picLocks noChangeAspect="1"/>
          </p:cNvPicPr>
          <p:nvPr/>
        </p:nvPicPr>
        <p:blipFill>
          <a:blip r:embed="rId10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6"/>
              </a:ext>
            </a:extLst>
          </a:blip>
          <a:stretch>
            <a:fillRect/>
          </a:stretch>
        </p:blipFill>
        <p:spPr>
          <a:xfrm>
            <a:off x="10691982" y="4155990"/>
            <a:ext cx="567590" cy="509869"/>
          </a:xfrm>
          <a:prstGeom prst="rect">
            <a:avLst/>
          </a:prstGeom>
        </p:spPr>
      </p:pic>
      <p:pic>
        <p:nvPicPr>
          <p:cNvPr id="439" name="Gráfico 438">
            <a:extLst>
              <a:ext uri="{FF2B5EF4-FFF2-40B4-BE49-F238E27FC236}">
                <a16:creationId xmlns:a16="http://schemas.microsoft.com/office/drawing/2014/main" id="{359D9C23-4F93-6A48-8834-DE96DEF3DFEA}"/>
              </a:ext>
            </a:extLst>
          </p:cNvPr>
          <p:cNvPicPr>
            <a:picLocks noChangeAspect="1"/>
          </p:cNvPicPr>
          <p:nvPr/>
        </p:nvPicPr>
        <p:blipFill>
          <a:blip r:embed="rId10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8"/>
              </a:ext>
            </a:extLst>
          </a:blip>
          <a:stretch>
            <a:fillRect/>
          </a:stretch>
        </p:blipFill>
        <p:spPr>
          <a:xfrm>
            <a:off x="10669981" y="3271258"/>
            <a:ext cx="452148" cy="490628"/>
          </a:xfrm>
          <a:prstGeom prst="rect">
            <a:avLst/>
          </a:prstGeom>
        </p:spPr>
      </p:pic>
      <p:pic>
        <p:nvPicPr>
          <p:cNvPr id="441" name="Gráfico 440">
            <a:extLst>
              <a:ext uri="{FF2B5EF4-FFF2-40B4-BE49-F238E27FC236}">
                <a16:creationId xmlns:a16="http://schemas.microsoft.com/office/drawing/2014/main" id="{01D25827-7B33-B64F-97E9-D9711ECBE4FF}"/>
              </a:ext>
            </a:extLst>
          </p:cNvPr>
          <p:cNvPicPr>
            <a:picLocks noChangeAspect="1"/>
          </p:cNvPicPr>
          <p:nvPr/>
        </p:nvPicPr>
        <p:blipFill>
          <a:blip r:embed="rId10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0"/>
              </a:ext>
            </a:extLst>
          </a:blip>
          <a:stretch>
            <a:fillRect/>
          </a:stretch>
        </p:blipFill>
        <p:spPr>
          <a:xfrm>
            <a:off x="8544417" y="2356526"/>
            <a:ext cx="548350" cy="481008"/>
          </a:xfrm>
          <a:prstGeom prst="rect">
            <a:avLst/>
          </a:prstGeom>
        </p:spPr>
      </p:pic>
      <p:pic>
        <p:nvPicPr>
          <p:cNvPr id="442" name="Gráfico 441">
            <a:extLst>
              <a:ext uri="{FF2B5EF4-FFF2-40B4-BE49-F238E27FC236}">
                <a16:creationId xmlns:a16="http://schemas.microsoft.com/office/drawing/2014/main" id="{2B812637-B3BD-1049-B0A0-7E13699CA85C}"/>
              </a:ext>
            </a:extLst>
          </p:cNvPr>
          <p:cNvPicPr>
            <a:picLocks noChangeAspect="1"/>
          </p:cNvPicPr>
          <p:nvPr/>
        </p:nvPicPr>
        <p:blipFill>
          <a:blip r:embed="rId11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2"/>
              </a:ext>
            </a:extLst>
          </a:blip>
          <a:stretch>
            <a:fillRect/>
          </a:stretch>
        </p:blipFill>
        <p:spPr>
          <a:xfrm>
            <a:off x="9482094" y="1400457"/>
            <a:ext cx="557970" cy="519489"/>
          </a:xfrm>
          <a:prstGeom prst="rect">
            <a:avLst/>
          </a:prstGeom>
        </p:spPr>
      </p:pic>
      <p:sp>
        <p:nvSpPr>
          <p:cNvPr id="4" name="Título 3">
            <a:extLst>
              <a:ext uri="{FF2B5EF4-FFF2-40B4-BE49-F238E27FC236}">
                <a16:creationId xmlns:a16="http://schemas.microsoft.com/office/drawing/2014/main" id="{995F0E29-909B-E74C-AC2E-892E31050A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1"/>
              <a:t>Iconos editables</a:t>
            </a:r>
          </a:p>
        </p:txBody>
      </p:sp>
    </p:spTree>
    <p:extLst>
      <p:ext uri="{BB962C8B-B14F-4D97-AF65-F5344CB8AC3E}">
        <p14:creationId xmlns:p14="http://schemas.microsoft.com/office/powerpoint/2010/main" val="405869762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51699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82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57308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6199837-0C45-CA4E-A3F8-1885D6AF4A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itulo de presentaci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62F0A6C-1115-B244-B7FB-01112CDD2D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s-ES_tradnl" dirty="0"/>
              <a:t>Responsable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DD287980-5D6B-3641-A8F1-FAE1E33A2C3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ES_tradnl" dirty="0"/>
              <a:t>Cargo</a:t>
            </a:r>
          </a:p>
        </p:txBody>
      </p:sp>
      <p:pic>
        <p:nvPicPr>
          <p:cNvPr id="7" name="Marcador de posición de imagen 6">
            <a:extLst>
              <a:ext uri="{FF2B5EF4-FFF2-40B4-BE49-F238E27FC236}">
                <a16:creationId xmlns:a16="http://schemas.microsoft.com/office/drawing/2014/main" id="{A73A658D-01CF-AF41-97EF-E5080AA31801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26941" y="4374275"/>
            <a:ext cx="1225640" cy="1225640"/>
          </a:xfrm>
        </p:spPr>
      </p:pic>
    </p:spTree>
    <p:extLst>
      <p:ext uri="{BB962C8B-B14F-4D97-AF65-F5344CB8AC3E}">
        <p14:creationId xmlns:p14="http://schemas.microsoft.com/office/powerpoint/2010/main" val="14158724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C6B1473-81D8-C944-8A42-AA194AE4FC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itulo de presentaci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6FBB1FD-F65E-C849-AC0A-25F9D0D3FB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s-ES_tradnl" dirty="0"/>
              <a:t>Responsable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BF14109A-965D-974E-BB66-857232299B2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s-ES_tradnl" dirty="0"/>
              <a:t>Cargo</a:t>
            </a:r>
          </a:p>
        </p:txBody>
      </p:sp>
    </p:spTree>
    <p:extLst>
      <p:ext uri="{BB962C8B-B14F-4D97-AF65-F5344CB8AC3E}">
        <p14:creationId xmlns:p14="http://schemas.microsoft.com/office/powerpoint/2010/main" val="39506916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4D4CBE0-5872-3E48-9EC7-CD2F202CDA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Numeraci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4CD01D53-9352-0D4D-BAFC-34443E9E941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  <a:endParaRPr lang="es-ES_tradnl" dirty="0"/>
          </a:p>
        </p:txBody>
      </p:sp>
      <p:pic>
        <p:nvPicPr>
          <p:cNvPr id="6" name="Marcador de posición de imagen 5">
            <a:extLst>
              <a:ext uri="{FF2B5EF4-FFF2-40B4-BE49-F238E27FC236}">
                <a16:creationId xmlns:a16="http://schemas.microsoft.com/office/drawing/2014/main" id="{C74F08FE-DEB8-B743-900E-21334E7C4514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19949" y="0"/>
            <a:ext cx="4970464" cy="6858000"/>
          </a:xfrm>
        </p:spPr>
      </p:pic>
      <p:grpSp>
        <p:nvGrpSpPr>
          <p:cNvPr id="7" name="Gruppieren 7">
            <a:extLst>
              <a:ext uri="{FF2B5EF4-FFF2-40B4-BE49-F238E27FC236}">
                <a16:creationId xmlns:a16="http://schemas.microsoft.com/office/drawing/2014/main" id="{53D69827-34E5-F94F-929F-68987192912A}"/>
              </a:ext>
            </a:extLst>
          </p:cNvPr>
          <p:cNvGrpSpPr/>
          <p:nvPr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8" name="Rechteck 11">
              <a:extLst>
                <a:ext uri="{FF2B5EF4-FFF2-40B4-BE49-F238E27FC236}">
                  <a16:creationId xmlns:a16="http://schemas.microsoft.com/office/drawing/2014/main" id="{FDE51D88-D83B-5549-9EF4-5DCC8E441703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9" name="Grafik 6">
              <a:extLst>
                <a:ext uri="{FF2B5EF4-FFF2-40B4-BE49-F238E27FC236}">
                  <a16:creationId xmlns:a16="http://schemas.microsoft.com/office/drawing/2014/main" id="{2216B7E1-4F92-3D48-AE8F-F4879F735FB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14384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E6E979D-F209-614B-9D93-E7E4A952BF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Numeraci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7755128C-4769-C949-94A1-347E9C08BEB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</p:txBody>
      </p:sp>
      <p:pic>
        <p:nvPicPr>
          <p:cNvPr id="9" name="Marcador de posición de imagen 8">
            <a:extLst>
              <a:ext uri="{FF2B5EF4-FFF2-40B4-BE49-F238E27FC236}">
                <a16:creationId xmlns:a16="http://schemas.microsoft.com/office/drawing/2014/main" id="{156499AB-30FD-C840-A207-40987DB169A9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19949" y="0"/>
            <a:ext cx="4970464" cy="6858000"/>
          </a:xfrm>
        </p:spPr>
      </p:pic>
      <p:grpSp>
        <p:nvGrpSpPr>
          <p:cNvPr id="5" name="Gruppieren 7">
            <a:extLst>
              <a:ext uri="{FF2B5EF4-FFF2-40B4-BE49-F238E27FC236}">
                <a16:creationId xmlns:a16="http://schemas.microsoft.com/office/drawing/2014/main" id="{8CCF411A-AE2A-D846-BF45-4751A32711C4}"/>
              </a:ext>
            </a:extLst>
          </p:cNvPr>
          <p:cNvGrpSpPr/>
          <p:nvPr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6" name="Rechteck 11">
              <a:extLst>
                <a:ext uri="{FF2B5EF4-FFF2-40B4-BE49-F238E27FC236}">
                  <a16:creationId xmlns:a16="http://schemas.microsoft.com/office/drawing/2014/main" id="{3E84B478-9659-444C-A398-4818E79B31A3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699F3731-47A4-A54E-B778-8A19DB44D0B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250455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CC22C34-59B1-EE45-8CA8-F25B3264F3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 err="1"/>
              <a:t>Bullets</a:t>
            </a:r>
            <a:endParaRPr lang="es-ES_tradnl" dirty="0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233DD40-1B8A-074F-B416-BA8F955C1C1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endParaRPr lang="es-ES_tradnl" dirty="0"/>
          </a:p>
        </p:txBody>
      </p:sp>
      <p:pic>
        <p:nvPicPr>
          <p:cNvPr id="9" name="Marcador de posición de imagen 8">
            <a:extLst>
              <a:ext uri="{FF2B5EF4-FFF2-40B4-BE49-F238E27FC236}">
                <a16:creationId xmlns:a16="http://schemas.microsoft.com/office/drawing/2014/main" id="{A14A89B3-1F2B-FE45-AE64-5506675686D6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19949" y="0"/>
            <a:ext cx="4970464" cy="6858000"/>
          </a:xfrm>
        </p:spPr>
      </p:pic>
      <p:grpSp>
        <p:nvGrpSpPr>
          <p:cNvPr id="5" name="Gruppieren 7">
            <a:extLst>
              <a:ext uri="{FF2B5EF4-FFF2-40B4-BE49-F238E27FC236}">
                <a16:creationId xmlns:a16="http://schemas.microsoft.com/office/drawing/2014/main" id="{E321B1B8-095C-9942-8744-1B265A4A55A6}"/>
              </a:ext>
            </a:extLst>
          </p:cNvPr>
          <p:cNvGrpSpPr/>
          <p:nvPr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6" name="Rechteck 11">
              <a:extLst>
                <a:ext uri="{FF2B5EF4-FFF2-40B4-BE49-F238E27FC236}">
                  <a16:creationId xmlns:a16="http://schemas.microsoft.com/office/drawing/2014/main" id="{E03D645D-356B-B344-A114-7FB7AB0AE41E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8CD1D882-E358-D04D-9FC1-F30604B76A4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229103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B890764-6017-7E41-8A40-22C067D37E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 err="1"/>
              <a:t>Bullets</a:t>
            </a:r>
            <a:endParaRPr lang="es-ES_tradnl" dirty="0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54F1123-374E-8E46-9693-53A0607DA5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</a:p>
          <a:p>
            <a:r>
              <a:rPr lang="pt-BR" noProof="1"/>
              <a:t>Texto simulado</a:t>
            </a:r>
            <a:endParaRPr lang="es-ES_tradnl" dirty="0"/>
          </a:p>
        </p:txBody>
      </p:sp>
      <p:pic>
        <p:nvPicPr>
          <p:cNvPr id="9" name="Marcador de posición de imagen 8">
            <a:extLst>
              <a:ext uri="{FF2B5EF4-FFF2-40B4-BE49-F238E27FC236}">
                <a16:creationId xmlns:a16="http://schemas.microsoft.com/office/drawing/2014/main" id="{F4329F17-363F-7749-A592-4ED0F4FC9855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19949" y="0"/>
            <a:ext cx="4970464" cy="6858000"/>
          </a:xfrm>
        </p:spPr>
      </p:pic>
      <p:grpSp>
        <p:nvGrpSpPr>
          <p:cNvPr id="5" name="Gruppieren 7">
            <a:extLst>
              <a:ext uri="{FF2B5EF4-FFF2-40B4-BE49-F238E27FC236}">
                <a16:creationId xmlns:a16="http://schemas.microsoft.com/office/drawing/2014/main" id="{D189B622-EA27-5E4F-8BF5-5F6DE61C1DA2}"/>
              </a:ext>
            </a:extLst>
          </p:cNvPr>
          <p:cNvGrpSpPr/>
          <p:nvPr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6" name="Rechteck 11">
              <a:extLst>
                <a:ext uri="{FF2B5EF4-FFF2-40B4-BE49-F238E27FC236}">
                  <a16:creationId xmlns:a16="http://schemas.microsoft.com/office/drawing/2014/main" id="{F9B6D9FB-B69C-6743-B78F-5E87BC8FEE5F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09145723-5128-4947-87D1-74E646F8112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217755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07A44D6-903D-0C41-942F-AC02E0F4D3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Texto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3694AC2A-772C-954F-A0A5-2E56C51E1A7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r"/>
            <a:r>
              <a:rPr lang="es-AR" dirty="0"/>
              <a:t>Lorem ipsum dolor sit amet, consectetur adipiscing elit,</a:t>
            </a:r>
            <a:br>
              <a:rPr lang="es-AR" dirty="0"/>
            </a:br>
            <a:r>
              <a:rPr lang="es-AR" dirty="0"/>
              <a:t>sed do eiusmod tempor incididunt ut labore et dolore magna aliqua. Ut enim ad minim veniam, </a:t>
            </a:r>
            <a:r>
              <a:rPr lang="es-AR" b="1" dirty="0"/>
              <a:t>quis nostrud exercitation ullamco laboris </a:t>
            </a:r>
            <a:r>
              <a:rPr lang="es-AR" dirty="0"/>
              <a:t>nisi ut aliquip ex ea commodo consequat. </a:t>
            </a:r>
          </a:p>
          <a:p>
            <a:pPr algn="r"/>
            <a:endParaRPr lang="es-AR" dirty="0"/>
          </a:p>
          <a:p>
            <a:pPr algn="r"/>
            <a:r>
              <a:rPr lang="es-AR" dirty="0"/>
              <a:t>Duis aute irure </a:t>
            </a:r>
            <a:r>
              <a:rPr lang="es-AR" b="1" dirty="0"/>
              <a:t>dolor in reprehenderit in voluptate</a:t>
            </a:r>
            <a:br>
              <a:rPr lang="es-AR" b="1" dirty="0"/>
            </a:br>
            <a:r>
              <a:rPr lang="es-AR" dirty="0"/>
              <a:t>velit esse cillum dolore eu fugiat nulla pariatur.</a:t>
            </a:r>
            <a:br>
              <a:rPr lang="es-AR" dirty="0"/>
            </a:br>
            <a:endParaRPr lang="es-AR" dirty="0"/>
          </a:p>
          <a:p>
            <a:pPr algn="r"/>
            <a:r>
              <a:rPr lang="es-AR" dirty="0"/>
              <a:t>Excepteur sint occaecat cupidatat non proident,</a:t>
            </a:r>
            <a:br>
              <a:rPr lang="es-AR" dirty="0"/>
            </a:br>
            <a:r>
              <a:rPr lang="es-AR" dirty="0"/>
              <a:t>sunt in culpa qui officia deserunt mollit anim id est laborum.</a:t>
            </a:r>
          </a:p>
          <a:p>
            <a:pPr algn="r"/>
            <a:endParaRPr lang="es-AR" dirty="0"/>
          </a:p>
          <a:p>
            <a:endParaRPr lang="es-ES_tradnl" dirty="0"/>
          </a:p>
        </p:txBody>
      </p:sp>
      <p:pic>
        <p:nvPicPr>
          <p:cNvPr id="6" name="Marcador de posición de imagen 5">
            <a:extLst>
              <a:ext uri="{FF2B5EF4-FFF2-40B4-BE49-F238E27FC236}">
                <a16:creationId xmlns:a16="http://schemas.microsoft.com/office/drawing/2014/main" id="{504D911A-8294-9A4B-8AC2-5CFC82EF0F0C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7994074" y="0"/>
            <a:ext cx="4196340" cy="6858000"/>
          </a:xfrm>
        </p:spPr>
      </p:pic>
      <p:grpSp>
        <p:nvGrpSpPr>
          <p:cNvPr id="7" name="Gruppieren 7">
            <a:extLst>
              <a:ext uri="{FF2B5EF4-FFF2-40B4-BE49-F238E27FC236}">
                <a16:creationId xmlns:a16="http://schemas.microsoft.com/office/drawing/2014/main" id="{BA176DF2-8AB6-304D-B323-F35B9998A656}"/>
              </a:ext>
            </a:extLst>
          </p:cNvPr>
          <p:cNvGrpSpPr/>
          <p:nvPr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8" name="Rechteck 11">
              <a:extLst>
                <a:ext uri="{FF2B5EF4-FFF2-40B4-BE49-F238E27FC236}">
                  <a16:creationId xmlns:a16="http://schemas.microsoft.com/office/drawing/2014/main" id="{C9260367-CFB4-4E4C-AE2D-DBE3F17FE13E}"/>
                </a:ext>
              </a:extLst>
            </p:cNvPr>
            <p:cNvSpPr/>
            <p:nvPr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9" name="Grafik 6">
              <a:extLst>
                <a:ext uri="{FF2B5EF4-FFF2-40B4-BE49-F238E27FC236}">
                  <a16:creationId xmlns:a16="http://schemas.microsoft.com/office/drawing/2014/main" id="{B97815BF-3F80-FB41-A9F8-2884F223533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009534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COLOR1" val="16777215/0/11119017/0/13803553/14926965/15455387/16314330/////////"/>
  <p:tag name="WIZCOLOR2" val="16777215/0/11119017/0/13803553/14926965/15455387/16314330/////////"/>
  <p:tag name="THINKCELLUNDODONOTDELETE" val="1"/>
  <p:tag name="_BASF_WIZARD_LAYOUTID" val="258"/>
  <p:tag name="_BASF_WIZARD_VERSION" val="7.1.0"/>
  <p:tag name="_BASF_WIZARD_OBJEKTTITELID" val="120"/>
  <p:tag name="_BASF_WIZARD_OBJEKTFOLIEID" val="110"/>
  <p:tag name="_BASF_WIZARD_GROUPID" val="0"/>
  <p:tag name="_BASF_CONVERTED_TO_TAGS" val="1"/>
  <p:tag name="_BASF_CLASSIFICATION_LANGUAGE" val="1031"/>
  <p:tag name="_BASF_CLASSIFICATION" val="0"/>
  <p:tag name="_WIZ_TASKPANE_VISIBLE" val="0"/>
  <p:tag name="_WIZ_TASKPANE_WIDTH" val="44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Verde claro">
  <a:themeElements>
    <a:clrScheme name="BASF_colour_lightgreen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F39500"/>
      </a:hlink>
      <a:folHlink>
        <a:srgbClr val="FACF8C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ema Verde claro" id="{DE83AC92-7A88-6C4B-910D-1F34343A0B3B}" vid="{BA8DB417-5043-7A46-8A11-4B54214C6055}"/>
    </a:ext>
  </a:extLst>
</a:theme>
</file>

<file path=ppt/theme/theme2.xml><?xml version="1.0" encoding="utf-8"?>
<a:theme xmlns:a="http://schemas.openxmlformats.org/drawingml/2006/main" name="BASF_FolienDesign">
  <a:themeElements>
    <a:clrScheme name="BASF_colour_lightgreen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F39500"/>
      </a:hlink>
      <a:folHlink>
        <a:srgbClr val="FACF8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F39500"/>
      </a:hlink>
      <a:folHlink>
        <a:srgbClr val="FACF8C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Larissa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F39500"/>
      </a:hlink>
      <a:folHlink>
        <a:srgbClr val="FACF8C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Override1.xml><?xml version="1.0" encoding="utf-8"?>
<a:themeOverride xmlns:a="http://schemas.openxmlformats.org/drawingml/2006/main">
  <a:clrScheme name="BASF Design 1">
    <a:dk1>
      <a:srgbClr val="000000"/>
    </a:dk1>
    <a:lt1>
      <a:srgbClr val="FFFFFF"/>
    </a:lt1>
    <a:dk2>
      <a:srgbClr val="FFFFFF"/>
    </a:dk2>
    <a:lt2>
      <a:srgbClr val="939393"/>
    </a:lt2>
    <a:accent1>
      <a:srgbClr val="004A96"/>
    </a:accent1>
    <a:accent2>
      <a:srgbClr val="0072E4"/>
    </a:accent2>
    <a:accent3>
      <a:srgbClr val="FFFFFF"/>
    </a:accent3>
    <a:accent4>
      <a:srgbClr val="000000"/>
    </a:accent4>
    <a:accent5>
      <a:srgbClr val="AAB1C9"/>
    </a:accent5>
    <a:accent6>
      <a:srgbClr val="0067CF"/>
    </a:accent6>
    <a:hlink>
      <a:srgbClr val="0074E8"/>
    </a:hlink>
    <a:folHlink>
      <a:srgbClr val="ABD5FF"/>
    </a:folHlink>
  </a:clrScheme>
  <a:fontScheme name="BASF Design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8B577D77919A040B849EBB6F95425DF" ma:contentTypeVersion="18" ma:contentTypeDescription="Create a new document." ma:contentTypeScope="" ma:versionID="579ba47322cfaa2bae8f1d22476417f8">
  <xsd:schema xmlns:xsd="http://www.w3.org/2001/XMLSchema" xmlns:xs="http://www.w3.org/2001/XMLSchema" xmlns:p="http://schemas.microsoft.com/office/2006/metadata/properties" xmlns:ns2="a992f8c9-5fd5-4b17-9540-8a6a15071f21" xmlns:ns3="631fa31d-49cc-47bf-9688-4c132c89acc2" targetNamespace="http://schemas.microsoft.com/office/2006/metadata/properties" ma:root="true" ma:fieldsID="b903d38cf043afd1cf6012aa08fcac12" ns2:_="" ns3:_="">
    <xsd:import namespace="a992f8c9-5fd5-4b17-9540-8a6a15071f21"/>
    <xsd:import namespace="631fa31d-49cc-47bf-9688-4c132c89acc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992f8c9-5fd5-4b17-9540-8a6a15071f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04f2cd92-8d93-4e4c-83d3-86703d91558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1fa31d-49cc-47bf-9688-4c132c89acc2" elementFormDefault="qualified">
    <xsd:import namespace="http://schemas.microsoft.com/office/2006/documentManagement/types"/>
    <xsd:import namespace="http://schemas.microsoft.com/office/infopath/2007/PartnerControls"/>
    <xsd:element name="TaxCatchAll" ma:index="20" nillable="true" ma:displayName="Taxonomy Catch All Column" ma:hidden="true" ma:list="{1f92e65c-04f8-4d04-901a-2e99f6dbd7e6}" ma:internalName="TaxCatchAll" ma:showField="CatchAllData" ma:web="631fa31d-49cc-47bf-9688-4c132c89acc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31fa31d-49cc-47bf-9688-4c132c89acc2" xsi:nil="true"/>
    <lcf76f155ced4ddcb4097134ff3c332f xmlns="a992f8c9-5fd5-4b17-9540-8a6a15071f21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6DFA15A1-FD2D-44AE-AB7A-BDC607838728}"/>
</file>

<file path=customXml/itemProps2.xml><?xml version="1.0" encoding="utf-8"?>
<ds:datastoreItem xmlns:ds="http://schemas.openxmlformats.org/officeDocument/2006/customXml" ds:itemID="{DEC08D41-8C97-4B34-9DCF-D67AC0BA2D09}"/>
</file>

<file path=customXml/itemProps3.xml><?xml version="1.0" encoding="utf-8"?>
<ds:datastoreItem xmlns:ds="http://schemas.openxmlformats.org/officeDocument/2006/customXml" ds:itemID="{E9DD89AC-A3C7-42B8-A9CE-24D149C665E5}"/>
</file>

<file path=docProps/app.xml><?xml version="1.0" encoding="utf-8"?>
<Properties xmlns="http://schemas.openxmlformats.org/officeDocument/2006/extended-properties" xmlns:vt="http://schemas.openxmlformats.org/officeDocument/2006/docPropsVTypes">
  <TotalTime>10590</TotalTime>
  <Words>830</Words>
  <Application>Microsoft Macintosh PowerPoint</Application>
  <PresentationFormat>Personalizado</PresentationFormat>
  <Paragraphs>127</Paragraphs>
  <Slides>25</Slides>
  <Notes>5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5</vt:i4>
      </vt:variant>
    </vt:vector>
  </HeadingPairs>
  <TitlesOfParts>
    <vt:vector size="31" baseType="lpstr">
      <vt:lpstr>Arial</vt:lpstr>
      <vt:lpstr>Wingdings</vt:lpstr>
      <vt:lpstr>Wingdings 3</vt:lpstr>
      <vt:lpstr>Tema Verde claro</vt:lpstr>
      <vt:lpstr>BASF_FolienDesign</vt:lpstr>
      <vt:lpstr>think-cell Folie</vt:lpstr>
      <vt:lpstr>Titulo de presentación</vt:lpstr>
      <vt:lpstr>Titulo de presentación</vt:lpstr>
      <vt:lpstr>Titulo de presentación</vt:lpstr>
      <vt:lpstr>Titulo de presentación</vt:lpstr>
      <vt:lpstr>Numeración</vt:lpstr>
      <vt:lpstr>Numeración</vt:lpstr>
      <vt:lpstr>Bullets</vt:lpstr>
      <vt:lpstr>Bullets</vt:lpstr>
      <vt:lpstr>Texto</vt:lpstr>
      <vt:lpstr>Bullets</vt:lpstr>
      <vt:lpstr>Texto</vt:lpstr>
      <vt:lpstr>Texto + icono</vt:lpstr>
      <vt:lpstr>Texto + número</vt:lpstr>
      <vt:lpstr>Texto fondo verde</vt:lpstr>
      <vt:lpstr>Tabla</vt:lpstr>
      <vt:lpstr>Gráfico</vt:lpstr>
      <vt:lpstr>Texto + icono fondo verde</vt:lpstr>
      <vt:lpstr>Texto</vt:lpstr>
      <vt:lpstr>Texto + icono</vt:lpstr>
      <vt:lpstr>Título separador</vt:lpstr>
      <vt:lpstr>Título separador</vt:lpstr>
      <vt:lpstr>Título separador</vt:lpstr>
      <vt:lpstr>Iconos editables</vt:lpstr>
      <vt:lpstr>Iconos editables</vt:lpstr>
      <vt:lpstr>Presentación de PowerPoint</vt:lpstr>
    </vt:vector>
  </TitlesOfParts>
  <Company>BASF S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kus Jaeger</dc:creator>
  <cp:lastModifiedBy>Microsoft Office User</cp:lastModifiedBy>
  <cp:revision>463</cp:revision>
  <cp:lastPrinted>2017-06-09T08:22:17Z</cp:lastPrinted>
  <dcterms:created xsi:type="dcterms:W3CDTF">2012-05-08T13:55:24Z</dcterms:created>
  <dcterms:modified xsi:type="dcterms:W3CDTF">2024-09-23T21:56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BASF_Wizard_LayoutID">
    <vt:i4>258</vt:i4>
  </property>
  <property fmtid="{D5CDD505-2E9C-101B-9397-08002B2CF9AE}" pid="3" name="_BASF_Wizard">
    <vt:bool>true</vt:bool>
  </property>
  <property fmtid="{D5CDD505-2E9C-101B-9397-08002B2CF9AE}" pid="4" name="_BASF_Wizard_Datum">
    <vt:lpwstr>08.05.2012</vt:lpwstr>
  </property>
  <property fmtid="{D5CDD505-2E9C-101B-9397-08002B2CF9AE}" pid="5" name="_BASF_Wizard_Fusszeile">
    <vt:lpwstr/>
  </property>
  <property fmtid="{D5CDD505-2E9C-101B-9397-08002B2CF9AE}" pid="6" name="_BASF_Wizard_Seitenzahl">
    <vt:bool>true</vt:bool>
  </property>
  <property fmtid="{D5CDD505-2E9C-101B-9397-08002B2CF9AE}" pid="7" name="_BASF_Wizard_DokAnzeige">
    <vt:bool>false</vt:bool>
  </property>
  <property fmtid="{D5CDD505-2E9C-101B-9397-08002B2CF9AE}" pid="8" name="_BASF_Wizard_DokNurName">
    <vt:bool>true</vt:bool>
  </property>
  <property fmtid="{D5CDD505-2E9C-101B-9397-08002B2CF9AE}" pid="9" name="_BASF_Wizard_DokNameDir">
    <vt:bool>false</vt:bool>
  </property>
  <property fmtid="{D5CDD505-2E9C-101B-9397-08002B2CF9AE}" pid="10" name="_BASF_Wizard_Datum_Folie">
    <vt:lpwstr>08.05.2012</vt:lpwstr>
  </property>
  <property fmtid="{D5CDD505-2E9C-101B-9397-08002B2CF9AE}" pid="11" name="_BASF_Wizard_Fusszeile_Folie">
    <vt:lpwstr/>
  </property>
  <property fmtid="{D5CDD505-2E9C-101B-9397-08002B2CF9AE}" pid="12" name="_BASF_Wizard_Seitenzahl_Folie">
    <vt:bool>true</vt:bool>
  </property>
  <property fmtid="{D5CDD505-2E9C-101B-9397-08002B2CF9AE}" pid="13" name="_BASF_Wizard_DokAnzeige_Folie">
    <vt:bool>false</vt:bool>
  </property>
  <property fmtid="{D5CDD505-2E9C-101B-9397-08002B2CF9AE}" pid="14" name="_BASF_Wizard_DokNurName_Folie">
    <vt:bool>true</vt:bool>
  </property>
  <property fmtid="{D5CDD505-2E9C-101B-9397-08002B2CF9AE}" pid="15" name="_BASF_Wizard_DokNameDir_Folie">
    <vt:bool>false</vt:bool>
  </property>
  <property fmtid="{D5CDD505-2E9C-101B-9397-08002B2CF9AE}" pid="16" name="_BASF_Wizard_Unternehmensfarbe">
    <vt:i4>0</vt:i4>
  </property>
  <property fmtid="{D5CDD505-2E9C-101B-9397-08002B2CF9AE}" pid="17" name="_BASF_Wizard_Farbskala">
    <vt:i4>0</vt:i4>
  </property>
  <property fmtid="{D5CDD505-2E9C-101B-9397-08002B2CF9AE}" pid="18" name="_BASF_Wizard_Folienmaster">
    <vt:i4>0</vt:i4>
  </property>
  <property fmtid="{D5CDD505-2E9C-101B-9397-08002B2CF9AE}" pid="19" name="_BASF_Wizard_Titelmaster">
    <vt:i4>5</vt:i4>
  </property>
  <property fmtid="{D5CDD505-2E9C-101B-9397-08002B2CF9AE}" pid="20" name="_BASF_Wizard_Klasse">
    <vt:i4>0</vt:i4>
  </property>
  <property fmtid="{D5CDD505-2E9C-101B-9397-08002B2CF9AE}" pid="21" name="_BASF_Classification_HeaderFooterText">
    <vt:lpwstr/>
  </property>
  <property fmtid="{D5CDD505-2E9C-101B-9397-08002B2CF9AE}" pid="22" name="_BASF_Classification_Language">
    <vt:i4>1031</vt:i4>
  </property>
  <property fmtid="{D5CDD505-2E9C-101B-9397-08002B2CF9AE}" pid="23" name="_BASF_Wizard_Version">
    <vt:lpwstr>7.1.0</vt:lpwstr>
  </property>
  <property fmtid="{D5CDD505-2E9C-101B-9397-08002B2CF9AE}" pid="24" name="_BASF_Wizard_PresTyp">
    <vt:i4>0</vt:i4>
  </property>
  <property fmtid="{D5CDD505-2E9C-101B-9397-08002B2CF9AE}" pid="25" name="_BASF_Wizard_Photo">
    <vt:i4>0</vt:i4>
  </property>
  <property fmtid="{D5CDD505-2E9C-101B-9397-08002B2CF9AE}" pid="26" name="_BASF_BackPicture">
    <vt:lpwstr/>
  </property>
  <property fmtid="{D5CDD505-2E9C-101B-9397-08002B2CF9AE}" pid="27" name="_BASF_BackPictureSlide">
    <vt:lpwstr/>
  </property>
  <property fmtid="{D5CDD505-2E9C-101B-9397-08002B2CF9AE}" pid="28" name="_BASF_Wizard_Papierformat">
    <vt:lpwstr>4:3</vt:lpwstr>
  </property>
  <property fmtid="{D5CDD505-2E9C-101B-9397-08002B2CF9AE}" pid="29" name="_BASF_Wizard_Logo2015">
    <vt:lpwstr>1</vt:lpwstr>
  </property>
  <property fmtid="{D5CDD505-2E9C-101B-9397-08002B2CF9AE}" pid="30" name="ContentTypeId">
    <vt:lpwstr>0x010100F8B577D77919A040B849EBB6F95425DF</vt:lpwstr>
  </property>
</Properties>
</file>